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16.xml" ContentType="application/vnd.openxmlformats-officedocument.presentationml.tags+xml"/>
  <Override PartName="/ppt/notesSlides/notesSlide1.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notesSlides/notesSlide2.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3.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4.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notesSlides/notesSlide5.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6.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7.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8.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90" r:id="rId5"/>
  </p:sldMasterIdLst>
  <p:notesMasterIdLst>
    <p:notesMasterId r:id="rId25"/>
  </p:notesMasterIdLst>
  <p:handoutMasterIdLst>
    <p:handoutMasterId r:id="rId26"/>
  </p:handoutMasterIdLst>
  <p:sldIdLst>
    <p:sldId id="2147375638" r:id="rId6"/>
    <p:sldId id="360" r:id="rId7"/>
    <p:sldId id="2147375720" r:id="rId8"/>
    <p:sldId id="2147375761" r:id="rId9"/>
    <p:sldId id="2147375825" r:id="rId10"/>
    <p:sldId id="2147375780" r:id="rId11"/>
    <p:sldId id="2147375810" r:id="rId12"/>
    <p:sldId id="2147375837" r:id="rId13"/>
    <p:sldId id="2147375826" r:id="rId14"/>
    <p:sldId id="2147375842" r:id="rId15"/>
    <p:sldId id="2147375844" r:id="rId16"/>
    <p:sldId id="2147375845" r:id="rId17"/>
    <p:sldId id="2147375843" r:id="rId18"/>
    <p:sldId id="586" r:id="rId19"/>
    <p:sldId id="2147375827" r:id="rId20"/>
    <p:sldId id="2147375841" r:id="rId21"/>
    <p:sldId id="11427" r:id="rId22"/>
    <p:sldId id="2147375830" r:id="rId23"/>
    <p:sldId id="2146847025" r:id="rId24"/>
  </p:sldIdLst>
  <p:sldSz cx="12192000" cy="6858000"/>
  <p:notesSz cx="6950075" cy="9236075"/>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ishna Ananth" initials="AK" lastIdx="1" clrIdx="0">
    <p:extLst>
      <p:ext uri="{19B8F6BF-5375-455C-9EA6-DF929625EA0E}">
        <p15:presenceInfo xmlns:p15="http://schemas.microsoft.com/office/powerpoint/2012/main" userId="Krishna Anan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66"/>
    <a:srgbClr val="339966"/>
    <a:srgbClr val="CCECFF"/>
    <a:srgbClr val="005778"/>
    <a:srgbClr val="A6A6A6"/>
    <a:srgbClr val="A6B3FF"/>
    <a:srgbClr val="78A22F"/>
    <a:srgbClr val="FFB45A"/>
    <a:srgbClr val="C800A1"/>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594DDC-A41B-4A8C-9A88-74EB4E108575}" v="170" dt="2021-08-25T17:41:33.9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18" autoAdjust="0"/>
    <p:restoredTop sz="96357" autoAdjust="0"/>
  </p:normalViewPr>
  <p:slideViewPr>
    <p:cSldViewPr snapToGrid="0">
      <p:cViewPr varScale="1">
        <p:scale>
          <a:sx n="113" d="100"/>
          <a:sy n="113" d="100"/>
        </p:scale>
        <p:origin x="112" y="10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40" d="100"/>
        <a:sy n="140" d="100"/>
      </p:scale>
      <p:origin x="0" y="-906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son, Daniel" userId="4fd6f56b-898f-4008-a6b4-11eaf568a331" providerId="ADAL" clId="{5E594DDC-A41B-4A8C-9A88-74EB4E108575}"/>
    <pc:docChg chg="undo custSel addSld delSld modSld">
      <pc:chgData name="Robertson, Daniel" userId="4fd6f56b-898f-4008-a6b4-11eaf568a331" providerId="ADAL" clId="{5E594DDC-A41B-4A8C-9A88-74EB4E108575}" dt="2021-08-25T17:42:04.154" v="3966" actId="20577"/>
      <pc:docMkLst>
        <pc:docMk/>
      </pc:docMkLst>
      <pc:sldChg chg="del">
        <pc:chgData name="Robertson, Daniel" userId="4fd6f56b-898f-4008-a6b4-11eaf568a331" providerId="ADAL" clId="{5E594DDC-A41B-4A8C-9A88-74EB4E108575}" dt="2021-08-25T13:25:15.816" v="42" actId="47"/>
        <pc:sldMkLst>
          <pc:docMk/>
          <pc:sldMk cId="3191796351" sldId="9122"/>
        </pc:sldMkLst>
      </pc:sldChg>
      <pc:sldChg chg="del">
        <pc:chgData name="Robertson, Daniel" userId="4fd6f56b-898f-4008-a6b4-11eaf568a331" providerId="ADAL" clId="{5E594DDC-A41B-4A8C-9A88-74EB4E108575}" dt="2021-08-25T13:25:49.855" v="45" actId="47"/>
        <pc:sldMkLst>
          <pc:docMk/>
          <pc:sldMk cId="1996770773" sldId="2145705981"/>
        </pc:sldMkLst>
      </pc:sldChg>
      <pc:sldChg chg="del">
        <pc:chgData name="Robertson, Daniel" userId="4fd6f56b-898f-4008-a6b4-11eaf568a331" providerId="ADAL" clId="{5E594DDC-A41B-4A8C-9A88-74EB4E108575}" dt="2021-08-25T13:25:14.898" v="41" actId="47"/>
        <pc:sldMkLst>
          <pc:docMk/>
          <pc:sldMk cId="1934493435" sldId="2147375571"/>
        </pc:sldMkLst>
      </pc:sldChg>
      <pc:sldChg chg="modSp mod">
        <pc:chgData name="Robertson, Daniel" userId="4fd6f56b-898f-4008-a6b4-11eaf568a331" providerId="ADAL" clId="{5E594DDC-A41B-4A8C-9A88-74EB4E108575}" dt="2021-08-25T13:24:58.648" v="39" actId="1076"/>
        <pc:sldMkLst>
          <pc:docMk/>
          <pc:sldMk cId="2581029140" sldId="2147375638"/>
        </pc:sldMkLst>
        <pc:spChg chg="mod">
          <ac:chgData name="Robertson, Daniel" userId="4fd6f56b-898f-4008-a6b4-11eaf568a331" providerId="ADAL" clId="{5E594DDC-A41B-4A8C-9A88-74EB4E108575}" dt="2021-08-25T13:24:57.831" v="38" actId="207"/>
          <ac:spMkLst>
            <pc:docMk/>
            <pc:sldMk cId="2581029140" sldId="2147375638"/>
            <ac:spMk id="9" creationId="{BA853488-CD88-433C-9B2C-9B0AF0F2FFCF}"/>
          </ac:spMkLst>
        </pc:spChg>
        <pc:spChg chg="mod">
          <ac:chgData name="Robertson, Daniel" userId="4fd6f56b-898f-4008-a6b4-11eaf568a331" providerId="ADAL" clId="{5E594DDC-A41B-4A8C-9A88-74EB4E108575}" dt="2021-08-25T13:24:58.648" v="39" actId="1076"/>
          <ac:spMkLst>
            <pc:docMk/>
            <pc:sldMk cId="2581029140" sldId="2147375638"/>
            <ac:spMk id="10" creationId="{5106158E-07F4-4519-9899-126E37E07EB3}"/>
          </ac:spMkLst>
        </pc:spChg>
      </pc:sldChg>
      <pc:sldChg chg="del">
        <pc:chgData name="Robertson, Daniel" userId="4fd6f56b-898f-4008-a6b4-11eaf568a331" providerId="ADAL" clId="{5E594DDC-A41B-4A8C-9A88-74EB4E108575}" dt="2021-08-25T13:25:02.376" v="40" actId="47"/>
        <pc:sldMkLst>
          <pc:docMk/>
          <pc:sldMk cId="451975811" sldId="2147375676"/>
        </pc:sldMkLst>
      </pc:sldChg>
      <pc:sldChg chg="del">
        <pc:chgData name="Robertson, Daniel" userId="4fd6f56b-898f-4008-a6b4-11eaf568a331" providerId="ADAL" clId="{5E594DDC-A41B-4A8C-9A88-74EB4E108575}" dt="2021-08-25T13:25:59.942" v="47" actId="47"/>
        <pc:sldMkLst>
          <pc:docMk/>
          <pc:sldMk cId="1307526549" sldId="2147375814"/>
        </pc:sldMkLst>
      </pc:sldChg>
      <pc:sldChg chg="del">
        <pc:chgData name="Robertson, Daniel" userId="4fd6f56b-898f-4008-a6b4-11eaf568a331" providerId="ADAL" clId="{5E594DDC-A41B-4A8C-9A88-74EB4E108575}" dt="2021-08-25T13:26:20.492" v="48" actId="47"/>
        <pc:sldMkLst>
          <pc:docMk/>
          <pc:sldMk cId="3481863058" sldId="2147375815"/>
        </pc:sldMkLst>
      </pc:sldChg>
      <pc:sldChg chg="del">
        <pc:chgData name="Robertson, Daniel" userId="4fd6f56b-898f-4008-a6b4-11eaf568a331" providerId="ADAL" clId="{5E594DDC-A41B-4A8C-9A88-74EB4E108575}" dt="2021-08-25T13:25:19.407" v="43" actId="47"/>
        <pc:sldMkLst>
          <pc:docMk/>
          <pc:sldMk cId="863461674" sldId="2147375817"/>
        </pc:sldMkLst>
      </pc:sldChg>
      <pc:sldChg chg="del">
        <pc:chgData name="Robertson, Daniel" userId="4fd6f56b-898f-4008-a6b4-11eaf568a331" providerId="ADAL" clId="{5E594DDC-A41B-4A8C-9A88-74EB4E108575}" dt="2021-08-25T13:25:42.663" v="44" actId="47"/>
        <pc:sldMkLst>
          <pc:docMk/>
          <pc:sldMk cId="1724942215" sldId="2147375836"/>
        </pc:sldMkLst>
      </pc:sldChg>
      <pc:sldChg chg="addSp delSp modSp add mod">
        <pc:chgData name="Robertson, Daniel" userId="4fd6f56b-898f-4008-a6b4-11eaf568a331" providerId="ADAL" clId="{5E594DDC-A41B-4A8C-9A88-74EB4E108575}" dt="2021-08-25T14:36:36.862" v="1108" actId="1038"/>
        <pc:sldMkLst>
          <pc:docMk/>
          <pc:sldMk cId="3476958649" sldId="2147375842"/>
        </pc:sldMkLst>
        <pc:spChg chg="mod">
          <ac:chgData name="Robertson, Daniel" userId="4fd6f56b-898f-4008-a6b4-11eaf568a331" providerId="ADAL" clId="{5E594DDC-A41B-4A8C-9A88-74EB4E108575}" dt="2021-08-25T14:36:36.862" v="1108" actId="1038"/>
          <ac:spMkLst>
            <pc:docMk/>
            <pc:sldMk cId="3476958649" sldId="2147375842"/>
            <ac:spMk id="2" creationId="{896DC20F-FCAC-4EC5-B7B5-B457F571FC1F}"/>
          </ac:spMkLst>
        </pc:spChg>
        <pc:spChg chg="del mod">
          <ac:chgData name="Robertson, Daniel" userId="4fd6f56b-898f-4008-a6b4-11eaf568a331" providerId="ADAL" clId="{5E594DDC-A41B-4A8C-9A88-74EB4E108575}" dt="2021-08-25T14:23:09.116" v="631" actId="478"/>
          <ac:spMkLst>
            <pc:docMk/>
            <pc:sldMk cId="3476958649" sldId="2147375842"/>
            <ac:spMk id="3" creationId="{8E3746B3-C7EF-4D51-BEC9-ADC01DEFD47A}"/>
          </ac:spMkLst>
        </pc:spChg>
        <pc:spChg chg="del">
          <ac:chgData name="Robertson, Daniel" userId="4fd6f56b-898f-4008-a6b4-11eaf568a331" providerId="ADAL" clId="{5E594DDC-A41B-4A8C-9A88-74EB4E108575}" dt="2021-08-25T14:23:09.116" v="631" actId="478"/>
          <ac:spMkLst>
            <pc:docMk/>
            <pc:sldMk cId="3476958649" sldId="2147375842"/>
            <ac:spMk id="4" creationId="{37CFE436-DBB8-4D88-9B39-1FD71556736B}"/>
          </ac:spMkLst>
        </pc:spChg>
        <pc:spChg chg="add mod">
          <ac:chgData name="Robertson, Daniel" userId="4fd6f56b-898f-4008-a6b4-11eaf568a331" providerId="ADAL" clId="{5E594DDC-A41B-4A8C-9A88-74EB4E108575}" dt="2021-08-25T14:30:47.317" v="1013" actId="20577"/>
          <ac:spMkLst>
            <pc:docMk/>
            <pc:sldMk cId="3476958649" sldId="2147375842"/>
            <ac:spMk id="10" creationId="{C607E07A-1FAD-428F-99ED-8DBD9A0B2C0B}"/>
          </ac:spMkLst>
        </pc:spChg>
        <pc:spChg chg="del">
          <ac:chgData name="Robertson, Daniel" userId="4fd6f56b-898f-4008-a6b4-11eaf568a331" providerId="ADAL" clId="{5E594DDC-A41B-4A8C-9A88-74EB4E108575}" dt="2021-08-25T14:23:09.116" v="631" actId="478"/>
          <ac:spMkLst>
            <pc:docMk/>
            <pc:sldMk cId="3476958649" sldId="2147375842"/>
            <ac:spMk id="23" creationId="{5768C108-91B7-4E2F-989E-BF54576BD01E}"/>
          </ac:spMkLst>
        </pc:spChg>
        <pc:spChg chg="del">
          <ac:chgData name="Robertson, Daniel" userId="4fd6f56b-898f-4008-a6b4-11eaf568a331" providerId="ADAL" clId="{5E594DDC-A41B-4A8C-9A88-74EB4E108575}" dt="2021-08-25T13:31:09.400" v="306" actId="478"/>
          <ac:spMkLst>
            <pc:docMk/>
            <pc:sldMk cId="3476958649" sldId="2147375842"/>
            <ac:spMk id="37" creationId="{9B8987A8-B3AF-43F7-9587-6D259EE37379}"/>
          </ac:spMkLst>
        </pc:spChg>
        <pc:spChg chg="del">
          <ac:chgData name="Robertson, Daniel" userId="4fd6f56b-898f-4008-a6b4-11eaf568a331" providerId="ADAL" clId="{5E594DDC-A41B-4A8C-9A88-74EB4E108575}" dt="2021-08-25T14:19:31.510" v="467" actId="478"/>
          <ac:spMkLst>
            <pc:docMk/>
            <pc:sldMk cId="3476958649" sldId="2147375842"/>
            <ac:spMk id="44" creationId="{FA82B1CC-4775-49D9-AFCA-6026923E4701}"/>
          </ac:spMkLst>
        </pc:spChg>
        <pc:spChg chg="del mod">
          <ac:chgData name="Robertson, Daniel" userId="4fd6f56b-898f-4008-a6b4-11eaf568a331" providerId="ADAL" clId="{5E594DDC-A41B-4A8C-9A88-74EB4E108575}" dt="2021-08-25T14:23:11.510" v="632" actId="478"/>
          <ac:spMkLst>
            <pc:docMk/>
            <pc:sldMk cId="3476958649" sldId="2147375842"/>
            <ac:spMk id="243" creationId="{2C6B11A1-BE44-411B-9F77-C18F19102011}"/>
          </ac:spMkLst>
        </pc:spChg>
        <pc:spChg chg="add del mod">
          <ac:chgData name="Robertson, Daniel" userId="4fd6f56b-898f-4008-a6b4-11eaf568a331" providerId="ADAL" clId="{5E594DDC-A41B-4A8C-9A88-74EB4E108575}" dt="2021-08-25T14:23:09.116" v="631" actId="478"/>
          <ac:spMkLst>
            <pc:docMk/>
            <pc:sldMk cId="3476958649" sldId="2147375842"/>
            <ac:spMk id="245" creationId="{AF8A5165-6205-40D6-890C-E4B9B630B5AE}"/>
          </ac:spMkLst>
        </pc:spChg>
        <pc:spChg chg="add del mod">
          <ac:chgData name="Robertson, Daniel" userId="4fd6f56b-898f-4008-a6b4-11eaf568a331" providerId="ADAL" clId="{5E594DDC-A41B-4A8C-9A88-74EB4E108575}" dt="2021-08-25T13:35:00.931" v="386"/>
          <ac:spMkLst>
            <pc:docMk/>
            <pc:sldMk cId="3476958649" sldId="2147375842"/>
            <ac:spMk id="246" creationId="{526E8F14-7FA6-4766-B694-12251DD614A9}"/>
          </ac:spMkLst>
        </pc:spChg>
        <pc:spChg chg="add del mod">
          <ac:chgData name="Robertson, Daniel" userId="4fd6f56b-898f-4008-a6b4-11eaf568a331" providerId="ADAL" clId="{5E594DDC-A41B-4A8C-9A88-74EB4E108575}" dt="2021-08-25T13:35:00.662" v="385"/>
          <ac:spMkLst>
            <pc:docMk/>
            <pc:sldMk cId="3476958649" sldId="2147375842"/>
            <ac:spMk id="247" creationId="{35BF1187-8852-4629-B66D-BFD586F60E05}"/>
          </ac:spMkLst>
        </pc:spChg>
        <pc:spChg chg="del mod">
          <ac:chgData name="Robertson, Daniel" userId="4fd6f56b-898f-4008-a6b4-11eaf568a331" providerId="ADAL" clId="{5E594DDC-A41B-4A8C-9A88-74EB4E108575}" dt="2021-08-25T14:19:31.510" v="467" actId="478"/>
          <ac:spMkLst>
            <pc:docMk/>
            <pc:sldMk cId="3476958649" sldId="2147375842"/>
            <ac:spMk id="248" creationId="{F732F6CE-9EC1-4E71-97F2-CD5DA7B8B452}"/>
          </ac:spMkLst>
        </pc:spChg>
        <pc:spChg chg="add del mod">
          <ac:chgData name="Robertson, Daniel" userId="4fd6f56b-898f-4008-a6b4-11eaf568a331" providerId="ADAL" clId="{5E594DDC-A41B-4A8C-9A88-74EB4E108575}" dt="2021-08-25T14:23:09.116" v="631" actId="478"/>
          <ac:spMkLst>
            <pc:docMk/>
            <pc:sldMk cId="3476958649" sldId="2147375842"/>
            <ac:spMk id="249" creationId="{26245D29-78A6-41C2-A8AF-A08620FCAB6B}"/>
          </ac:spMkLst>
        </pc:spChg>
        <pc:spChg chg="del">
          <ac:chgData name="Robertson, Daniel" userId="4fd6f56b-898f-4008-a6b4-11eaf568a331" providerId="ADAL" clId="{5E594DDC-A41B-4A8C-9A88-74EB4E108575}" dt="2021-08-25T14:19:31.510" v="467" actId="478"/>
          <ac:spMkLst>
            <pc:docMk/>
            <pc:sldMk cId="3476958649" sldId="2147375842"/>
            <ac:spMk id="250" creationId="{BA8799C6-4C46-41FA-902D-78C81C35D1C3}"/>
          </ac:spMkLst>
        </pc:spChg>
        <pc:spChg chg="add del mod">
          <ac:chgData name="Robertson, Daniel" userId="4fd6f56b-898f-4008-a6b4-11eaf568a331" providerId="ADAL" clId="{5E594DDC-A41B-4A8C-9A88-74EB4E108575}" dt="2021-08-25T14:23:09.116" v="631" actId="478"/>
          <ac:spMkLst>
            <pc:docMk/>
            <pc:sldMk cId="3476958649" sldId="2147375842"/>
            <ac:spMk id="251" creationId="{7975D238-940D-480B-AAD7-94009B12A758}"/>
          </ac:spMkLst>
        </pc:spChg>
        <pc:spChg chg="add del mod">
          <ac:chgData name="Robertson, Daniel" userId="4fd6f56b-898f-4008-a6b4-11eaf568a331" providerId="ADAL" clId="{5E594DDC-A41B-4A8C-9A88-74EB4E108575}" dt="2021-08-25T14:23:09.116" v="631" actId="478"/>
          <ac:spMkLst>
            <pc:docMk/>
            <pc:sldMk cId="3476958649" sldId="2147375842"/>
            <ac:spMk id="252" creationId="{0D121A02-6BAC-44FD-8FC7-930885525117}"/>
          </ac:spMkLst>
        </pc:spChg>
        <pc:spChg chg="add del mod">
          <ac:chgData name="Robertson, Daniel" userId="4fd6f56b-898f-4008-a6b4-11eaf568a331" providerId="ADAL" clId="{5E594DDC-A41B-4A8C-9A88-74EB4E108575}" dt="2021-08-25T14:23:09.116" v="631" actId="478"/>
          <ac:spMkLst>
            <pc:docMk/>
            <pc:sldMk cId="3476958649" sldId="2147375842"/>
            <ac:spMk id="253" creationId="{9D4DC582-522C-498F-BE77-7419C832A3CA}"/>
          </ac:spMkLst>
        </pc:spChg>
        <pc:spChg chg="del">
          <ac:chgData name="Robertson, Daniel" userId="4fd6f56b-898f-4008-a6b4-11eaf568a331" providerId="ADAL" clId="{5E594DDC-A41B-4A8C-9A88-74EB4E108575}" dt="2021-08-25T14:19:31.510" v="467" actId="478"/>
          <ac:spMkLst>
            <pc:docMk/>
            <pc:sldMk cId="3476958649" sldId="2147375842"/>
            <ac:spMk id="254" creationId="{07C21B2A-50DA-421F-AD38-BA4F0E08C9C7}"/>
          </ac:spMkLst>
        </pc:spChg>
        <pc:spChg chg="del">
          <ac:chgData name="Robertson, Daniel" userId="4fd6f56b-898f-4008-a6b4-11eaf568a331" providerId="ADAL" clId="{5E594DDC-A41B-4A8C-9A88-74EB4E108575}" dt="2021-08-25T14:19:31.510" v="467" actId="478"/>
          <ac:spMkLst>
            <pc:docMk/>
            <pc:sldMk cId="3476958649" sldId="2147375842"/>
            <ac:spMk id="255" creationId="{B758170E-566E-43D9-BF5C-3044739A7C16}"/>
          </ac:spMkLst>
        </pc:spChg>
        <pc:spChg chg="add del mod">
          <ac:chgData name="Robertson, Daniel" userId="4fd6f56b-898f-4008-a6b4-11eaf568a331" providerId="ADAL" clId="{5E594DDC-A41B-4A8C-9A88-74EB4E108575}" dt="2021-08-25T14:23:09.116" v="631" actId="478"/>
          <ac:spMkLst>
            <pc:docMk/>
            <pc:sldMk cId="3476958649" sldId="2147375842"/>
            <ac:spMk id="256" creationId="{E56B0FAD-DF61-4AC0-B750-5C47501B7C91}"/>
          </ac:spMkLst>
        </pc:spChg>
        <pc:spChg chg="add del mod">
          <ac:chgData name="Robertson, Daniel" userId="4fd6f56b-898f-4008-a6b4-11eaf568a331" providerId="ADAL" clId="{5E594DDC-A41B-4A8C-9A88-74EB4E108575}" dt="2021-08-25T14:23:09.116" v="631" actId="478"/>
          <ac:spMkLst>
            <pc:docMk/>
            <pc:sldMk cId="3476958649" sldId="2147375842"/>
            <ac:spMk id="257" creationId="{421CBD58-B255-4533-8E86-FFBC8AD297DB}"/>
          </ac:spMkLst>
        </pc:spChg>
        <pc:spChg chg="del">
          <ac:chgData name="Robertson, Daniel" userId="4fd6f56b-898f-4008-a6b4-11eaf568a331" providerId="ADAL" clId="{5E594DDC-A41B-4A8C-9A88-74EB4E108575}" dt="2021-08-25T14:19:31.510" v="467" actId="478"/>
          <ac:spMkLst>
            <pc:docMk/>
            <pc:sldMk cId="3476958649" sldId="2147375842"/>
            <ac:spMk id="258" creationId="{3B0513B9-BE0E-4CD4-B108-84A96483AC0E}"/>
          </ac:spMkLst>
        </pc:spChg>
        <pc:spChg chg="add del mod">
          <ac:chgData name="Robertson, Daniel" userId="4fd6f56b-898f-4008-a6b4-11eaf568a331" providerId="ADAL" clId="{5E594DDC-A41B-4A8C-9A88-74EB4E108575}" dt="2021-08-25T14:23:09.116" v="631" actId="478"/>
          <ac:spMkLst>
            <pc:docMk/>
            <pc:sldMk cId="3476958649" sldId="2147375842"/>
            <ac:spMk id="301" creationId="{57FF9EF1-2051-4A5D-BBCA-4122626C5C86}"/>
          </ac:spMkLst>
        </pc:spChg>
        <pc:spChg chg="add del mod">
          <ac:chgData name="Robertson, Daniel" userId="4fd6f56b-898f-4008-a6b4-11eaf568a331" providerId="ADAL" clId="{5E594DDC-A41B-4A8C-9A88-74EB4E108575}" dt="2021-08-25T14:23:09.116" v="631" actId="478"/>
          <ac:spMkLst>
            <pc:docMk/>
            <pc:sldMk cId="3476958649" sldId="2147375842"/>
            <ac:spMk id="302" creationId="{FB874857-1CF6-49F8-9AE8-56FEC091716A}"/>
          </ac:spMkLst>
        </pc:spChg>
        <pc:spChg chg="add del mod">
          <ac:chgData name="Robertson, Daniel" userId="4fd6f56b-898f-4008-a6b4-11eaf568a331" providerId="ADAL" clId="{5E594DDC-A41B-4A8C-9A88-74EB4E108575}" dt="2021-08-25T14:23:09.116" v="631" actId="478"/>
          <ac:spMkLst>
            <pc:docMk/>
            <pc:sldMk cId="3476958649" sldId="2147375842"/>
            <ac:spMk id="303" creationId="{B2F67620-6A73-44C2-B480-B89D74364FDE}"/>
          </ac:spMkLst>
        </pc:spChg>
        <pc:spChg chg="add del mod">
          <ac:chgData name="Robertson, Daniel" userId="4fd6f56b-898f-4008-a6b4-11eaf568a331" providerId="ADAL" clId="{5E594DDC-A41B-4A8C-9A88-74EB4E108575}" dt="2021-08-25T14:23:09.116" v="631" actId="478"/>
          <ac:spMkLst>
            <pc:docMk/>
            <pc:sldMk cId="3476958649" sldId="2147375842"/>
            <ac:spMk id="341" creationId="{7865E6B7-DD21-41FA-BCFF-AEEE5C462DAF}"/>
          </ac:spMkLst>
        </pc:spChg>
        <pc:spChg chg="del mod topLvl">
          <ac:chgData name="Robertson, Daniel" userId="4fd6f56b-898f-4008-a6b4-11eaf568a331" providerId="ADAL" clId="{5E594DDC-A41B-4A8C-9A88-74EB4E108575}" dt="2021-08-25T14:23:09.116" v="631" actId="478"/>
          <ac:spMkLst>
            <pc:docMk/>
            <pc:sldMk cId="3476958649" sldId="2147375842"/>
            <ac:spMk id="343" creationId="{95B826B2-B767-4321-832A-23C08496CA4E}"/>
          </ac:spMkLst>
        </pc:spChg>
        <pc:spChg chg="del mod topLvl">
          <ac:chgData name="Robertson, Daniel" userId="4fd6f56b-898f-4008-a6b4-11eaf568a331" providerId="ADAL" clId="{5E594DDC-A41B-4A8C-9A88-74EB4E108575}" dt="2021-08-25T13:31:52.113" v="323" actId="478"/>
          <ac:spMkLst>
            <pc:docMk/>
            <pc:sldMk cId="3476958649" sldId="2147375842"/>
            <ac:spMk id="348" creationId="{903162C2-B514-4D20-9392-BF812C942A67}"/>
          </ac:spMkLst>
        </pc:spChg>
        <pc:spChg chg="del mod ord topLvl">
          <ac:chgData name="Robertson, Daniel" userId="4fd6f56b-898f-4008-a6b4-11eaf568a331" providerId="ADAL" clId="{5E594DDC-A41B-4A8C-9A88-74EB4E108575}" dt="2021-08-25T13:37:19.684" v="446" actId="478"/>
          <ac:spMkLst>
            <pc:docMk/>
            <pc:sldMk cId="3476958649" sldId="2147375842"/>
            <ac:spMk id="349" creationId="{81ED4022-D8D1-412F-B8EC-A3DDD446BF84}"/>
          </ac:spMkLst>
        </pc:spChg>
        <pc:spChg chg="del mod topLvl">
          <ac:chgData name="Robertson, Daniel" userId="4fd6f56b-898f-4008-a6b4-11eaf568a331" providerId="ADAL" clId="{5E594DDC-A41B-4A8C-9A88-74EB4E108575}" dt="2021-08-25T14:23:09.116" v="631" actId="478"/>
          <ac:spMkLst>
            <pc:docMk/>
            <pc:sldMk cId="3476958649" sldId="2147375842"/>
            <ac:spMk id="350" creationId="{2CD9015E-DD92-421D-87B8-43309F3A855F}"/>
          </ac:spMkLst>
        </pc:spChg>
        <pc:spChg chg="del mod topLvl">
          <ac:chgData name="Robertson, Daniel" userId="4fd6f56b-898f-4008-a6b4-11eaf568a331" providerId="ADAL" clId="{5E594DDC-A41B-4A8C-9A88-74EB4E108575}" dt="2021-08-25T13:33:28.147" v="344" actId="478"/>
          <ac:spMkLst>
            <pc:docMk/>
            <pc:sldMk cId="3476958649" sldId="2147375842"/>
            <ac:spMk id="351" creationId="{F982E21F-AA2E-414B-97DE-78CB2650313A}"/>
          </ac:spMkLst>
        </pc:spChg>
        <pc:spChg chg="mod">
          <ac:chgData name="Robertson, Daniel" userId="4fd6f56b-898f-4008-a6b4-11eaf568a331" providerId="ADAL" clId="{5E594DDC-A41B-4A8C-9A88-74EB4E108575}" dt="2021-08-25T13:31:23.180" v="307" actId="165"/>
          <ac:spMkLst>
            <pc:docMk/>
            <pc:sldMk cId="3476958649" sldId="2147375842"/>
            <ac:spMk id="352" creationId="{8E5D52D5-0077-40EE-BF7C-5F2213C73292}"/>
          </ac:spMkLst>
        </pc:spChg>
        <pc:spChg chg="mod">
          <ac:chgData name="Robertson, Daniel" userId="4fd6f56b-898f-4008-a6b4-11eaf568a331" providerId="ADAL" clId="{5E594DDC-A41B-4A8C-9A88-74EB4E108575}" dt="2021-08-25T13:31:23.180" v="307" actId="165"/>
          <ac:spMkLst>
            <pc:docMk/>
            <pc:sldMk cId="3476958649" sldId="2147375842"/>
            <ac:spMk id="353" creationId="{55E2B0AD-873C-49F9-9170-B44E8E48FB9D}"/>
          </ac:spMkLst>
        </pc:spChg>
        <pc:spChg chg="mod">
          <ac:chgData name="Robertson, Daniel" userId="4fd6f56b-898f-4008-a6b4-11eaf568a331" providerId="ADAL" clId="{5E594DDC-A41B-4A8C-9A88-74EB4E108575}" dt="2021-08-25T13:31:23.180" v="307" actId="165"/>
          <ac:spMkLst>
            <pc:docMk/>
            <pc:sldMk cId="3476958649" sldId="2147375842"/>
            <ac:spMk id="354" creationId="{00F762F0-173D-404D-9F4A-E7F53F9D3C38}"/>
          </ac:spMkLst>
        </pc:spChg>
        <pc:spChg chg="mod">
          <ac:chgData name="Robertson, Daniel" userId="4fd6f56b-898f-4008-a6b4-11eaf568a331" providerId="ADAL" clId="{5E594DDC-A41B-4A8C-9A88-74EB4E108575}" dt="2021-08-25T13:31:23.180" v="307" actId="165"/>
          <ac:spMkLst>
            <pc:docMk/>
            <pc:sldMk cId="3476958649" sldId="2147375842"/>
            <ac:spMk id="355" creationId="{8AF9FB87-9472-43B2-AE01-39D1DE4144FE}"/>
          </ac:spMkLst>
        </pc:spChg>
        <pc:spChg chg="mod">
          <ac:chgData name="Robertson, Daniel" userId="4fd6f56b-898f-4008-a6b4-11eaf568a331" providerId="ADAL" clId="{5E594DDC-A41B-4A8C-9A88-74EB4E108575}" dt="2021-08-25T13:31:23.180" v="307" actId="165"/>
          <ac:spMkLst>
            <pc:docMk/>
            <pc:sldMk cId="3476958649" sldId="2147375842"/>
            <ac:spMk id="356" creationId="{143CA10A-3406-4890-8E40-16AFD787D96A}"/>
          </ac:spMkLst>
        </pc:spChg>
        <pc:spChg chg="mod">
          <ac:chgData name="Robertson, Daniel" userId="4fd6f56b-898f-4008-a6b4-11eaf568a331" providerId="ADAL" clId="{5E594DDC-A41B-4A8C-9A88-74EB4E108575}" dt="2021-08-25T13:31:23.180" v="307" actId="165"/>
          <ac:spMkLst>
            <pc:docMk/>
            <pc:sldMk cId="3476958649" sldId="2147375842"/>
            <ac:spMk id="357" creationId="{0DAD4322-4BC8-4150-B0E0-9C665F9DC448}"/>
          </ac:spMkLst>
        </pc:spChg>
        <pc:spChg chg="mod">
          <ac:chgData name="Robertson, Daniel" userId="4fd6f56b-898f-4008-a6b4-11eaf568a331" providerId="ADAL" clId="{5E594DDC-A41B-4A8C-9A88-74EB4E108575}" dt="2021-08-25T13:31:23.180" v="307" actId="165"/>
          <ac:spMkLst>
            <pc:docMk/>
            <pc:sldMk cId="3476958649" sldId="2147375842"/>
            <ac:spMk id="358" creationId="{507FCCAD-9D1B-4466-A5B7-D37033F6B11E}"/>
          </ac:spMkLst>
        </pc:spChg>
        <pc:spChg chg="mod">
          <ac:chgData name="Robertson, Daniel" userId="4fd6f56b-898f-4008-a6b4-11eaf568a331" providerId="ADAL" clId="{5E594DDC-A41B-4A8C-9A88-74EB4E108575}" dt="2021-08-25T13:31:23.180" v="307" actId="165"/>
          <ac:spMkLst>
            <pc:docMk/>
            <pc:sldMk cId="3476958649" sldId="2147375842"/>
            <ac:spMk id="359" creationId="{51ECF7A6-A8D8-4081-B707-D73E0B6A0BC5}"/>
          </ac:spMkLst>
        </pc:spChg>
        <pc:spChg chg="mod">
          <ac:chgData name="Robertson, Daniel" userId="4fd6f56b-898f-4008-a6b4-11eaf568a331" providerId="ADAL" clId="{5E594DDC-A41B-4A8C-9A88-74EB4E108575}" dt="2021-08-25T13:31:23.180" v="307" actId="165"/>
          <ac:spMkLst>
            <pc:docMk/>
            <pc:sldMk cId="3476958649" sldId="2147375842"/>
            <ac:spMk id="360" creationId="{725CFCE2-432D-48A0-9068-270EA7D1B825}"/>
          </ac:spMkLst>
        </pc:spChg>
        <pc:spChg chg="mod">
          <ac:chgData name="Robertson, Daniel" userId="4fd6f56b-898f-4008-a6b4-11eaf568a331" providerId="ADAL" clId="{5E594DDC-A41B-4A8C-9A88-74EB4E108575}" dt="2021-08-25T13:31:23.180" v="307" actId="165"/>
          <ac:spMkLst>
            <pc:docMk/>
            <pc:sldMk cId="3476958649" sldId="2147375842"/>
            <ac:spMk id="362" creationId="{5DD4F76F-B4BE-49C5-A7A2-3E2B6889F673}"/>
          </ac:spMkLst>
        </pc:spChg>
        <pc:spChg chg="mod">
          <ac:chgData name="Robertson, Daniel" userId="4fd6f56b-898f-4008-a6b4-11eaf568a331" providerId="ADAL" clId="{5E594DDC-A41B-4A8C-9A88-74EB4E108575}" dt="2021-08-25T13:31:23.180" v="307" actId="165"/>
          <ac:spMkLst>
            <pc:docMk/>
            <pc:sldMk cId="3476958649" sldId="2147375842"/>
            <ac:spMk id="363" creationId="{6021F940-575C-4584-BF15-0A89DEA8AF75}"/>
          </ac:spMkLst>
        </pc:spChg>
        <pc:spChg chg="mod">
          <ac:chgData name="Robertson, Daniel" userId="4fd6f56b-898f-4008-a6b4-11eaf568a331" providerId="ADAL" clId="{5E594DDC-A41B-4A8C-9A88-74EB4E108575}" dt="2021-08-25T13:31:23.180" v="307" actId="165"/>
          <ac:spMkLst>
            <pc:docMk/>
            <pc:sldMk cId="3476958649" sldId="2147375842"/>
            <ac:spMk id="364" creationId="{C43389A1-3C02-4289-9E23-97C67C5E0FDA}"/>
          </ac:spMkLst>
        </pc:spChg>
        <pc:spChg chg="mod">
          <ac:chgData name="Robertson, Daniel" userId="4fd6f56b-898f-4008-a6b4-11eaf568a331" providerId="ADAL" clId="{5E594DDC-A41B-4A8C-9A88-74EB4E108575}" dt="2021-08-25T13:31:23.180" v="307" actId="165"/>
          <ac:spMkLst>
            <pc:docMk/>
            <pc:sldMk cId="3476958649" sldId="2147375842"/>
            <ac:spMk id="365" creationId="{378452B3-4ACE-446A-82CA-F5B3D839F5C6}"/>
          </ac:spMkLst>
        </pc:spChg>
        <pc:spChg chg="mod">
          <ac:chgData name="Robertson, Daniel" userId="4fd6f56b-898f-4008-a6b4-11eaf568a331" providerId="ADAL" clId="{5E594DDC-A41B-4A8C-9A88-74EB4E108575}" dt="2021-08-25T13:31:23.180" v="307" actId="165"/>
          <ac:spMkLst>
            <pc:docMk/>
            <pc:sldMk cId="3476958649" sldId="2147375842"/>
            <ac:spMk id="366" creationId="{91EF0626-4F12-42CF-8B1E-862369CBAEC4}"/>
          </ac:spMkLst>
        </pc:spChg>
        <pc:spChg chg="del mod topLvl">
          <ac:chgData name="Robertson, Daniel" userId="4fd6f56b-898f-4008-a6b4-11eaf568a331" providerId="ADAL" clId="{5E594DDC-A41B-4A8C-9A88-74EB4E108575}" dt="2021-08-25T13:34:22.592" v="382" actId="478"/>
          <ac:spMkLst>
            <pc:docMk/>
            <pc:sldMk cId="3476958649" sldId="2147375842"/>
            <ac:spMk id="367" creationId="{B2186C4E-B073-4DA4-9D8D-2C06D4D7502E}"/>
          </ac:spMkLst>
        </pc:spChg>
        <pc:spChg chg="del mod topLvl">
          <ac:chgData name="Robertson, Daniel" userId="4fd6f56b-898f-4008-a6b4-11eaf568a331" providerId="ADAL" clId="{5E594DDC-A41B-4A8C-9A88-74EB4E108575}" dt="2021-08-25T13:33:07.219" v="342" actId="478"/>
          <ac:spMkLst>
            <pc:docMk/>
            <pc:sldMk cId="3476958649" sldId="2147375842"/>
            <ac:spMk id="368" creationId="{23929A82-B8BD-4166-A609-A595B0BD31FA}"/>
          </ac:spMkLst>
        </pc:spChg>
        <pc:spChg chg="del mod">
          <ac:chgData name="Robertson, Daniel" userId="4fd6f56b-898f-4008-a6b4-11eaf568a331" providerId="ADAL" clId="{5E594DDC-A41B-4A8C-9A88-74EB4E108575}" dt="2021-08-25T13:32:56.795" v="341" actId="478"/>
          <ac:spMkLst>
            <pc:docMk/>
            <pc:sldMk cId="3476958649" sldId="2147375842"/>
            <ac:spMk id="369" creationId="{DCE5814D-00EE-4AA7-A409-AE17F8C600D0}"/>
          </ac:spMkLst>
        </pc:spChg>
        <pc:spChg chg="add del mod">
          <ac:chgData name="Robertson, Daniel" userId="4fd6f56b-898f-4008-a6b4-11eaf568a331" providerId="ADAL" clId="{5E594DDC-A41B-4A8C-9A88-74EB4E108575}" dt="2021-08-25T14:23:09.116" v="631" actId="478"/>
          <ac:spMkLst>
            <pc:docMk/>
            <pc:sldMk cId="3476958649" sldId="2147375842"/>
            <ac:spMk id="370" creationId="{7F007BC6-0D4E-4028-B5C4-9E2B01E3C72E}"/>
          </ac:spMkLst>
        </pc:spChg>
        <pc:spChg chg="add del mod">
          <ac:chgData name="Robertson, Daniel" userId="4fd6f56b-898f-4008-a6b4-11eaf568a331" providerId="ADAL" clId="{5E594DDC-A41B-4A8C-9A88-74EB4E108575}" dt="2021-08-25T14:23:09.116" v="631" actId="478"/>
          <ac:spMkLst>
            <pc:docMk/>
            <pc:sldMk cId="3476958649" sldId="2147375842"/>
            <ac:spMk id="371" creationId="{84203839-C017-4E60-917B-DBED49F1DE11}"/>
          </ac:spMkLst>
        </pc:spChg>
        <pc:spChg chg="add del mod">
          <ac:chgData name="Robertson, Daniel" userId="4fd6f56b-898f-4008-a6b4-11eaf568a331" providerId="ADAL" clId="{5E594DDC-A41B-4A8C-9A88-74EB4E108575}" dt="2021-08-25T14:23:09.116" v="631" actId="478"/>
          <ac:spMkLst>
            <pc:docMk/>
            <pc:sldMk cId="3476958649" sldId="2147375842"/>
            <ac:spMk id="373" creationId="{18CBF168-76C6-4F4A-9A44-7AA38586D2ED}"/>
          </ac:spMkLst>
        </pc:spChg>
        <pc:spChg chg="add del mod">
          <ac:chgData name="Robertson, Daniel" userId="4fd6f56b-898f-4008-a6b4-11eaf568a331" providerId="ADAL" clId="{5E594DDC-A41B-4A8C-9A88-74EB4E108575}" dt="2021-08-25T14:23:09.116" v="631" actId="478"/>
          <ac:spMkLst>
            <pc:docMk/>
            <pc:sldMk cId="3476958649" sldId="2147375842"/>
            <ac:spMk id="374" creationId="{FD4B100F-42D2-4BA1-B3C0-DF73BB87E975}"/>
          </ac:spMkLst>
        </pc:spChg>
        <pc:spChg chg="add del mod">
          <ac:chgData name="Robertson, Daniel" userId="4fd6f56b-898f-4008-a6b4-11eaf568a331" providerId="ADAL" clId="{5E594DDC-A41B-4A8C-9A88-74EB4E108575}" dt="2021-08-25T14:23:09.116" v="631" actId="478"/>
          <ac:spMkLst>
            <pc:docMk/>
            <pc:sldMk cId="3476958649" sldId="2147375842"/>
            <ac:spMk id="375" creationId="{56A28472-2AE2-4F24-9D47-DB6C84328E96}"/>
          </ac:spMkLst>
        </pc:spChg>
        <pc:spChg chg="add del mod">
          <ac:chgData name="Robertson, Daniel" userId="4fd6f56b-898f-4008-a6b4-11eaf568a331" providerId="ADAL" clId="{5E594DDC-A41B-4A8C-9A88-74EB4E108575}" dt="2021-08-25T14:23:09.116" v="631" actId="478"/>
          <ac:spMkLst>
            <pc:docMk/>
            <pc:sldMk cId="3476958649" sldId="2147375842"/>
            <ac:spMk id="376" creationId="{821CC60C-5BA3-466E-96C0-0FE684F683B6}"/>
          </ac:spMkLst>
        </pc:spChg>
        <pc:spChg chg="add del mod">
          <ac:chgData name="Robertson, Daniel" userId="4fd6f56b-898f-4008-a6b4-11eaf568a331" providerId="ADAL" clId="{5E594DDC-A41B-4A8C-9A88-74EB4E108575}" dt="2021-08-25T14:23:09.116" v="631" actId="478"/>
          <ac:spMkLst>
            <pc:docMk/>
            <pc:sldMk cId="3476958649" sldId="2147375842"/>
            <ac:spMk id="377" creationId="{A2CFB3CA-A5AC-4B47-B1FB-B16479543078}"/>
          </ac:spMkLst>
        </pc:spChg>
        <pc:spChg chg="add del mod">
          <ac:chgData name="Robertson, Daniel" userId="4fd6f56b-898f-4008-a6b4-11eaf568a331" providerId="ADAL" clId="{5E594DDC-A41B-4A8C-9A88-74EB4E108575}" dt="2021-08-25T14:23:09.116" v="631" actId="478"/>
          <ac:spMkLst>
            <pc:docMk/>
            <pc:sldMk cId="3476958649" sldId="2147375842"/>
            <ac:spMk id="378" creationId="{338CF857-216E-406F-83FB-9EBD9603F525}"/>
          </ac:spMkLst>
        </pc:spChg>
        <pc:spChg chg="add del mod">
          <ac:chgData name="Robertson, Daniel" userId="4fd6f56b-898f-4008-a6b4-11eaf568a331" providerId="ADAL" clId="{5E594DDC-A41B-4A8C-9A88-74EB4E108575}" dt="2021-08-25T14:23:09.116" v="631" actId="478"/>
          <ac:spMkLst>
            <pc:docMk/>
            <pc:sldMk cId="3476958649" sldId="2147375842"/>
            <ac:spMk id="379" creationId="{D1D480EF-ADED-422F-9123-53F4D2ECB09D}"/>
          </ac:spMkLst>
        </pc:spChg>
        <pc:spChg chg="add del mod">
          <ac:chgData name="Robertson, Daniel" userId="4fd6f56b-898f-4008-a6b4-11eaf568a331" providerId="ADAL" clId="{5E594DDC-A41B-4A8C-9A88-74EB4E108575}" dt="2021-08-25T14:23:09.116" v="631" actId="478"/>
          <ac:spMkLst>
            <pc:docMk/>
            <pc:sldMk cId="3476958649" sldId="2147375842"/>
            <ac:spMk id="380" creationId="{65393EDB-3723-4D14-8AE0-18630398AB22}"/>
          </ac:spMkLst>
        </pc:spChg>
        <pc:spChg chg="add del mod">
          <ac:chgData name="Robertson, Daniel" userId="4fd6f56b-898f-4008-a6b4-11eaf568a331" providerId="ADAL" clId="{5E594DDC-A41B-4A8C-9A88-74EB4E108575}" dt="2021-08-25T14:23:09.116" v="631" actId="478"/>
          <ac:spMkLst>
            <pc:docMk/>
            <pc:sldMk cId="3476958649" sldId="2147375842"/>
            <ac:spMk id="381" creationId="{37554B2D-2B83-4968-8E34-3BE569841DE1}"/>
          </ac:spMkLst>
        </pc:spChg>
        <pc:spChg chg="add del mod">
          <ac:chgData name="Robertson, Daniel" userId="4fd6f56b-898f-4008-a6b4-11eaf568a331" providerId="ADAL" clId="{5E594DDC-A41B-4A8C-9A88-74EB4E108575}" dt="2021-08-25T14:23:09.116" v="631" actId="478"/>
          <ac:spMkLst>
            <pc:docMk/>
            <pc:sldMk cId="3476958649" sldId="2147375842"/>
            <ac:spMk id="382" creationId="{351FC79F-B0CD-401F-897A-66627CA5A7D2}"/>
          </ac:spMkLst>
        </pc:spChg>
        <pc:spChg chg="add del mod">
          <ac:chgData name="Robertson, Daniel" userId="4fd6f56b-898f-4008-a6b4-11eaf568a331" providerId="ADAL" clId="{5E594DDC-A41B-4A8C-9A88-74EB4E108575}" dt="2021-08-25T14:23:09.116" v="631" actId="478"/>
          <ac:spMkLst>
            <pc:docMk/>
            <pc:sldMk cId="3476958649" sldId="2147375842"/>
            <ac:spMk id="383" creationId="{48F26399-A153-4C0C-A06B-E650B370E2E8}"/>
          </ac:spMkLst>
        </pc:spChg>
        <pc:spChg chg="add del mod">
          <ac:chgData name="Robertson, Daniel" userId="4fd6f56b-898f-4008-a6b4-11eaf568a331" providerId="ADAL" clId="{5E594DDC-A41B-4A8C-9A88-74EB4E108575}" dt="2021-08-25T14:23:09.116" v="631" actId="478"/>
          <ac:spMkLst>
            <pc:docMk/>
            <pc:sldMk cId="3476958649" sldId="2147375842"/>
            <ac:spMk id="384" creationId="{1649BF03-8C96-4FFA-9AB8-30E6816DFF6A}"/>
          </ac:spMkLst>
        </pc:spChg>
        <pc:spChg chg="add del mod">
          <ac:chgData name="Robertson, Daniel" userId="4fd6f56b-898f-4008-a6b4-11eaf568a331" providerId="ADAL" clId="{5E594DDC-A41B-4A8C-9A88-74EB4E108575}" dt="2021-08-25T14:23:09.116" v="631" actId="478"/>
          <ac:spMkLst>
            <pc:docMk/>
            <pc:sldMk cId="3476958649" sldId="2147375842"/>
            <ac:spMk id="385" creationId="{EF802DDA-96FC-4571-8B63-161069CF3B69}"/>
          </ac:spMkLst>
        </pc:spChg>
        <pc:spChg chg="add del mod">
          <ac:chgData name="Robertson, Daniel" userId="4fd6f56b-898f-4008-a6b4-11eaf568a331" providerId="ADAL" clId="{5E594DDC-A41B-4A8C-9A88-74EB4E108575}" dt="2021-08-25T14:23:09.116" v="631" actId="478"/>
          <ac:spMkLst>
            <pc:docMk/>
            <pc:sldMk cId="3476958649" sldId="2147375842"/>
            <ac:spMk id="386" creationId="{B3D7F589-6BD1-4853-AB25-42712AA47CD2}"/>
          </ac:spMkLst>
        </pc:spChg>
        <pc:spChg chg="add del mod">
          <ac:chgData name="Robertson, Daniel" userId="4fd6f56b-898f-4008-a6b4-11eaf568a331" providerId="ADAL" clId="{5E594DDC-A41B-4A8C-9A88-74EB4E108575}" dt="2021-08-25T14:23:09.116" v="631" actId="478"/>
          <ac:spMkLst>
            <pc:docMk/>
            <pc:sldMk cId="3476958649" sldId="2147375842"/>
            <ac:spMk id="387" creationId="{B8A1E036-9BD6-41BF-8FE1-6717F137ADE4}"/>
          </ac:spMkLst>
        </pc:spChg>
        <pc:spChg chg="add del mod">
          <ac:chgData name="Robertson, Daniel" userId="4fd6f56b-898f-4008-a6b4-11eaf568a331" providerId="ADAL" clId="{5E594DDC-A41B-4A8C-9A88-74EB4E108575}" dt="2021-08-25T14:23:09.116" v="631" actId="478"/>
          <ac:spMkLst>
            <pc:docMk/>
            <pc:sldMk cId="3476958649" sldId="2147375842"/>
            <ac:spMk id="388" creationId="{F74317F0-E306-41F2-9A90-E9F6A98218DC}"/>
          </ac:spMkLst>
        </pc:spChg>
        <pc:spChg chg="add del mod">
          <ac:chgData name="Robertson, Daniel" userId="4fd6f56b-898f-4008-a6b4-11eaf568a331" providerId="ADAL" clId="{5E594DDC-A41B-4A8C-9A88-74EB4E108575}" dt="2021-08-25T14:23:09.116" v="631" actId="478"/>
          <ac:spMkLst>
            <pc:docMk/>
            <pc:sldMk cId="3476958649" sldId="2147375842"/>
            <ac:spMk id="389" creationId="{140DF516-4B02-4D86-B52C-C8660C223399}"/>
          </ac:spMkLst>
        </pc:spChg>
        <pc:spChg chg="add del mod">
          <ac:chgData name="Robertson, Daniel" userId="4fd6f56b-898f-4008-a6b4-11eaf568a331" providerId="ADAL" clId="{5E594DDC-A41B-4A8C-9A88-74EB4E108575}" dt="2021-08-25T14:23:09.116" v="631" actId="478"/>
          <ac:spMkLst>
            <pc:docMk/>
            <pc:sldMk cId="3476958649" sldId="2147375842"/>
            <ac:spMk id="390" creationId="{DBA1AA28-A21E-4FFE-B711-FA3CEA3FAB44}"/>
          </ac:spMkLst>
        </pc:spChg>
        <pc:spChg chg="add del mod">
          <ac:chgData name="Robertson, Daniel" userId="4fd6f56b-898f-4008-a6b4-11eaf568a331" providerId="ADAL" clId="{5E594DDC-A41B-4A8C-9A88-74EB4E108575}" dt="2021-08-25T14:23:09.116" v="631" actId="478"/>
          <ac:spMkLst>
            <pc:docMk/>
            <pc:sldMk cId="3476958649" sldId="2147375842"/>
            <ac:spMk id="391" creationId="{F27CCBE0-67E2-44A4-A1C9-B6022D9FA0F5}"/>
          </ac:spMkLst>
        </pc:spChg>
        <pc:spChg chg="add del mod">
          <ac:chgData name="Robertson, Daniel" userId="4fd6f56b-898f-4008-a6b4-11eaf568a331" providerId="ADAL" clId="{5E594DDC-A41B-4A8C-9A88-74EB4E108575}" dt="2021-08-25T14:23:09.116" v="631" actId="478"/>
          <ac:spMkLst>
            <pc:docMk/>
            <pc:sldMk cId="3476958649" sldId="2147375842"/>
            <ac:spMk id="392" creationId="{7ADC2320-4260-481B-84B5-33BBB91DF630}"/>
          </ac:spMkLst>
        </pc:spChg>
        <pc:spChg chg="add mod">
          <ac:chgData name="Robertson, Daniel" userId="4fd6f56b-898f-4008-a6b4-11eaf568a331" providerId="ADAL" clId="{5E594DDC-A41B-4A8C-9A88-74EB4E108575}" dt="2021-08-25T14:32:44.734" v="1066" actId="207"/>
          <ac:spMkLst>
            <pc:docMk/>
            <pc:sldMk cId="3476958649" sldId="2147375842"/>
            <ac:spMk id="393" creationId="{FED75399-E194-4DF8-B07C-70DD80E88EEE}"/>
          </ac:spMkLst>
        </pc:spChg>
        <pc:spChg chg="add mod">
          <ac:chgData name="Robertson, Daniel" userId="4fd6f56b-898f-4008-a6b4-11eaf568a331" providerId="ADAL" clId="{5E594DDC-A41B-4A8C-9A88-74EB4E108575}" dt="2021-08-25T14:33:50.940" v="1071" actId="207"/>
          <ac:spMkLst>
            <pc:docMk/>
            <pc:sldMk cId="3476958649" sldId="2147375842"/>
            <ac:spMk id="394" creationId="{49E5CFA9-0D7C-4011-8195-F1E1C2EC69E9}"/>
          </ac:spMkLst>
        </pc:spChg>
        <pc:spChg chg="add mod">
          <ac:chgData name="Robertson, Daniel" userId="4fd6f56b-898f-4008-a6b4-11eaf568a331" providerId="ADAL" clId="{5E594DDC-A41B-4A8C-9A88-74EB4E108575}" dt="2021-08-25T14:33:50.940" v="1071" actId="207"/>
          <ac:spMkLst>
            <pc:docMk/>
            <pc:sldMk cId="3476958649" sldId="2147375842"/>
            <ac:spMk id="395" creationId="{C6873743-3D7D-42B5-B63F-A62E5854DAB0}"/>
          </ac:spMkLst>
        </pc:spChg>
        <pc:spChg chg="add mod">
          <ac:chgData name="Robertson, Daniel" userId="4fd6f56b-898f-4008-a6b4-11eaf568a331" providerId="ADAL" clId="{5E594DDC-A41B-4A8C-9A88-74EB4E108575}" dt="2021-08-25T14:34:44.317" v="1074" actId="207"/>
          <ac:spMkLst>
            <pc:docMk/>
            <pc:sldMk cId="3476958649" sldId="2147375842"/>
            <ac:spMk id="396" creationId="{FB0DC98D-F25E-43DC-8292-DA16D179A160}"/>
          </ac:spMkLst>
        </pc:spChg>
        <pc:spChg chg="add mod">
          <ac:chgData name="Robertson, Daniel" userId="4fd6f56b-898f-4008-a6b4-11eaf568a331" providerId="ADAL" clId="{5E594DDC-A41B-4A8C-9A88-74EB4E108575}" dt="2021-08-25T14:35:19.118" v="1075" actId="207"/>
          <ac:spMkLst>
            <pc:docMk/>
            <pc:sldMk cId="3476958649" sldId="2147375842"/>
            <ac:spMk id="397" creationId="{A9177F33-8F43-4965-A8FD-8EA4095FCBBD}"/>
          </ac:spMkLst>
        </pc:spChg>
        <pc:spChg chg="add mod">
          <ac:chgData name="Robertson, Daniel" userId="4fd6f56b-898f-4008-a6b4-11eaf568a331" providerId="ADAL" clId="{5E594DDC-A41B-4A8C-9A88-74EB4E108575}" dt="2021-08-25T14:35:19.118" v="1075" actId="207"/>
          <ac:spMkLst>
            <pc:docMk/>
            <pc:sldMk cId="3476958649" sldId="2147375842"/>
            <ac:spMk id="398" creationId="{3E31A578-B6D1-4FE6-9378-1F9694524EB4}"/>
          </ac:spMkLst>
        </pc:spChg>
        <pc:spChg chg="add mod">
          <ac:chgData name="Robertson, Daniel" userId="4fd6f56b-898f-4008-a6b4-11eaf568a331" providerId="ADAL" clId="{5E594DDC-A41B-4A8C-9A88-74EB4E108575}" dt="2021-08-25T14:35:19.118" v="1075" actId="207"/>
          <ac:spMkLst>
            <pc:docMk/>
            <pc:sldMk cId="3476958649" sldId="2147375842"/>
            <ac:spMk id="428" creationId="{A5BA8CBA-2DC4-48DC-B9D1-FB5D76FD6DE8}"/>
          </ac:spMkLst>
        </pc:spChg>
        <pc:spChg chg="add mod topLvl">
          <ac:chgData name="Robertson, Daniel" userId="4fd6f56b-898f-4008-a6b4-11eaf568a331" providerId="ADAL" clId="{5E594DDC-A41B-4A8C-9A88-74EB4E108575}" dt="2021-08-25T14:33:20.751" v="1068" actId="165"/>
          <ac:spMkLst>
            <pc:docMk/>
            <pc:sldMk cId="3476958649" sldId="2147375842"/>
            <ac:spMk id="429" creationId="{0A096F00-59A6-4133-856C-021A89A8AD7C}"/>
          </ac:spMkLst>
        </pc:spChg>
        <pc:spChg chg="add mod topLvl">
          <ac:chgData name="Robertson, Daniel" userId="4fd6f56b-898f-4008-a6b4-11eaf568a331" providerId="ADAL" clId="{5E594DDC-A41B-4A8C-9A88-74EB4E108575}" dt="2021-08-25T14:33:50.940" v="1071" actId="207"/>
          <ac:spMkLst>
            <pc:docMk/>
            <pc:sldMk cId="3476958649" sldId="2147375842"/>
            <ac:spMk id="430" creationId="{32EE3E03-42FA-4C48-B000-E1A38C25DBFA}"/>
          </ac:spMkLst>
        </pc:spChg>
        <pc:spChg chg="add mod topLvl">
          <ac:chgData name="Robertson, Daniel" userId="4fd6f56b-898f-4008-a6b4-11eaf568a331" providerId="ADAL" clId="{5E594DDC-A41B-4A8C-9A88-74EB4E108575}" dt="2021-08-25T14:33:20.751" v="1068" actId="165"/>
          <ac:spMkLst>
            <pc:docMk/>
            <pc:sldMk cId="3476958649" sldId="2147375842"/>
            <ac:spMk id="431" creationId="{3E12B389-A97E-4D49-9075-4B813321D26E}"/>
          </ac:spMkLst>
        </pc:spChg>
        <pc:spChg chg="add mod topLvl">
          <ac:chgData name="Robertson, Daniel" userId="4fd6f56b-898f-4008-a6b4-11eaf568a331" providerId="ADAL" clId="{5E594DDC-A41B-4A8C-9A88-74EB4E108575}" dt="2021-08-25T14:34:44.317" v="1074" actId="207"/>
          <ac:spMkLst>
            <pc:docMk/>
            <pc:sldMk cId="3476958649" sldId="2147375842"/>
            <ac:spMk id="432" creationId="{631CD30A-ACFB-41B1-A919-1959280B1E59}"/>
          </ac:spMkLst>
        </pc:spChg>
        <pc:spChg chg="add mod topLvl">
          <ac:chgData name="Robertson, Daniel" userId="4fd6f56b-898f-4008-a6b4-11eaf568a331" providerId="ADAL" clId="{5E594DDC-A41B-4A8C-9A88-74EB4E108575}" dt="2021-08-25T14:35:19.118" v="1075" actId="207"/>
          <ac:spMkLst>
            <pc:docMk/>
            <pc:sldMk cId="3476958649" sldId="2147375842"/>
            <ac:spMk id="433" creationId="{1EB81524-51B6-45C3-AC13-C41B2D6BC443}"/>
          </ac:spMkLst>
        </pc:spChg>
        <pc:spChg chg="add mod topLvl">
          <ac:chgData name="Robertson, Daniel" userId="4fd6f56b-898f-4008-a6b4-11eaf568a331" providerId="ADAL" clId="{5E594DDC-A41B-4A8C-9A88-74EB4E108575}" dt="2021-08-25T14:33:20.751" v="1068" actId="165"/>
          <ac:spMkLst>
            <pc:docMk/>
            <pc:sldMk cId="3476958649" sldId="2147375842"/>
            <ac:spMk id="434" creationId="{6CFFFE4D-19D8-4AEB-94E1-FDF726BE74AE}"/>
          </ac:spMkLst>
        </pc:spChg>
        <pc:spChg chg="add mod topLvl">
          <ac:chgData name="Robertson, Daniel" userId="4fd6f56b-898f-4008-a6b4-11eaf568a331" providerId="ADAL" clId="{5E594DDC-A41B-4A8C-9A88-74EB4E108575}" dt="2021-08-25T14:33:20.751" v="1068" actId="165"/>
          <ac:spMkLst>
            <pc:docMk/>
            <pc:sldMk cId="3476958649" sldId="2147375842"/>
            <ac:spMk id="435" creationId="{41310754-A549-4908-8EF4-53D5F9EBC2FB}"/>
          </ac:spMkLst>
        </pc:spChg>
        <pc:spChg chg="mod topLvl">
          <ac:chgData name="Robertson, Daniel" userId="4fd6f56b-898f-4008-a6b4-11eaf568a331" providerId="ADAL" clId="{5E594DDC-A41B-4A8C-9A88-74EB4E108575}" dt="2021-08-25T14:33:20.751" v="1068" actId="165"/>
          <ac:spMkLst>
            <pc:docMk/>
            <pc:sldMk cId="3476958649" sldId="2147375842"/>
            <ac:spMk id="437" creationId="{FFF7DA40-7F3F-42B3-9E39-98B72030D241}"/>
          </ac:spMkLst>
        </pc:spChg>
        <pc:spChg chg="mod topLvl">
          <ac:chgData name="Robertson, Daniel" userId="4fd6f56b-898f-4008-a6b4-11eaf568a331" providerId="ADAL" clId="{5E594DDC-A41B-4A8C-9A88-74EB4E108575}" dt="2021-08-25T14:33:50.940" v="1071" actId="207"/>
          <ac:spMkLst>
            <pc:docMk/>
            <pc:sldMk cId="3476958649" sldId="2147375842"/>
            <ac:spMk id="438" creationId="{5521AE2C-1B2E-4706-B99F-062697E65574}"/>
          </ac:spMkLst>
        </pc:spChg>
        <pc:spChg chg="mod topLvl">
          <ac:chgData name="Robertson, Daniel" userId="4fd6f56b-898f-4008-a6b4-11eaf568a331" providerId="ADAL" clId="{5E594DDC-A41B-4A8C-9A88-74EB4E108575}" dt="2021-08-25T14:33:20.751" v="1068" actId="165"/>
          <ac:spMkLst>
            <pc:docMk/>
            <pc:sldMk cId="3476958649" sldId="2147375842"/>
            <ac:spMk id="439" creationId="{5849EB9B-FB3B-4516-AE30-A2A9E6073AF6}"/>
          </ac:spMkLst>
        </pc:spChg>
        <pc:spChg chg="mod topLvl">
          <ac:chgData name="Robertson, Daniel" userId="4fd6f56b-898f-4008-a6b4-11eaf568a331" providerId="ADAL" clId="{5E594DDC-A41B-4A8C-9A88-74EB4E108575}" dt="2021-08-25T14:34:44.317" v="1074" actId="207"/>
          <ac:spMkLst>
            <pc:docMk/>
            <pc:sldMk cId="3476958649" sldId="2147375842"/>
            <ac:spMk id="440" creationId="{7B7342F0-7CE8-4784-A8A4-680E7C257ABE}"/>
          </ac:spMkLst>
        </pc:spChg>
        <pc:spChg chg="mod topLvl">
          <ac:chgData name="Robertson, Daniel" userId="4fd6f56b-898f-4008-a6b4-11eaf568a331" providerId="ADAL" clId="{5E594DDC-A41B-4A8C-9A88-74EB4E108575}" dt="2021-08-25T14:35:19.118" v="1075" actId="207"/>
          <ac:spMkLst>
            <pc:docMk/>
            <pc:sldMk cId="3476958649" sldId="2147375842"/>
            <ac:spMk id="441" creationId="{7F72DC1C-ACB6-4F70-AA1B-38658108593F}"/>
          </ac:spMkLst>
        </pc:spChg>
        <pc:spChg chg="mod topLvl">
          <ac:chgData name="Robertson, Daniel" userId="4fd6f56b-898f-4008-a6b4-11eaf568a331" providerId="ADAL" clId="{5E594DDC-A41B-4A8C-9A88-74EB4E108575}" dt="2021-08-25T14:33:20.751" v="1068" actId="165"/>
          <ac:spMkLst>
            <pc:docMk/>
            <pc:sldMk cId="3476958649" sldId="2147375842"/>
            <ac:spMk id="442" creationId="{CA3ACA07-25EC-4445-A93A-ADA14F28007B}"/>
          </ac:spMkLst>
        </pc:spChg>
        <pc:spChg chg="mod topLvl">
          <ac:chgData name="Robertson, Daniel" userId="4fd6f56b-898f-4008-a6b4-11eaf568a331" providerId="ADAL" clId="{5E594DDC-A41B-4A8C-9A88-74EB4E108575}" dt="2021-08-25T14:33:20.751" v="1068" actId="165"/>
          <ac:spMkLst>
            <pc:docMk/>
            <pc:sldMk cId="3476958649" sldId="2147375842"/>
            <ac:spMk id="443" creationId="{13A387E3-2CE0-4375-AAA2-C875438D9201}"/>
          </ac:spMkLst>
        </pc:spChg>
        <pc:spChg chg="mod topLvl">
          <ac:chgData name="Robertson, Daniel" userId="4fd6f56b-898f-4008-a6b4-11eaf568a331" providerId="ADAL" clId="{5E594DDC-A41B-4A8C-9A88-74EB4E108575}" dt="2021-08-25T14:33:20.751" v="1068" actId="165"/>
          <ac:spMkLst>
            <pc:docMk/>
            <pc:sldMk cId="3476958649" sldId="2147375842"/>
            <ac:spMk id="445" creationId="{88972230-C88B-459F-99A7-ABEE22501CD0}"/>
          </ac:spMkLst>
        </pc:spChg>
        <pc:spChg chg="mod topLvl">
          <ac:chgData name="Robertson, Daniel" userId="4fd6f56b-898f-4008-a6b4-11eaf568a331" providerId="ADAL" clId="{5E594DDC-A41B-4A8C-9A88-74EB4E108575}" dt="2021-08-25T14:33:50.940" v="1071" actId="207"/>
          <ac:spMkLst>
            <pc:docMk/>
            <pc:sldMk cId="3476958649" sldId="2147375842"/>
            <ac:spMk id="446" creationId="{802917CC-BAC4-48BC-ABB8-0E819D10F9E6}"/>
          </ac:spMkLst>
        </pc:spChg>
        <pc:spChg chg="mod topLvl">
          <ac:chgData name="Robertson, Daniel" userId="4fd6f56b-898f-4008-a6b4-11eaf568a331" providerId="ADAL" clId="{5E594DDC-A41B-4A8C-9A88-74EB4E108575}" dt="2021-08-25T14:33:20.751" v="1068" actId="165"/>
          <ac:spMkLst>
            <pc:docMk/>
            <pc:sldMk cId="3476958649" sldId="2147375842"/>
            <ac:spMk id="447" creationId="{97BB3525-624E-4B33-9A37-32488351C407}"/>
          </ac:spMkLst>
        </pc:spChg>
        <pc:spChg chg="mod topLvl">
          <ac:chgData name="Robertson, Daniel" userId="4fd6f56b-898f-4008-a6b4-11eaf568a331" providerId="ADAL" clId="{5E594DDC-A41B-4A8C-9A88-74EB4E108575}" dt="2021-08-25T14:34:44.317" v="1074" actId="207"/>
          <ac:spMkLst>
            <pc:docMk/>
            <pc:sldMk cId="3476958649" sldId="2147375842"/>
            <ac:spMk id="448" creationId="{CB2D763A-E714-4EEE-A10D-F2ADF5CD7C6F}"/>
          </ac:spMkLst>
        </pc:spChg>
        <pc:spChg chg="mod topLvl">
          <ac:chgData name="Robertson, Daniel" userId="4fd6f56b-898f-4008-a6b4-11eaf568a331" providerId="ADAL" clId="{5E594DDC-A41B-4A8C-9A88-74EB4E108575}" dt="2021-08-25T14:35:19.118" v="1075" actId="207"/>
          <ac:spMkLst>
            <pc:docMk/>
            <pc:sldMk cId="3476958649" sldId="2147375842"/>
            <ac:spMk id="449" creationId="{3D6FDF86-25AB-4D09-A1BB-D760FB098FB6}"/>
          </ac:spMkLst>
        </pc:spChg>
        <pc:spChg chg="mod topLvl">
          <ac:chgData name="Robertson, Daniel" userId="4fd6f56b-898f-4008-a6b4-11eaf568a331" providerId="ADAL" clId="{5E594DDC-A41B-4A8C-9A88-74EB4E108575}" dt="2021-08-25T14:35:19.118" v="1075" actId="207"/>
          <ac:spMkLst>
            <pc:docMk/>
            <pc:sldMk cId="3476958649" sldId="2147375842"/>
            <ac:spMk id="450" creationId="{39910264-A4A7-49BB-BFD8-C8E205FFBD0B}"/>
          </ac:spMkLst>
        </pc:spChg>
        <pc:spChg chg="mod topLvl">
          <ac:chgData name="Robertson, Daniel" userId="4fd6f56b-898f-4008-a6b4-11eaf568a331" providerId="ADAL" clId="{5E594DDC-A41B-4A8C-9A88-74EB4E108575}" dt="2021-08-25T14:35:19.118" v="1075" actId="207"/>
          <ac:spMkLst>
            <pc:docMk/>
            <pc:sldMk cId="3476958649" sldId="2147375842"/>
            <ac:spMk id="451" creationId="{C4EF92A3-1885-4983-B9B4-5C880AFA2B66}"/>
          </ac:spMkLst>
        </pc:spChg>
        <pc:spChg chg="mod topLvl">
          <ac:chgData name="Robertson, Daniel" userId="4fd6f56b-898f-4008-a6b4-11eaf568a331" providerId="ADAL" clId="{5E594DDC-A41B-4A8C-9A88-74EB4E108575}" dt="2021-08-25T14:33:05.585" v="1067" actId="165"/>
          <ac:spMkLst>
            <pc:docMk/>
            <pc:sldMk cId="3476958649" sldId="2147375842"/>
            <ac:spMk id="453" creationId="{FC901DF2-CBCC-47C5-BCA0-807FC926FA43}"/>
          </ac:spMkLst>
        </pc:spChg>
        <pc:spChg chg="mod topLvl">
          <ac:chgData name="Robertson, Daniel" userId="4fd6f56b-898f-4008-a6b4-11eaf568a331" providerId="ADAL" clId="{5E594DDC-A41B-4A8C-9A88-74EB4E108575}" dt="2021-08-25T14:33:50.940" v="1071" actId="207"/>
          <ac:spMkLst>
            <pc:docMk/>
            <pc:sldMk cId="3476958649" sldId="2147375842"/>
            <ac:spMk id="454" creationId="{183F9314-9994-4068-B918-C4DDAE7945E8}"/>
          </ac:spMkLst>
        </pc:spChg>
        <pc:spChg chg="mod topLvl">
          <ac:chgData name="Robertson, Daniel" userId="4fd6f56b-898f-4008-a6b4-11eaf568a331" providerId="ADAL" clId="{5E594DDC-A41B-4A8C-9A88-74EB4E108575}" dt="2021-08-25T14:33:50.940" v="1071" actId="207"/>
          <ac:spMkLst>
            <pc:docMk/>
            <pc:sldMk cId="3476958649" sldId="2147375842"/>
            <ac:spMk id="455" creationId="{6E1C1449-F73C-4F10-AF8C-F7D9C088CC4D}"/>
          </ac:spMkLst>
        </pc:spChg>
        <pc:spChg chg="mod topLvl">
          <ac:chgData name="Robertson, Daniel" userId="4fd6f56b-898f-4008-a6b4-11eaf568a331" providerId="ADAL" clId="{5E594DDC-A41B-4A8C-9A88-74EB4E108575}" dt="2021-08-25T14:34:44.317" v="1074" actId="207"/>
          <ac:spMkLst>
            <pc:docMk/>
            <pc:sldMk cId="3476958649" sldId="2147375842"/>
            <ac:spMk id="456" creationId="{4D0D6A12-25DD-4F58-AD96-3B5187EB04B7}"/>
          </ac:spMkLst>
        </pc:spChg>
        <pc:spChg chg="del">
          <ac:chgData name="Robertson, Daniel" userId="4fd6f56b-898f-4008-a6b4-11eaf568a331" providerId="ADAL" clId="{5E594DDC-A41B-4A8C-9A88-74EB4E108575}" dt="2021-08-25T14:19:31.510" v="467" actId="478"/>
          <ac:spMkLst>
            <pc:docMk/>
            <pc:sldMk cId="3476958649" sldId="2147375842"/>
            <ac:spMk id="520" creationId="{59D5367E-CAFE-44D9-B923-535226F85F2A}"/>
          </ac:spMkLst>
        </pc:spChg>
        <pc:spChg chg="del">
          <ac:chgData name="Robertson, Daniel" userId="4fd6f56b-898f-4008-a6b4-11eaf568a331" providerId="ADAL" clId="{5E594DDC-A41B-4A8C-9A88-74EB4E108575}" dt="2021-08-25T14:23:09.116" v="631" actId="478"/>
          <ac:spMkLst>
            <pc:docMk/>
            <pc:sldMk cId="3476958649" sldId="2147375842"/>
            <ac:spMk id="521" creationId="{8A9F2321-B343-4056-8F34-B0ED9B027D40}"/>
          </ac:spMkLst>
        </pc:spChg>
        <pc:spChg chg="del">
          <ac:chgData name="Robertson, Daniel" userId="4fd6f56b-898f-4008-a6b4-11eaf568a331" providerId="ADAL" clId="{5E594DDC-A41B-4A8C-9A88-74EB4E108575}" dt="2021-08-25T13:33:28.147" v="344" actId="478"/>
          <ac:spMkLst>
            <pc:docMk/>
            <pc:sldMk cId="3476958649" sldId="2147375842"/>
            <ac:spMk id="522" creationId="{6B3E8427-32E6-4570-A273-E819F6DA2061}"/>
          </ac:spMkLst>
        </pc:spChg>
        <pc:spChg chg="del">
          <ac:chgData name="Robertson, Daniel" userId="4fd6f56b-898f-4008-a6b4-11eaf568a331" providerId="ADAL" clId="{5E594DDC-A41B-4A8C-9A88-74EB4E108575}" dt="2021-08-25T13:33:28.147" v="344" actId="478"/>
          <ac:spMkLst>
            <pc:docMk/>
            <pc:sldMk cId="3476958649" sldId="2147375842"/>
            <ac:spMk id="523" creationId="{8806CDD8-141C-48AC-B2F7-C5BFF2C91C57}"/>
          </ac:spMkLst>
        </pc:spChg>
        <pc:spChg chg="mod topLvl">
          <ac:chgData name="Robertson, Daniel" userId="4fd6f56b-898f-4008-a6b4-11eaf568a331" providerId="ADAL" clId="{5E594DDC-A41B-4A8C-9A88-74EB4E108575}" dt="2021-08-25T14:35:19.118" v="1075" actId="207"/>
          <ac:spMkLst>
            <pc:docMk/>
            <pc:sldMk cId="3476958649" sldId="2147375842"/>
            <ac:spMk id="524" creationId="{A8BB8FF7-9219-4BEB-9550-980471C2AC00}"/>
          </ac:spMkLst>
        </pc:spChg>
        <pc:spChg chg="mod topLvl">
          <ac:chgData name="Robertson, Daniel" userId="4fd6f56b-898f-4008-a6b4-11eaf568a331" providerId="ADAL" clId="{5E594DDC-A41B-4A8C-9A88-74EB4E108575}" dt="2021-08-25T14:35:19.118" v="1075" actId="207"/>
          <ac:spMkLst>
            <pc:docMk/>
            <pc:sldMk cId="3476958649" sldId="2147375842"/>
            <ac:spMk id="525" creationId="{DE6B2E06-6D22-4434-859B-8D2507E7E4CB}"/>
          </ac:spMkLst>
        </pc:spChg>
        <pc:spChg chg="mod topLvl">
          <ac:chgData name="Robertson, Daniel" userId="4fd6f56b-898f-4008-a6b4-11eaf568a331" providerId="ADAL" clId="{5E594DDC-A41B-4A8C-9A88-74EB4E108575}" dt="2021-08-25T14:35:19.118" v="1075" actId="207"/>
          <ac:spMkLst>
            <pc:docMk/>
            <pc:sldMk cId="3476958649" sldId="2147375842"/>
            <ac:spMk id="526" creationId="{5B861099-8FAC-4906-9D10-743724907310}"/>
          </ac:spMkLst>
        </pc:spChg>
        <pc:spChg chg="add mod">
          <ac:chgData name="Robertson, Daniel" userId="4fd6f56b-898f-4008-a6b4-11eaf568a331" providerId="ADAL" clId="{5E594DDC-A41B-4A8C-9A88-74EB4E108575}" dt="2021-08-25T14:31:19.349" v="1029" actId="20577"/>
          <ac:spMkLst>
            <pc:docMk/>
            <pc:sldMk cId="3476958649" sldId="2147375842"/>
            <ac:spMk id="527" creationId="{0E39DFC7-A108-4E3C-924E-73641463FDB4}"/>
          </ac:spMkLst>
        </pc:spChg>
        <pc:spChg chg="add mod">
          <ac:chgData name="Robertson, Daniel" userId="4fd6f56b-898f-4008-a6b4-11eaf568a331" providerId="ADAL" clId="{5E594DDC-A41B-4A8C-9A88-74EB4E108575}" dt="2021-08-25T14:31:41.618" v="1043" actId="20577"/>
          <ac:spMkLst>
            <pc:docMk/>
            <pc:sldMk cId="3476958649" sldId="2147375842"/>
            <ac:spMk id="528" creationId="{97E1CD87-9459-4D40-B4FA-D04F7A03E26B}"/>
          </ac:spMkLst>
        </pc:spChg>
        <pc:spChg chg="add mod">
          <ac:chgData name="Robertson, Daniel" userId="4fd6f56b-898f-4008-a6b4-11eaf568a331" providerId="ADAL" clId="{5E594DDC-A41B-4A8C-9A88-74EB4E108575}" dt="2021-08-25T14:31:47.964" v="1047" actId="20577"/>
          <ac:spMkLst>
            <pc:docMk/>
            <pc:sldMk cId="3476958649" sldId="2147375842"/>
            <ac:spMk id="529" creationId="{256CBDF2-4993-4265-8925-DE3FD6D9DE92}"/>
          </ac:spMkLst>
        </pc:spChg>
        <pc:spChg chg="add mod">
          <ac:chgData name="Robertson, Daniel" userId="4fd6f56b-898f-4008-a6b4-11eaf568a331" providerId="ADAL" clId="{5E594DDC-A41B-4A8C-9A88-74EB4E108575}" dt="2021-08-25T14:31:52.318" v="1051" actId="20577"/>
          <ac:spMkLst>
            <pc:docMk/>
            <pc:sldMk cId="3476958649" sldId="2147375842"/>
            <ac:spMk id="530" creationId="{B4E6995E-922A-4991-BD02-7314970DD98A}"/>
          </ac:spMkLst>
        </pc:spChg>
        <pc:spChg chg="add mod">
          <ac:chgData name="Robertson, Daniel" userId="4fd6f56b-898f-4008-a6b4-11eaf568a331" providerId="ADAL" clId="{5E594DDC-A41B-4A8C-9A88-74EB4E108575}" dt="2021-08-25T14:31:57.418" v="1055" actId="20577"/>
          <ac:spMkLst>
            <pc:docMk/>
            <pc:sldMk cId="3476958649" sldId="2147375842"/>
            <ac:spMk id="531" creationId="{E0CCC64E-079F-44F2-82A6-5E3F6A46A8BF}"/>
          </ac:spMkLst>
        </pc:spChg>
        <pc:spChg chg="add mod">
          <ac:chgData name="Robertson, Daniel" userId="4fd6f56b-898f-4008-a6b4-11eaf568a331" providerId="ADAL" clId="{5E594DDC-A41B-4A8C-9A88-74EB4E108575}" dt="2021-08-25T14:32:16.934" v="1065" actId="1037"/>
          <ac:spMkLst>
            <pc:docMk/>
            <pc:sldMk cId="3476958649" sldId="2147375842"/>
            <ac:spMk id="532" creationId="{E58BA9E4-8B22-4457-8C32-4499CC22126E}"/>
          </ac:spMkLst>
        </pc:spChg>
        <pc:grpChg chg="del">
          <ac:chgData name="Robertson, Daniel" userId="4fd6f56b-898f-4008-a6b4-11eaf568a331" providerId="ADAL" clId="{5E594DDC-A41B-4A8C-9A88-74EB4E108575}" dt="2021-08-25T14:19:31.510" v="467" actId="478"/>
          <ac:grpSpMkLst>
            <pc:docMk/>
            <pc:sldMk cId="3476958649" sldId="2147375842"/>
            <ac:grpSpMk id="7" creationId="{65C5D93E-F352-4252-B18F-FC589DFB4977}"/>
          </ac:grpSpMkLst>
        </pc:grpChg>
        <pc:grpChg chg="del">
          <ac:chgData name="Robertson, Daniel" userId="4fd6f56b-898f-4008-a6b4-11eaf568a331" providerId="ADAL" clId="{5E594DDC-A41B-4A8C-9A88-74EB4E108575}" dt="2021-08-25T13:31:23.180" v="307" actId="165"/>
          <ac:grpSpMkLst>
            <pc:docMk/>
            <pc:sldMk cId="3476958649" sldId="2147375842"/>
            <ac:grpSpMk id="9" creationId="{7452BEB6-90DB-46B7-8C7D-92BDB0A01362}"/>
          </ac:grpSpMkLst>
        </pc:grpChg>
        <pc:grpChg chg="add del mod">
          <ac:chgData name="Robertson, Daniel" userId="4fd6f56b-898f-4008-a6b4-11eaf568a331" providerId="ADAL" clId="{5E594DDC-A41B-4A8C-9A88-74EB4E108575}" dt="2021-08-25T14:33:20.751" v="1068" actId="165"/>
          <ac:grpSpMkLst>
            <pc:docMk/>
            <pc:sldMk cId="3476958649" sldId="2147375842"/>
            <ac:grpSpMk id="12" creationId="{0D32266B-4543-4A85-8DF0-AE9BA94191EF}"/>
          </ac:grpSpMkLst>
        </pc:grpChg>
        <pc:grpChg chg="del">
          <ac:chgData name="Robertson, Daniel" userId="4fd6f56b-898f-4008-a6b4-11eaf568a331" providerId="ADAL" clId="{5E594DDC-A41B-4A8C-9A88-74EB4E108575}" dt="2021-08-25T14:19:31.510" v="467" actId="478"/>
          <ac:grpSpMkLst>
            <pc:docMk/>
            <pc:sldMk cId="3476958649" sldId="2147375842"/>
            <ac:grpSpMk id="259" creationId="{E7780B0B-BD43-45CC-972D-9FB0FBDE6E7C}"/>
          </ac:grpSpMkLst>
        </pc:grpChg>
        <pc:grpChg chg="del">
          <ac:chgData name="Robertson, Daniel" userId="4fd6f56b-898f-4008-a6b4-11eaf568a331" providerId="ADAL" clId="{5E594DDC-A41B-4A8C-9A88-74EB4E108575}" dt="2021-08-25T14:23:09.116" v="631" actId="478"/>
          <ac:grpSpMkLst>
            <pc:docMk/>
            <pc:sldMk cId="3476958649" sldId="2147375842"/>
            <ac:grpSpMk id="265" creationId="{310B3BE0-34E1-4100-BA48-EADF8A1F5506}"/>
          </ac:grpSpMkLst>
        </pc:grpChg>
        <pc:grpChg chg="del">
          <ac:chgData name="Robertson, Daniel" userId="4fd6f56b-898f-4008-a6b4-11eaf568a331" providerId="ADAL" clId="{5E594DDC-A41B-4A8C-9A88-74EB4E108575}" dt="2021-08-25T14:23:09.116" v="631" actId="478"/>
          <ac:grpSpMkLst>
            <pc:docMk/>
            <pc:sldMk cId="3476958649" sldId="2147375842"/>
            <ac:grpSpMk id="266" creationId="{0C854530-18D4-42A2-8BBC-5A4C93F2E405}"/>
          </ac:grpSpMkLst>
        </pc:grpChg>
        <pc:grpChg chg="del">
          <ac:chgData name="Robertson, Daniel" userId="4fd6f56b-898f-4008-a6b4-11eaf568a331" providerId="ADAL" clId="{5E594DDC-A41B-4A8C-9A88-74EB4E108575}" dt="2021-08-25T14:23:09.116" v="631" actId="478"/>
          <ac:grpSpMkLst>
            <pc:docMk/>
            <pc:sldMk cId="3476958649" sldId="2147375842"/>
            <ac:grpSpMk id="267" creationId="{3B0B0CDA-AA89-4536-9B85-770712E43AB7}"/>
          </ac:grpSpMkLst>
        </pc:grpChg>
        <pc:grpChg chg="del">
          <ac:chgData name="Robertson, Daniel" userId="4fd6f56b-898f-4008-a6b4-11eaf568a331" providerId="ADAL" clId="{5E594DDC-A41B-4A8C-9A88-74EB4E108575}" dt="2021-08-25T14:23:09.116" v="631" actId="478"/>
          <ac:grpSpMkLst>
            <pc:docMk/>
            <pc:sldMk cId="3476958649" sldId="2147375842"/>
            <ac:grpSpMk id="268" creationId="{850FC35B-457D-46CD-8631-530BD7A964EB}"/>
          </ac:grpSpMkLst>
        </pc:grpChg>
        <pc:grpChg chg="del">
          <ac:chgData name="Robertson, Daniel" userId="4fd6f56b-898f-4008-a6b4-11eaf568a331" providerId="ADAL" clId="{5E594DDC-A41B-4A8C-9A88-74EB4E108575}" dt="2021-08-25T14:19:31.510" v="467" actId="478"/>
          <ac:grpSpMkLst>
            <pc:docMk/>
            <pc:sldMk cId="3476958649" sldId="2147375842"/>
            <ac:grpSpMk id="288" creationId="{F2BA6CF1-0FDD-4137-AE6B-6F00883968FA}"/>
          </ac:grpSpMkLst>
        </pc:grpChg>
        <pc:grpChg chg="del">
          <ac:chgData name="Robertson, Daniel" userId="4fd6f56b-898f-4008-a6b4-11eaf568a331" providerId="ADAL" clId="{5E594DDC-A41B-4A8C-9A88-74EB4E108575}" dt="2021-08-25T14:19:31.510" v="467" actId="478"/>
          <ac:grpSpMkLst>
            <pc:docMk/>
            <pc:sldMk cId="3476958649" sldId="2147375842"/>
            <ac:grpSpMk id="292" creationId="{74EAD225-089E-46C9-8BD4-85C8816CE1EA}"/>
          </ac:grpSpMkLst>
        </pc:grpChg>
        <pc:grpChg chg="del">
          <ac:chgData name="Robertson, Daniel" userId="4fd6f56b-898f-4008-a6b4-11eaf568a331" providerId="ADAL" clId="{5E594DDC-A41B-4A8C-9A88-74EB4E108575}" dt="2021-08-25T14:19:31.510" v="467" actId="478"/>
          <ac:grpSpMkLst>
            <pc:docMk/>
            <pc:sldMk cId="3476958649" sldId="2147375842"/>
            <ac:grpSpMk id="296" creationId="{1F5F57CA-979C-4F4B-9C28-0FF257760375}"/>
          </ac:grpSpMkLst>
        </pc:grpChg>
        <pc:grpChg chg="del">
          <ac:chgData name="Robertson, Daniel" userId="4fd6f56b-898f-4008-a6b4-11eaf568a331" providerId="ADAL" clId="{5E594DDC-A41B-4A8C-9A88-74EB4E108575}" dt="2021-08-25T14:19:31.510" v="467" actId="478"/>
          <ac:grpSpMkLst>
            <pc:docMk/>
            <pc:sldMk cId="3476958649" sldId="2147375842"/>
            <ac:grpSpMk id="312" creationId="{AABED7EE-1765-41F8-A6C8-7946267E2228}"/>
          </ac:grpSpMkLst>
        </pc:grpChg>
        <pc:grpChg chg="del mod topLvl">
          <ac:chgData name="Robertson, Daniel" userId="4fd6f56b-898f-4008-a6b4-11eaf568a331" providerId="ADAL" clId="{5E594DDC-A41B-4A8C-9A88-74EB4E108575}" dt="2021-08-25T13:33:07.219" v="342" actId="478"/>
          <ac:grpSpMkLst>
            <pc:docMk/>
            <pc:sldMk cId="3476958649" sldId="2147375842"/>
            <ac:grpSpMk id="342" creationId="{3005D556-3A66-47E4-99F6-A8482954A39D}"/>
          </ac:grpSpMkLst>
        </pc:grpChg>
        <pc:grpChg chg="del mod topLvl">
          <ac:chgData name="Robertson, Daniel" userId="4fd6f56b-898f-4008-a6b4-11eaf568a331" providerId="ADAL" clId="{5E594DDC-A41B-4A8C-9A88-74EB4E108575}" dt="2021-08-25T13:33:28.147" v="344" actId="478"/>
          <ac:grpSpMkLst>
            <pc:docMk/>
            <pc:sldMk cId="3476958649" sldId="2147375842"/>
            <ac:grpSpMk id="344" creationId="{43F69F27-3DB9-485A-842B-51FA191E11AA}"/>
          </ac:grpSpMkLst>
        </pc:grpChg>
        <pc:grpChg chg="del mod topLvl">
          <ac:chgData name="Robertson, Daniel" userId="4fd6f56b-898f-4008-a6b4-11eaf568a331" providerId="ADAL" clId="{5E594DDC-A41B-4A8C-9A88-74EB4E108575}" dt="2021-08-25T13:33:28.147" v="344" actId="478"/>
          <ac:grpSpMkLst>
            <pc:docMk/>
            <pc:sldMk cId="3476958649" sldId="2147375842"/>
            <ac:grpSpMk id="345" creationId="{BA5C43FA-B65C-4FFD-82E3-CB0EA3D5EF04}"/>
          </ac:grpSpMkLst>
        </pc:grpChg>
        <pc:grpChg chg="del mod topLvl">
          <ac:chgData name="Robertson, Daniel" userId="4fd6f56b-898f-4008-a6b4-11eaf568a331" providerId="ADAL" clId="{5E594DDC-A41B-4A8C-9A88-74EB4E108575}" dt="2021-08-25T13:33:28.147" v="344" actId="478"/>
          <ac:grpSpMkLst>
            <pc:docMk/>
            <pc:sldMk cId="3476958649" sldId="2147375842"/>
            <ac:grpSpMk id="346" creationId="{DBD5740C-10C7-4661-A95F-0D76BABF32E9}"/>
          </ac:grpSpMkLst>
        </pc:grpChg>
        <pc:grpChg chg="del mod topLvl">
          <ac:chgData name="Robertson, Daniel" userId="4fd6f56b-898f-4008-a6b4-11eaf568a331" providerId="ADAL" clId="{5E594DDC-A41B-4A8C-9A88-74EB4E108575}" dt="2021-08-25T13:33:28.147" v="344" actId="478"/>
          <ac:grpSpMkLst>
            <pc:docMk/>
            <pc:sldMk cId="3476958649" sldId="2147375842"/>
            <ac:grpSpMk id="347" creationId="{AFC3AB72-A167-49F4-9744-D0359582F289}"/>
          </ac:grpSpMkLst>
        </pc:grpChg>
        <pc:grpChg chg="mod">
          <ac:chgData name="Robertson, Daniel" userId="4fd6f56b-898f-4008-a6b4-11eaf568a331" providerId="ADAL" clId="{5E594DDC-A41B-4A8C-9A88-74EB4E108575}" dt="2021-08-25T13:31:23.180" v="307" actId="165"/>
          <ac:grpSpMkLst>
            <pc:docMk/>
            <pc:sldMk cId="3476958649" sldId="2147375842"/>
            <ac:grpSpMk id="361" creationId="{30C9AB8E-0B99-4820-9405-460826209C62}"/>
          </ac:grpSpMkLst>
        </pc:grpChg>
        <pc:grpChg chg="del">
          <ac:chgData name="Robertson, Daniel" userId="4fd6f56b-898f-4008-a6b4-11eaf568a331" providerId="ADAL" clId="{5E594DDC-A41B-4A8C-9A88-74EB4E108575}" dt="2021-08-25T14:19:35.461" v="468" actId="478"/>
          <ac:grpSpMkLst>
            <pc:docMk/>
            <pc:sldMk cId="3476958649" sldId="2147375842"/>
            <ac:grpSpMk id="399" creationId="{74C1F9D1-41BA-4FA5-949B-7BA93ECE2046}"/>
          </ac:grpSpMkLst>
        </pc:grpChg>
        <pc:grpChg chg="add del mod">
          <ac:chgData name="Robertson, Daniel" userId="4fd6f56b-898f-4008-a6b4-11eaf568a331" providerId="ADAL" clId="{5E594DDC-A41B-4A8C-9A88-74EB4E108575}" dt="2021-08-25T14:33:20.751" v="1068" actId="165"/>
          <ac:grpSpMkLst>
            <pc:docMk/>
            <pc:sldMk cId="3476958649" sldId="2147375842"/>
            <ac:grpSpMk id="436" creationId="{4F0BC9CE-9F9A-402F-B0CB-1502FD67D182}"/>
          </ac:grpSpMkLst>
        </pc:grpChg>
        <pc:grpChg chg="add del mod">
          <ac:chgData name="Robertson, Daniel" userId="4fd6f56b-898f-4008-a6b4-11eaf568a331" providerId="ADAL" clId="{5E594DDC-A41B-4A8C-9A88-74EB4E108575}" dt="2021-08-25T14:33:20.751" v="1068" actId="165"/>
          <ac:grpSpMkLst>
            <pc:docMk/>
            <pc:sldMk cId="3476958649" sldId="2147375842"/>
            <ac:grpSpMk id="444" creationId="{51647078-3102-44D8-A657-8B7A8A41CB70}"/>
          </ac:grpSpMkLst>
        </pc:grpChg>
        <pc:grpChg chg="add del mod">
          <ac:chgData name="Robertson, Daniel" userId="4fd6f56b-898f-4008-a6b4-11eaf568a331" providerId="ADAL" clId="{5E594DDC-A41B-4A8C-9A88-74EB4E108575}" dt="2021-08-25T14:33:05.585" v="1067" actId="165"/>
          <ac:grpSpMkLst>
            <pc:docMk/>
            <pc:sldMk cId="3476958649" sldId="2147375842"/>
            <ac:grpSpMk id="452" creationId="{80E90E4C-42A0-44C9-BACC-45069C2E6370}"/>
          </ac:grpSpMkLst>
        </pc:grpChg>
        <pc:grpChg chg="del">
          <ac:chgData name="Robertson, Daniel" userId="4fd6f56b-898f-4008-a6b4-11eaf568a331" providerId="ADAL" clId="{5E594DDC-A41B-4A8C-9A88-74EB4E108575}" dt="2021-08-25T13:56:42.196" v="465" actId="478"/>
          <ac:grpSpMkLst>
            <pc:docMk/>
            <pc:sldMk cId="3476958649" sldId="2147375842"/>
            <ac:grpSpMk id="457" creationId="{B9F57BE3-A85A-4BB8-8941-9CEF10A9F023}"/>
          </ac:grpSpMkLst>
        </pc:grpChg>
        <pc:grpChg chg="del">
          <ac:chgData name="Robertson, Daniel" userId="4fd6f56b-898f-4008-a6b4-11eaf568a331" providerId="ADAL" clId="{5E594DDC-A41B-4A8C-9A88-74EB4E108575}" dt="2021-08-25T14:19:41.521" v="469" actId="478"/>
          <ac:grpSpMkLst>
            <pc:docMk/>
            <pc:sldMk cId="3476958649" sldId="2147375842"/>
            <ac:grpSpMk id="486" creationId="{2D9E8532-2D61-4792-8344-F6BB55966EED}"/>
          </ac:grpSpMkLst>
        </pc:grpChg>
        <pc:cxnChg chg="del">
          <ac:chgData name="Robertson, Daniel" userId="4fd6f56b-898f-4008-a6b4-11eaf568a331" providerId="ADAL" clId="{5E594DDC-A41B-4A8C-9A88-74EB4E108575}" dt="2021-08-25T14:19:31.510" v="467" actId="478"/>
          <ac:cxnSpMkLst>
            <pc:docMk/>
            <pc:sldMk cId="3476958649" sldId="2147375842"/>
            <ac:cxnSpMk id="11" creationId="{129FD3A2-9974-4BFF-BD96-25574816FE23}"/>
          </ac:cxnSpMkLst>
        </pc:cxnChg>
        <pc:cxnChg chg="add del mod">
          <ac:chgData name="Robertson, Daniel" userId="4fd6f56b-898f-4008-a6b4-11eaf568a331" providerId="ADAL" clId="{5E594DDC-A41B-4A8C-9A88-74EB4E108575}" dt="2021-08-25T14:23:09.116" v="631" actId="478"/>
          <ac:cxnSpMkLst>
            <pc:docMk/>
            <pc:sldMk cId="3476958649" sldId="2147375842"/>
            <ac:cxnSpMk id="372" creationId="{075E883F-1780-4C53-9F03-FCCFCEE1F055}"/>
          </ac:cxnSpMkLst>
        </pc:cxnChg>
        <pc:cxnChg chg="del">
          <ac:chgData name="Robertson, Daniel" userId="4fd6f56b-898f-4008-a6b4-11eaf568a331" providerId="ADAL" clId="{5E594DDC-A41B-4A8C-9A88-74EB4E108575}" dt="2021-08-25T14:19:31.510" v="467" actId="478"/>
          <ac:cxnSpMkLst>
            <pc:docMk/>
            <pc:sldMk cId="3476958649" sldId="2147375842"/>
            <ac:cxnSpMk id="515" creationId="{FBE4017F-581F-4C73-9F5D-E0361DC9577F}"/>
          </ac:cxnSpMkLst>
        </pc:cxnChg>
        <pc:cxnChg chg="del">
          <ac:chgData name="Robertson, Daniel" userId="4fd6f56b-898f-4008-a6b4-11eaf568a331" providerId="ADAL" clId="{5E594DDC-A41B-4A8C-9A88-74EB4E108575}" dt="2021-08-25T14:19:35.461" v="468" actId="478"/>
          <ac:cxnSpMkLst>
            <pc:docMk/>
            <pc:sldMk cId="3476958649" sldId="2147375842"/>
            <ac:cxnSpMk id="516" creationId="{DEA80E83-7BEE-4BE7-9DFA-A2BFDF8DB938}"/>
          </ac:cxnSpMkLst>
        </pc:cxnChg>
        <pc:cxnChg chg="del">
          <ac:chgData name="Robertson, Daniel" userId="4fd6f56b-898f-4008-a6b4-11eaf568a331" providerId="ADAL" clId="{5E594DDC-A41B-4A8C-9A88-74EB4E108575}" dt="2021-08-25T14:19:41.521" v="469" actId="478"/>
          <ac:cxnSpMkLst>
            <pc:docMk/>
            <pc:sldMk cId="3476958649" sldId="2147375842"/>
            <ac:cxnSpMk id="517" creationId="{03BD76CD-DBEC-41AD-AABF-215C072E2E0C}"/>
          </ac:cxnSpMkLst>
        </pc:cxnChg>
        <pc:cxnChg chg="del mod">
          <ac:chgData name="Robertson, Daniel" userId="4fd6f56b-898f-4008-a6b4-11eaf568a331" providerId="ADAL" clId="{5E594DDC-A41B-4A8C-9A88-74EB4E108575}" dt="2021-08-25T13:56:46.718" v="466" actId="478"/>
          <ac:cxnSpMkLst>
            <pc:docMk/>
            <pc:sldMk cId="3476958649" sldId="2147375842"/>
            <ac:cxnSpMk id="518" creationId="{32181880-F05E-491B-AF6C-4C2B51BA67AB}"/>
          </ac:cxnSpMkLst>
        </pc:cxnChg>
        <pc:cxnChg chg="del">
          <ac:chgData name="Robertson, Daniel" userId="4fd6f56b-898f-4008-a6b4-11eaf568a331" providerId="ADAL" clId="{5E594DDC-A41B-4A8C-9A88-74EB4E108575}" dt="2021-08-25T14:23:09.116" v="631" actId="478"/>
          <ac:cxnSpMkLst>
            <pc:docMk/>
            <pc:sldMk cId="3476958649" sldId="2147375842"/>
            <ac:cxnSpMk id="519" creationId="{77FF47B9-DFAE-4724-B357-65BBCDA1C2AC}"/>
          </ac:cxnSpMkLst>
        </pc:cxnChg>
      </pc:sldChg>
      <pc:sldChg chg="del">
        <pc:chgData name="Robertson, Daniel" userId="4fd6f56b-898f-4008-a6b4-11eaf568a331" providerId="ADAL" clId="{5E594DDC-A41B-4A8C-9A88-74EB4E108575}" dt="2021-08-25T13:25:54.211" v="46" actId="47"/>
        <pc:sldMkLst>
          <pc:docMk/>
          <pc:sldMk cId="3432768445" sldId="2147375843"/>
        </pc:sldMkLst>
      </pc:sldChg>
      <pc:sldChg chg="add">
        <pc:chgData name="Robertson, Daniel" userId="4fd6f56b-898f-4008-a6b4-11eaf568a331" providerId="ADAL" clId="{5E594DDC-A41B-4A8C-9A88-74EB4E108575}" dt="2021-08-25T14:22:48.131" v="600"/>
        <pc:sldMkLst>
          <pc:docMk/>
          <pc:sldMk cId="3454107001" sldId="2147375843"/>
        </pc:sldMkLst>
      </pc:sldChg>
      <pc:sldChg chg="addSp delSp modSp add mod">
        <pc:chgData name="Robertson, Daniel" userId="4fd6f56b-898f-4008-a6b4-11eaf568a331" providerId="ADAL" clId="{5E594DDC-A41B-4A8C-9A88-74EB4E108575}" dt="2021-08-25T14:54:58.600" v="2791" actId="20577"/>
        <pc:sldMkLst>
          <pc:docMk/>
          <pc:sldMk cId="3263562489" sldId="2147375844"/>
        </pc:sldMkLst>
        <pc:spChg chg="add mod">
          <ac:chgData name="Robertson, Daniel" userId="4fd6f56b-898f-4008-a6b4-11eaf568a331" providerId="ADAL" clId="{5E594DDC-A41B-4A8C-9A88-74EB4E108575}" dt="2021-08-25T14:38:26.428" v="1247" actId="1076"/>
          <ac:spMkLst>
            <pc:docMk/>
            <pc:sldMk cId="3263562489" sldId="2147375844"/>
            <ac:spMk id="3" creationId="{BA281A09-525F-4782-A370-92CE491718B0}"/>
          </ac:spMkLst>
        </pc:spChg>
        <pc:spChg chg="add mod">
          <ac:chgData name="Robertson, Daniel" userId="4fd6f56b-898f-4008-a6b4-11eaf568a331" providerId="ADAL" clId="{5E594DDC-A41B-4A8C-9A88-74EB4E108575}" dt="2021-08-25T14:51:05.132" v="2385" actId="14100"/>
          <ac:spMkLst>
            <pc:docMk/>
            <pc:sldMk cId="3263562489" sldId="2147375844"/>
            <ac:spMk id="4" creationId="{34569C4C-68B8-4190-A740-453A1A3DA68C}"/>
          </ac:spMkLst>
        </pc:spChg>
        <pc:spChg chg="mod">
          <ac:chgData name="Robertson, Daniel" userId="4fd6f56b-898f-4008-a6b4-11eaf568a331" providerId="ADAL" clId="{5E594DDC-A41B-4A8C-9A88-74EB4E108575}" dt="2021-08-25T14:37:48.314" v="1208" actId="14100"/>
          <ac:spMkLst>
            <pc:docMk/>
            <pc:sldMk cId="3263562489" sldId="2147375844"/>
            <ac:spMk id="10" creationId="{C607E07A-1FAD-428F-99ED-8DBD9A0B2C0B}"/>
          </ac:spMkLst>
        </pc:spChg>
        <pc:spChg chg="add mod">
          <ac:chgData name="Robertson, Daniel" userId="4fd6f56b-898f-4008-a6b4-11eaf568a331" providerId="ADAL" clId="{5E594DDC-A41B-4A8C-9A88-74EB4E108575}" dt="2021-08-25T14:51:17.633" v="2393" actId="20577"/>
          <ac:spMkLst>
            <pc:docMk/>
            <pc:sldMk cId="3263562489" sldId="2147375844"/>
            <ac:spMk id="50" creationId="{339A2F7C-C616-4717-B68F-6F48FC19A99D}"/>
          </ac:spMkLst>
        </pc:spChg>
        <pc:spChg chg="add mod">
          <ac:chgData name="Robertson, Daniel" userId="4fd6f56b-898f-4008-a6b4-11eaf568a331" providerId="ADAL" clId="{5E594DDC-A41B-4A8C-9A88-74EB4E108575}" dt="2021-08-25T14:51:22.117" v="2400" actId="20577"/>
          <ac:spMkLst>
            <pc:docMk/>
            <pc:sldMk cId="3263562489" sldId="2147375844"/>
            <ac:spMk id="51" creationId="{EB47F789-8E39-4334-9141-3C413D34A24F}"/>
          </ac:spMkLst>
        </pc:spChg>
        <pc:spChg chg="add mod">
          <ac:chgData name="Robertson, Daniel" userId="4fd6f56b-898f-4008-a6b4-11eaf568a331" providerId="ADAL" clId="{5E594DDC-A41B-4A8C-9A88-74EB4E108575}" dt="2021-08-25T14:54:58.600" v="2791" actId="20577"/>
          <ac:spMkLst>
            <pc:docMk/>
            <pc:sldMk cId="3263562489" sldId="2147375844"/>
            <ac:spMk id="52" creationId="{838AB65E-F674-49CD-AB8F-ECBDD9028EBF}"/>
          </ac:spMkLst>
        </pc:spChg>
        <pc:spChg chg="del">
          <ac:chgData name="Robertson, Daniel" userId="4fd6f56b-898f-4008-a6b4-11eaf568a331" providerId="ADAL" clId="{5E594DDC-A41B-4A8C-9A88-74EB4E108575}" dt="2021-08-25T14:37:10.045" v="1110" actId="478"/>
          <ac:spMkLst>
            <pc:docMk/>
            <pc:sldMk cId="3263562489" sldId="2147375844"/>
            <ac:spMk id="429" creationId="{0A096F00-59A6-4133-856C-021A89A8AD7C}"/>
          </ac:spMkLst>
        </pc:spChg>
        <pc:spChg chg="del">
          <ac:chgData name="Robertson, Daniel" userId="4fd6f56b-898f-4008-a6b4-11eaf568a331" providerId="ADAL" clId="{5E594DDC-A41B-4A8C-9A88-74EB4E108575}" dt="2021-08-25T14:37:10.045" v="1110" actId="478"/>
          <ac:spMkLst>
            <pc:docMk/>
            <pc:sldMk cId="3263562489" sldId="2147375844"/>
            <ac:spMk id="430" creationId="{32EE3E03-42FA-4C48-B000-E1A38C25DBFA}"/>
          </ac:spMkLst>
        </pc:spChg>
        <pc:spChg chg="del">
          <ac:chgData name="Robertson, Daniel" userId="4fd6f56b-898f-4008-a6b4-11eaf568a331" providerId="ADAL" clId="{5E594DDC-A41B-4A8C-9A88-74EB4E108575}" dt="2021-08-25T14:37:10.045" v="1110" actId="478"/>
          <ac:spMkLst>
            <pc:docMk/>
            <pc:sldMk cId="3263562489" sldId="2147375844"/>
            <ac:spMk id="431" creationId="{3E12B389-A97E-4D49-9075-4B813321D26E}"/>
          </ac:spMkLst>
        </pc:spChg>
        <pc:spChg chg="del">
          <ac:chgData name="Robertson, Daniel" userId="4fd6f56b-898f-4008-a6b4-11eaf568a331" providerId="ADAL" clId="{5E594DDC-A41B-4A8C-9A88-74EB4E108575}" dt="2021-08-25T14:37:10.045" v="1110" actId="478"/>
          <ac:spMkLst>
            <pc:docMk/>
            <pc:sldMk cId="3263562489" sldId="2147375844"/>
            <ac:spMk id="432" creationId="{631CD30A-ACFB-41B1-A919-1959280B1E59}"/>
          </ac:spMkLst>
        </pc:spChg>
        <pc:spChg chg="del">
          <ac:chgData name="Robertson, Daniel" userId="4fd6f56b-898f-4008-a6b4-11eaf568a331" providerId="ADAL" clId="{5E594DDC-A41B-4A8C-9A88-74EB4E108575}" dt="2021-08-25T14:37:10.045" v="1110" actId="478"/>
          <ac:spMkLst>
            <pc:docMk/>
            <pc:sldMk cId="3263562489" sldId="2147375844"/>
            <ac:spMk id="433" creationId="{1EB81524-51B6-45C3-AC13-C41B2D6BC443}"/>
          </ac:spMkLst>
        </pc:spChg>
        <pc:spChg chg="del">
          <ac:chgData name="Robertson, Daniel" userId="4fd6f56b-898f-4008-a6b4-11eaf568a331" providerId="ADAL" clId="{5E594DDC-A41B-4A8C-9A88-74EB4E108575}" dt="2021-08-25T14:37:10.045" v="1110" actId="478"/>
          <ac:spMkLst>
            <pc:docMk/>
            <pc:sldMk cId="3263562489" sldId="2147375844"/>
            <ac:spMk id="434" creationId="{6CFFFE4D-19D8-4AEB-94E1-FDF726BE74AE}"/>
          </ac:spMkLst>
        </pc:spChg>
        <pc:spChg chg="del">
          <ac:chgData name="Robertson, Daniel" userId="4fd6f56b-898f-4008-a6b4-11eaf568a331" providerId="ADAL" clId="{5E594DDC-A41B-4A8C-9A88-74EB4E108575}" dt="2021-08-25T14:37:10.045" v="1110" actId="478"/>
          <ac:spMkLst>
            <pc:docMk/>
            <pc:sldMk cId="3263562489" sldId="2147375844"/>
            <ac:spMk id="435" creationId="{41310754-A549-4908-8EF4-53D5F9EBC2FB}"/>
          </ac:spMkLst>
        </pc:spChg>
        <pc:spChg chg="del">
          <ac:chgData name="Robertson, Daniel" userId="4fd6f56b-898f-4008-a6b4-11eaf568a331" providerId="ADAL" clId="{5E594DDC-A41B-4A8C-9A88-74EB4E108575}" dt="2021-08-25T14:37:10.045" v="1110" actId="478"/>
          <ac:spMkLst>
            <pc:docMk/>
            <pc:sldMk cId="3263562489" sldId="2147375844"/>
            <ac:spMk id="437" creationId="{FFF7DA40-7F3F-42B3-9E39-98B72030D241}"/>
          </ac:spMkLst>
        </pc:spChg>
        <pc:spChg chg="del">
          <ac:chgData name="Robertson, Daniel" userId="4fd6f56b-898f-4008-a6b4-11eaf568a331" providerId="ADAL" clId="{5E594DDC-A41B-4A8C-9A88-74EB4E108575}" dt="2021-08-25T14:37:10.045" v="1110" actId="478"/>
          <ac:spMkLst>
            <pc:docMk/>
            <pc:sldMk cId="3263562489" sldId="2147375844"/>
            <ac:spMk id="438" creationId="{5521AE2C-1B2E-4706-B99F-062697E65574}"/>
          </ac:spMkLst>
        </pc:spChg>
        <pc:spChg chg="del">
          <ac:chgData name="Robertson, Daniel" userId="4fd6f56b-898f-4008-a6b4-11eaf568a331" providerId="ADAL" clId="{5E594DDC-A41B-4A8C-9A88-74EB4E108575}" dt="2021-08-25T14:37:10.045" v="1110" actId="478"/>
          <ac:spMkLst>
            <pc:docMk/>
            <pc:sldMk cId="3263562489" sldId="2147375844"/>
            <ac:spMk id="439" creationId="{5849EB9B-FB3B-4516-AE30-A2A9E6073AF6}"/>
          </ac:spMkLst>
        </pc:spChg>
        <pc:spChg chg="del">
          <ac:chgData name="Robertson, Daniel" userId="4fd6f56b-898f-4008-a6b4-11eaf568a331" providerId="ADAL" clId="{5E594DDC-A41B-4A8C-9A88-74EB4E108575}" dt="2021-08-25T14:37:10.045" v="1110" actId="478"/>
          <ac:spMkLst>
            <pc:docMk/>
            <pc:sldMk cId="3263562489" sldId="2147375844"/>
            <ac:spMk id="440" creationId="{7B7342F0-7CE8-4784-A8A4-680E7C257ABE}"/>
          </ac:spMkLst>
        </pc:spChg>
        <pc:spChg chg="del">
          <ac:chgData name="Robertson, Daniel" userId="4fd6f56b-898f-4008-a6b4-11eaf568a331" providerId="ADAL" clId="{5E594DDC-A41B-4A8C-9A88-74EB4E108575}" dt="2021-08-25T14:37:10.045" v="1110" actId="478"/>
          <ac:spMkLst>
            <pc:docMk/>
            <pc:sldMk cId="3263562489" sldId="2147375844"/>
            <ac:spMk id="441" creationId="{7F72DC1C-ACB6-4F70-AA1B-38658108593F}"/>
          </ac:spMkLst>
        </pc:spChg>
        <pc:spChg chg="del">
          <ac:chgData name="Robertson, Daniel" userId="4fd6f56b-898f-4008-a6b4-11eaf568a331" providerId="ADAL" clId="{5E594DDC-A41B-4A8C-9A88-74EB4E108575}" dt="2021-08-25T14:37:10.045" v="1110" actId="478"/>
          <ac:spMkLst>
            <pc:docMk/>
            <pc:sldMk cId="3263562489" sldId="2147375844"/>
            <ac:spMk id="442" creationId="{CA3ACA07-25EC-4445-A93A-ADA14F28007B}"/>
          </ac:spMkLst>
        </pc:spChg>
        <pc:spChg chg="del">
          <ac:chgData name="Robertson, Daniel" userId="4fd6f56b-898f-4008-a6b4-11eaf568a331" providerId="ADAL" clId="{5E594DDC-A41B-4A8C-9A88-74EB4E108575}" dt="2021-08-25T14:37:10.045" v="1110" actId="478"/>
          <ac:spMkLst>
            <pc:docMk/>
            <pc:sldMk cId="3263562489" sldId="2147375844"/>
            <ac:spMk id="443" creationId="{13A387E3-2CE0-4375-AAA2-C875438D9201}"/>
          </ac:spMkLst>
        </pc:spChg>
        <pc:spChg chg="del">
          <ac:chgData name="Robertson, Daniel" userId="4fd6f56b-898f-4008-a6b4-11eaf568a331" providerId="ADAL" clId="{5E594DDC-A41B-4A8C-9A88-74EB4E108575}" dt="2021-08-25T14:37:10.045" v="1110" actId="478"/>
          <ac:spMkLst>
            <pc:docMk/>
            <pc:sldMk cId="3263562489" sldId="2147375844"/>
            <ac:spMk id="445" creationId="{88972230-C88B-459F-99A7-ABEE22501CD0}"/>
          </ac:spMkLst>
        </pc:spChg>
        <pc:spChg chg="del">
          <ac:chgData name="Robertson, Daniel" userId="4fd6f56b-898f-4008-a6b4-11eaf568a331" providerId="ADAL" clId="{5E594DDC-A41B-4A8C-9A88-74EB4E108575}" dt="2021-08-25T14:37:10.045" v="1110" actId="478"/>
          <ac:spMkLst>
            <pc:docMk/>
            <pc:sldMk cId="3263562489" sldId="2147375844"/>
            <ac:spMk id="446" creationId="{802917CC-BAC4-48BC-ABB8-0E819D10F9E6}"/>
          </ac:spMkLst>
        </pc:spChg>
        <pc:spChg chg="del">
          <ac:chgData name="Robertson, Daniel" userId="4fd6f56b-898f-4008-a6b4-11eaf568a331" providerId="ADAL" clId="{5E594DDC-A41B-4A8C-9A88-74EB4E108575}" dt="2021-08-25T14:37:10.045" v="1110" actId="478"/>
          <ac:spMkLst>
            <pc:docMk/>
            <pc:sldMk cId="3263562489" sldId="2147375844"/>
            <ac:spMk id="447" creationId="{97BB3525-624E-4B33-9A37-32488351C407}"/>
          </ac:spMkLst>
        </pc:spChg>
        <pc:spChg chg="del">
          <ac:chgData name="Robertson, Daniel" userId="4fd6f56b-898f-4008-a6b4-11eaf568a331" providerId="ADAL" clId="{5E594DDC-A41B-4A8C-9A88-74EB4E108575}" dt="2021-08-25T14:37:10.045" v="1110" actId="478"/>
          <ac:spMkLst>
            <pc:docMk/>
            <pc:sldMk cId="3263562489" sldId="2147375844"/>
            <ac:spMk id="448" creationId="{CB2D763A-E714-4EEE-A10D-F2ADF5CD7C6F}"/>
          </ac:spMkLst>
        </pc:spChg>
        <pc:spChg chg="del">
          <ac:chgData name="Robertson, Daniel" userId="4fd6f56b-898f-4008-a6b4-11eaf568a331" providerId="ADAL" clId="{5E594DDC-A41B-4A8C-9A88-74EB4E108575}" dt="2021-08-25T14:37:10.045" v="1110" actId="478"/>
          <ac:spMkLst>
            <pc:docMk/>
            <pc:sldMk cId="3263562489" sldId="2147375844"/>
            <ac:spMk id="449" creationId="{3D6FDF86-25AB-4D09-A1BB-D760FB098FB6}"/>
          </ac:spMkLst>
        </pc:spChg>
        <pc:spChg chg="del">
          <ac:chgData name="Robertson, Daniel" userId="4fd6f56b-898f-4008-a6b4-11eaf568a331" providerId="ADAL" clId="{5E594DDC-A41B-4A8C-9A88-74EB4E108575}" dt="2021-08-25T14:37:10.045" v="1110" actId="478"/>
          <ac:spMkLst>
            <pc:docMk/>
            <pc:sldMk cId="3263562489" sldId="2147375844"/>
            <ac:spMk id="450" creationId="{39910264-A4A7-49BB-BFD8-C8E205FFBD0B}"/>
          </ac:spMkLst>
        </pc:spChg>
        <pc:spChg chg="del">
          <ac:chgData name="Robertson, Daniel" userId="4fd6f56b-898f-4008-a6b4-11eaf568a331" providerId="ADAL" clId="{5E594DDC-A41B-4A8C-9A88-74EB4E108575}" dt="2021-08-25T14:37:10.045" v="1110" actId="478"/>
          <ac:spMkLst>
            <pc:docMk/>
            <pc:sldMk cId="3263562489" sldId="2147375844"/>
            <ac:spMk id="451" creationId="{C4EF92A3-1885-4983-B9B4-5C880AFA2B66}"/>
          </ac:spMkLst>
        </pc:spChg>
        <pc:spChg chg="del">
          <ac:chgData name="Robertson, Daniel" userId="4fd6f56b-898f-4008-a6b4-11eaf568a331" providerId="ADAL" clId="{5E594DDC-A41B-4A8C-9A88-74EB4E108575}" dt="2021-08-25T14:37:10.045" v="1110" actId="478"/>
          <ac:spMkLst>
            <pc:docMk/>
            <pc:sldMk cId="3263562489" sldId="2147375844"/>
            <ac:spMk id="453" creationId="{FC901DF2-CBCC-47C5-BCA0-807FC926FA43}"/>
          </ac:spMkLst>
        </pc:spChg>
        <pc:spChg chg="del">
          <ac:chgData name="Robertson, Daniel" userId="4fd6f56b-898f-4008-a6b4-11eaf568a331" providerId="ADAL" clId="{5E594DDC-A41B-4A8C-9A88-74EB4E108575}" dt="2021-08-25T14:37:10.045" v="1110" actId="478"/>
          <ac:spMkLst>
            <pc:docMk/>
            <pc:sldMk cId="3263562489" sldId="2147375844"/>
            <ac:spMk id="454" creationId="{183F9314-9994-4068-B918-C4DDAE7945E8}"/>
          </ac:spMkLst>
        </pc:spChg>
        <pc:spChg chg="del">
          <ac:chgData name="Robertson, Daniel" userId="4fd6f56b-898f-4008-a6b4-11eaf568a331" providerId="ADAL" clId="{5E594DDC-A41B-4A8C-9A88-74EB4E108575}" dt="2021-08-25T14:37:10.045" v="1110" actId="478"/>
          <ac:spMkLst>
            <pc:docMk/>
            <pc:sldMk cId="3263562489" sldId="2147375844"/>
            <ac:spMk id="455" creationId="{6E1C1449-F73C-4F10-AF8C-F7D9C088CC4D}"/>
          </ac:spMkLst>
        </pc:spChg>
        <pc:spChg chg="del">
          <ac:chgData name="Robertson, Daniel" userId="4fd6f56b-898f-4008-a6b4-11eaf568a331" providerId="ADAL" clId="{5E594DDC-A41B-4A8C-9A88-74EB4E108575}" dt="2021-08-25T14:37:10.045" v="1110" actId="478"/>
          <ac:spMkLst>
            <pc:docMk/>
            <pc:sldMk cId="3263562489" sldId="2147375844"/>
            <ac:spMk id="456" creationId="{4D0D6A12-25DD-4F58-AD96-3B5187EB04B7}"/>
          </ac:spMkLst>
        </pc:spChg>
        <pc:spChg chg="del">
          <ac:chgData name="Robertson, Daniel" userId="4fd6f56b-898f-4008-a6b4-11eaf568a331" providerId="ADAL" clId="{5E594DDC-A41B-4A8C-9A88-74EB4E108575}" dt="2021-08-25T14:37:10.045" v="1110" actId="478"/>
          <ac:spMkLst>
            <pc:docMk/>
            <pc:sldMk cId="3263562489" sldId="2147375844"/>
            <ac:spMk id="524" creationId="{A8BB8FF7-9219-4BEB-9550-980471C2AC00}"/>
          </ac:spMkLst>
        </pc:spChg>
        <pc:spChg chg="del">
          <ac:chgData name="Robertson, Daniel" userId="4fd6f56b-898f-4008-a6b4-11eaf568a331" providerId="ADAL" clId="{5E594DDC-A41B-4A8C-9A88-74EB4E108575}" dt="2021-08-25T14:37:10.045" v="1110" actId="478"/>
          <ac:spMkLst>
            <pc:docMk/>
            <pc:sldMk cId="3263562489" sldId="2147375844"/>
            <ac:spMk id="525" creationId="{DE6B2E06-6D22-4434-859B-8D2507E7E4CB}"/>
          </ac:spMkLst>
        </pc:spChg>
        <pc:spChg chg="del">
          <ac:chgData name="Robertson, Daniel" userId="4fd6f56b-898f-4008-a6b4-11eaf568a331" providerId="ADAL" clId="{5E594DDC-A41B-4A8C-9A88-74EB4E108575}" dt="2021-08-25T14:37:10.045" v="1110" actId="478"/>
          <ac:spMkLst>
            <pc:docMk/>
            <pc:sldMk cId="3263562489" sldId="2147375844"/>
            <ac:spMk id="526" creationId="{5B861099-8FAC-4906-9D10-743724907310}"/>
          </ac:spMkLst>
        </pc:spChg>
        <pc:spChg chg="mod">
          <ac:chgData name="Robertson, Daniel" userId="4fd6f56b-898f-4008-a6b4-11eaf568a331" providerId="ADAL" clId="{5E594DDC-A41B-4A8C-9A88-74EB4E108575}" dt="2021-08-25T14:37:51.623" v="1213" actId="1035"/>
          <ac:spMkLst>
            <pc:docMk/>
            <pc:sldMk cId="3263562489" sldId="2147375844"/>
            <ac:spMk id="527" creationId="{0E39DFC7-A108-4E3C-924E-73641463FDB4}"/>
          </ac:spMkLst>
        </pc:spChg>
        <pc:spChg chg="mod">
          <ac:chgData name="Robertson, Daniel" userId="4fd6f56b-898f-4008-a6b4-11eaf568a331" providerId="ADAL" clId="{5E594DDC-A41B-4A8C-9A88-74EB4E108575}" dt="2021-08-25T14:37:51.623" v="1213" actId="1035"/>
          <ac:spMkLst>
            <pc:docMk/>
            <pc:sldMk cId="3263562489" sldId="2147375844"/>
            <ac:spMk id="528" creationId="{97E1CD87-9459-4D40-B4FA-D04F7A03E26B}"/>
          </ac:spMkLst>
        </pc:spChg>
        <pc:spChg chg="mod">
          <ac:chgData name="Robertson, Daniel" userId="4fd6f56b-898f-4008-a6b4-11eaf568a331" providerId="ADAL" clId="{5E594DDC-A41B-4A8C-9A88-74EB4E108575}" dt="2021-08-25T14:37:51.623" v="1213" actId="1035"/>
          <ac:spMkLst>
            <pc:docMk/>
            <pc:sldMk cId="3263562489" sldId="2147375844"/>
            <ac:spMk id="529" creationId="{256CBDF2-4993-4265-8925-DE3FD6D9DE92}"/>
          </ac:spMkLst>
        </pc:spChg>
        <pc:spChg chg="mod">
          <ac:chgData name="Robertson, Daniel" userId="4fd6f56b-898f-4008-a6b4-11eaf568a331" providerId="ADAL" clId="{5E594DDC-A41B-4A8C-9A88-74EB4E108575}" dt="2021-08-25T14:37:51.623" v="1213" actId="1035"/>
          <ac:spMkLst>
            <pc:docMk/>
            <pc:sldMk cId="3263562489" sldId="2147375844"/>
            <ac:spMk id="530" creationId="{B4E6995E-922A-4991-BD02-7314970DD98A}"/>
          </ac:spMkLst>
        </pc:spChg>
        <pc:spChg chg="mod">
          <ac:chgData name="Robertson, Daniel" userId="4fd6f56b-898f-4008-a6b4-11eaf568a331" providerId="ADAL" clId="{5E594DDC-A41B-4A8C-9A88-74EB4E108575}" dt="2021-08-25T14:37:51.623" v="1213" actId="1035"/>
          <ac:spMkLst>
            <pc:docMk/>
            <pc:sldMk cId="3263562489" sldId="2147375844"/>
            <ac:spMk id="531" creationId="{E0CCC64E-079F-44F2-82A6-5E3F6A46A8BF}"/>
          </ac:spMkLst>
        </pc:spChg>
        <pc:spChg chg="mod">
          <ac:chgData name="Robertson, Daniel" userId="4fd6f56b-898f-4008-a6b4-11eaf568a331" providerId="ADAL" clId="{5E594DDC-A41B-4A8C-9A88-74EB4E108575}" dt="2021-08-25T14:37:54.421" v="1214" actId="1035"/>
          <ac:spMkLst>
            <pc:docMk/>
            <pc:sldMk cId="3263562489" sldId="2147375844"/>
            <ac:spMk id="532" creationId="{E58BA9E4-8B22-4457-8C32-4499CC22126E}"/>
          </ac:spMkLst>
        </pc:spChg>
      </pc:sldChg>
      <pc:sldChg chg="modSp add mod">
        <pc:chgData name="Robertson, Daniel" userId="4fd6f56b-898f-4008-a6b4-11eaf568a331" providerId="ADAL" clId="{5E594DDC-A41B-4A8C-9A88-74EB4E108575}" dt="2021-08-25T17:42:04.154" v="3966" actId="20577"/>
        <pc:sldMkLst>
          <pc:docMk/>
          <pc:sldMk cId="3155301364" sldId="2147375845"/>
        </pc:sldMkLst>
        <pc:spChg chg="mod">
          <ac:chgData name="Robertson, Daniel" userId="4fd6f56b-898f-4008-a6b4-11eaf568a331" providerId="ADAL" clId="{5E594DDC-A41B-4A8C-9A88-74EB4E108575}" dt="2021-08-25T14:45:44.094" v="1964" actId="1037"/>
          <ac:spMkLst>
            <pc:docMk/>
            <pc:sldMk cId="3155301364" sldId="2147375845"/>
            <ac:spMk id="3" creationId="{BA281A09-525F-4782-A370-92CE491718B0}"/>
          </ac:spMkLst>
        </pc:spChg>
        <pc:spChg chg="mod">
          <ac:chgData name="Robertson, Daniel" userId="4fd6f56b-898f-4008-a6b4-11eaf568a331" providerId="ADAL" clId="{5E594DDC-A41B-4A8C-9A88-74EB4E108575}" dt="2021-08-25T17:40:15.836" v="3795" actId="14100"/>
          <ac:spMkLst>
            <pc:docMk/>
            <pc:sldMk cId="3155301364" sldId="2147375845"/>
            <ac:spMk id="4" creationId="{34569C4C-68B8-4190-A740-453A1A3DA68C}"/>
          </ac:spMkLst>
        </pc:spChg>
        <pc:spChg chg="mod">
          <ac:chgData name="Robertson, Daniel" userId="4fd6f56b-898f-4008-a6b4-11eaf568a331" providerId="ADAL" clId="{5E594DDC-A41B-4A8C-9A88-74EB4E108575}" dt="2021-08-25T17:40:15.836" v="3795" actId="14100"/>
          <ac:spMkLst>
            <pc:docMk/>
            <pc:sldMk cId="3155301364" sldId="2147375845"/>
            <ac:spMk id="50" creationId="{339A2F7C-C616-4717-B68F-6F48FC19A99D}"/>
          </ac:spMkLst>
        </pc:spChg>
        <pc:spChg chg="mod">
          <ac:chgData name="Robertson, Daniel" userId="4fd6f56b-898f-4008-a6b4-11eaf568a331" providerId="ADAL" clId="{5E594DDC-A41B-4A8C-9A88-74EB4E108575}" dt="2021-08-25T17:40:24.688" v="3823" actId="20577"/>
          <ac:spMkLst>
            <pc:docMk/>
            <pc:sldMk cId="3155301364" sldId="2147375845"/>
            <ac:spMk id="51" creationId="{EB47F789-8E39-4334-9141-3C413D34A24F}"/>
          </ac:spMkLst>
        </pc:spChg>
        <pc:spChg chg="mod">
          <ac:chgData name="Robertson, Daniel" userId="4fd6f56b-898f-4008-a6b4-11eaf568a331" providerId="ADAL" clId="{5E594DDC-A41B-4A8C-9A88-74EB4E108575}" dt="2021-08-25T17:42:04.154" v="3966" actId="20577"/>
          <ac:spMkLst>
            <pc:docMk/>
            <pc:sldMk cId="3155301364" sldId="2147375845"/>
            <ac:spMk id="52" creationId="{838AB65E-F674-49CD-AB8F-ECBDD9028EBF}"/>
          </ac:spMkLst>
        </pc:spChg>
      </pc:sldChg>
      <pc:sldMasterChg chg="delSldLayout">
        <pc:chgData name="Robertson, Daniel" userId="4fd6f56b-898f-4008-a6b4-11eaf568a331" providerId="ADAL" clId="{5E594DDC-A41B-4A8C-9A88-74EB4E108575}" dt="2021-08-25T13:25:54.211" v="46" actId="47"/>
        <pc:sldMasterMkLst>
          <pc:docMk/>
          <pc:sldMasterMk cId="835336367" sldId="2147485117"/>
        </pc:sldMasterMkLst>
        <pc:sldLayoutChg chg="del">
          <pc:chgData name="Robertson, Daniel" userId="4fd6f56b-898f-4008-a6b4-11eaf568a331" providerId="ADAL" clId="{5E594DDC-A41B-4A8C-9A88-74EB4E108575}" dt="2021-08-25T13:25:15.816" v="42" actId="47"/>
          <pc:sldLayoutMkLst>
            <pc:docMk/>
            <pc:sldMasterMk cId="835336367" sldId="2147485117"/>
            <pc:sldLayoutMk cId="2221807910" sldId="2147485262"/>
          </pc:sldLayoutMkLst>
        </pc:sldLayoutChg>
        <pc:sldLayoutChg chg="del">
          <pc:chgData name="Robertson, Daniel" userId="4fd6f56b-898f-4008-a6b4-11eaf568a331" providerId="ADAL" clId="{5E594DDC-A41B-4A8C-9A88-74EB4E108575}" dt="2021-08-25T13:25:54.211" v="46" actId="47"/>
          <pc:sldLayoutMkLst>
            <pc:docMk/>
            <pc:sldMasterMk cId="835336367" sldId="2147485117"/>
            <pc:sldLayoutMk cId="54371428" sldId="2147485264"/>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5/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8/25/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pPr/>
              <a:t>0</a:t>
            </a:fld>
            <a:endParaRPr lang="en-US" dirty="0"/>
          </a:p>
        </p:txBody>
      </p:sp>
    </p:spTree>
    <p:extLst>
      <p:ext uri="{BB962C8B-B14F-4D97-AF65-F5344CB8AC3E}">
        <p14:creationId xmlns:p14="http://schemas.microsoft.com/office/powerpoint/2010/main" val="804361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686054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441077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686054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43818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Product sync: Product line leadership opt pulse check combining product updates (5min per product)</a:t>
            </a:r>
          </a:p>
          <a:p>
            <a:r>
              <a:rPr lang="en-US" dirty="0"/>
              <a:t>Qtly planning: </a:t>
            </a:r>
            <a:r>
              <a:rPr lang="en-US" dirty="0" err="1"/>
              <a:t>Pdt</a:t>
            </a:r>
            <a:r>
              <a:rPr lang="en-US" dirty="0"/>
              <a:t> line director, </a:t>
            </a:r>
            <a:r>
              <a:rPr lang="en-US" dirty="0" err="1"/>
              <a:t>Pdt</a:t>
            </a:r>
            <a:r>
              <a:rPr lang="en-US" dirty="0"/>
              <a:t> Leads, </a:t>
            </a:r>
            <a:r>
              <a:rPr lang="en-US" dirty="0" err="1"/>
              <a:t>Eng</a:t>
            </a:r>
            <a:r>
              <a:rPr lang="en-US" dirty="0"/>
              <a:t>/Design leads – share progress, dependencies &amp; blockers, plan for next Q features</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14995623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1223856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pPr/>
              <a:t>18</a:t>
            </a:fld>
            <a:endParaRPr lang="en-US" dirty="0"/>
          </a:p>
        </p:txBody>
      </p:sp>
    </p:spTree>
    <p:extLst>
      <p:ext uri="{BB962C8B-B14F-4D97-AF65-F5344CB8AC3E}">
        <p14:creationId xmlns:p14="http://schemas.microsoft.com/office/powerpoint/2010/main" val="18021359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5.png"/><Relationship Id="rId2" Type="http://schemas.openxmlformats.org/officeDocument/2006/relationships/tags" Target="../tags/tag158.xml"/><Relationship Id="rId1" Type="http://schemas.openxmlformats.org/officeDocument/2006/relationships/vmlDrawing" Target="../drawings/vmlDrawing101.vml"/><Relationship Id="rId6" Type="http://schemas.openxmlformats.org/officeDocument/2006/relationships/image" Target="../media/image4.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vmlDrawing" Target="../drawings/vmlDrawing102.vml"/><Relationship Id="rId6" Type="http://schemas.openxmlformats.org/officeDocument/2006/relationships/image" Target="../media/image4.emf"/><Relationship Id="rId5" Type="http://schemas.openxmlformats.org/officeDocument/2006/relationships/oleObject" Target="../embeddings/oleObject102.bin"/><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103.vml"/><Relationship Id="rId6" Type="http://schemas.openxmlformats.org/officeDocument/2006/relationships/image" Target="../media/image4.emf"/><Relationship Id="rId5" Type="http://schemas.openxmlformats.org/officeDocument/2006/relationships/oleObject" Target="../embeddings/oleObject103.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104.vml"/><Relationship Id="rId6" Type="http://schemas.openxmlformats.org/officeDocument/2006/relationships/image" Target="../media/image4.emf"/><Relationship Id="rId5" Type="http://schemas.openxmlformats.org/officeDocument/2006/relationships/oleObject" Target="../embeddings/oleObject104.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6.png"/><Relationship Id="rId2" Type="http://schemas.openxmlformats.org/officeDocument/2006/relationships/tags" Target="../tags/tag166.xml"/><Relationship Id="rId1" Type="http://schemas.openxmlformats.org/officeDocument/2006/relationships/vmlDrawing" Target="../drawings/vmlDrawing105.vml"/><Relationship Id="rId6" Type="http://schemas.openxmlformats.org/officeDocument/2006/relationships/image" Target="../media/image4.emf"/><Relationship Id="rId5" Type="http://schemas.openxmlformats.org/officeDocument/2006/relationships/oleObject" Target="../embeddings/oleObject105.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6.png"/><Relationship Id="rId2" Type="http://schemas.openxmlformats.org/officeDocument/2006/relationships/tags" Target="../tags/tag168.xml"/><Relationship Id="rId1" Type="http://schemas.openxmlformats.org/officeDocument/2006/relationships/vmlDrawing" Target="../drawings/vmlDrawing106.vml"/><Relationship Id="rId6" Type="http://schemas.openxmlformats.org/officeDocument/2006/relationships/image" Target="../media/image4.emf"/><Relationship Id="rId5" Type="http://schemas.openxmlformats.org/officeDocument/2006/relationships/oleObject" Target="../embeddings/oleObject106.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6.png"/><Relationship Id="rId2" Type="http://schemas.openxmlformats.org/officeDocument/2006/relationships/tags" Target="../tags/tag170.xml"/><Relationship Id="rId1" Type="http://schemas.openxmlformats.org/officeDocument/2006/relationships/vmlDrawing" Target="../drawings/vmlDrawing107.vml"/><Relationship Id="rId6" Type="http://schemas.openxmlformats.org/officeDocument/2006/relationships/image" Target="../media/image4.emf"/><Relationship Id="rId5" Type="http://schemas.openxmlformats.org/officeDocument/2006/relationships/oleObject" Target="../embeddings/oleObject107.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6.png"/><Relationship Id="rId2" Type="http://schemas.openxmlformats.org/officeDocument/2006/relationships/tags" Target="../tags/tag172.xml"/><Relationship Id="rId1" Type="http://schemas.openxmlformats.org/officeDocument/2006/relationships/vmlDrawing" Target="../drawings/vmlDrawing108.vml"/><Relationship Id="rId6" Type="http://schemas.openxmlformats.org/officeDocument/2006/relationships/image" Target="../media/image4.emf"/><Relationship Id="rId5" Type="http://schemas.openxmlformats.org/officeDocument/2006/relationships/oleObject" Target="../embeddings/oleObject108.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vmlDrawing" Target="../drawings/vmlDrawing109.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0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vmlDrawing" Target="../drawings/vmlDrawing110.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77.xml"/><Relationship Id="rId7" Type="http://schemas.openxmlformats.org/officeDocument/2006/relationships/image" Target="../media/image7.png"/><Relationship Id="rId2" Type="http://schemas.openxmlformats.org/officeDocument/2006/relationships/tags" Target="../tags/tag176.xml"/><Relationship Id="rId1" Type="http://schemas.openxmlformats.org/officeDocument/2006/relationships/vmlDrawing" Target="../drawings/vmlDrawing111.vml"/><Relationship Id="rId6" Type="http://schemas.openxmlformats.org/officeDocument/2006/relationships/image" Target="../media/image9.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vmlDrawing" Target="../drawings/vmlDrawing112.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12.bin"/></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0.png"/><Relationship Id="rId2" Type="http://schemas.openxmlformats.org/officeDocument/2006/relationships/tags" Target="../tags/tag179.xml"/><Relationship Id="rId1" Type="http://schemas.openxmlformats.org/officeDocument/2006/relationships/vmlDrawing" Target="../drawings/vmlDrawing113.vml"/><Relationship Id="rId6" Type="http://schemas.openxmlformats.org/officeDocument/2006/relationships/image" Target="../media/image4.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8.png"/><Relationship Id="rId2" Type="http://schemas.openxmlformats.org/officeDocument/2006/relationships/tags" Target="../tags/tag181.xml"/><Relationship Id="rId1" Type="http://schemas.openxmlformats.org/officeDocument/2006/relationships/vmlDrawing" Target="../drawings/vmlDrawing114.vml"/><Relationship Id="rId6" Type="http://schemas.openxmlformats.org/officeDocument/2006/relationships/image" Target="../media/image4.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7.png"/><Relationship Id="rId2" Type="http://schemas.openxmlformats.org/officeDocument/2006/relationships/tags" Target="../tags/tag183.xml"/><Relationship Id="rId1" Type="http://schemas.openxmlformats.org/officeDocument/2006/relationships/vmlDrawing" Target="../drawings/vmlDrawing115.vml"/><Relationship Id="rId6" Type="http://schemas.openxmlformats.org/officeDocument/2006/relationships/image" Target="../media/image4.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8.png"/><Relationship Id="rId2" Type="http://schemas.openxmlformats.org/officeDocument/2006/relationships/tags" Target="../tags/tag185.xml"/><Relationship Id="rId1" Type="http://schemas.openxmlformats.org/officeDocument/2006/relationships/vmlDrawing" Target="../drawings/vmlDrawing116.vml"/><Relationship Id="rId6" Type="http://schemas.openxmlformats.org/officeDocument/2006/relationships/image" Target="../media/image4.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7.png"/><Relationship Id="rId2" Type="http://schemas.openxmlformats.org/officeDocument/2006/relationships/tags" Target="../tags/tag187.xml"/><Relationship Id="rId1" Type="http://schemas.openxmlformats.org/officeDocument/2006/relationships/vmlDrawing" Target="../drawings/vmlDrawing117.vml"/><Relationship Id="rId6" Type="http://schemas.openxmlformats.org/officeDocument/2006/relationships/image" Target="../media/image4.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8.png"/><Relationship Id="rId2" Type="http://schemas.openxmlformats.org/officeDocument/2006/relationships/tags" Target="../tags/tag189.xml"/><Relationship Id="rId1" Type="http://schemas.openxmlformats.org/officeDocument/2006/relationships/vmlDrawing" Target="../drawings/vmlDrawing118.vml"/><Relationship Id="rId6" Type="http://schemas.openxmlformats.org/officeDocument/2006/relationships/image" Target="../media/image4.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vmlDrawing" Target="../drawings/vmlDrawing119.vml"/><Relationship Id="rId5" Type="http://schemas.openxmlformats.org/officeDocument/2006/relationships/image" Target="../media/image4.emf"/><Relationship Id="rId4" Type="http://schemas.openxmlformats.org/officeDocument/2006/relationships/oleObject" Target="../embeddings/oleObject119.bin"/></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120.vml"/><Relationship Id="rId6" Type="http://schemas.openxmlformats.org/officeDocument/2006/relationships/image" Target="../media/image4.emf"/><Relationship Id="rId5" Type="http://schemas.openxmlformats.org/officeDocument/2006/relationships/oleObject" Target="../embeddings/oleObject120.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vmlDrawing" Target="../drawings/vmlDrawing121.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121.bin"/></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122.vml"/><Relationship Id="rId6" Type="http://schemas.openxmlformats.org/officeDocument/2006/relationships/image" Target="../media/image4.emf"/><Relationship Id="rId5" Type="http://schemas.openxmlformats.org/officeDocument/2006/relationships/oleObject" Target="../embeddings/oleObject122.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7.xml"/><Relationship Id="rId1" Type="http://schemas.openxmlformats.org/officeDocument/2006/relationships/vmlDrawing" Target="../drawings/vmlDrawing123.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2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8.xml"/><Relationship Id="rId1" Type="http://schemas.openxmlformats.org/officeDocument/2006/relationships/vmlDrawing" Target="../drawings/vmlDrawing124.vml"/><Relationship Id="rId5" Type="http://schemas.openxmlformats.org/officeDocument/2006/relationships/image" Target="../media/image4.emf"/><Relationship Id="rId4" Type="http://schemas.openxmlformats.org/officeDocument/2006/relationships/oleObject" Target="../embeddings/oleObject12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9.xml"/><Relationship Id="rId1" Type="http://schemas.openxmlformats.org/officeDocument/2006/relationships/vmlDrawing" Target="../drawings/vmlDrawing125.vml"/><Relationship Id="rId5" Type="http://schemas.openxmlformats.org/officeDocument/2006/relationships/image" Target="../media/image4.emf"/><Relationship Id="rId4" Type="http://schemas.openxmlformats.org/officeDocument/2006/relationships/oleObject" Target="../embeddings/oleObject12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0.xml"/><Relationship Id="rId1" Type="http://schemas.openxmlformats.org/officeDocument/2006/relationships/vmlDrawing" Target="../drawings/vmlDrawing126.vml"/><Relationship Id="rId5" Type="http://schemas.openxmlformats.org/officeDocument/2006/relationships/image" Target="../media/image4.emf"/><Relationship Id="rId4" Type="http://schemas.openxmlformats.org/officeDocument/2006/relationships/oleObject" Target="../embeddings/oleObject12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01.xml"/><Relationship Id="rId1" Type="http://schemas.openxmlformats.org/officeDocument/2006/relationships/vmlDrawing" Target="../drawings/vmlDrawing127.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2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vmlDrawing" Target="../drawings/vmlDrawing128.vml"/><Relationship Id="rId5" Type="http://schemas.openxmlformats.org/officeDocument/2006/relationships/image" Target="../media/image4.emf"/><Relationship Id="rId4" Type="http://schemas.openxmlformats.org/officeDocument/2006/relationships/oleObject" Target="../embeddings/oleObject128.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vmlDrawing" Target="../drawings/vmlDrawing129.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5.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6.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vmlDrawing" Target="../drawings/vmlDrawing13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33.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1.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2.xml"/><Relationship Id="rId1" Type="http://schemas.openxmlformats.org/officeDocument/2006/relationships/vmlDrawing" Target="../drawings/vmlDrawing13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vmlDrawing" Target="../drawings/vmlDrawing13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215.xml"/><Relationship Id="rId7" Type="http://schemas.openxmlformats.org/officeDocument/2006/relationships/image" Target="../media/image11.png"/><Relationship Id="rId2" Type="http://schemas.openxmlformats.org/officeDocument/2006/relationships/tags" Target="../tags/tag214.xml"/><Relationship Id="rId1" Type="http://schemas.openxmlformats.org/officeDocument/2006/relationships/vmlDrawing" Target="../drawings/vmlDrawing138.vml"/><Relationship Id="rId6" Type="http://schemas.openxmlformats.org/officeDocument/2006/relationships/image" Target="../media/image2.emf"/><Relationship Id="rId5" Type="http://schemas.openxmlformats.org/officeDocument/2006/relationships/oleObject" Target="../embeddings/oleObject138.bin"/><Relationship Id="rId10" Type="http://schemas.openxmlformats.org/officeDocument/2006/relationships/image" Target="../media/image14.pn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8.png"/><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8.pn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25.vml"/><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6.vml"/><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7.v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9.v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png"/><Relationship Id="rId2" Type="http://schemas.openxmlformats.org/officeDocument/2006/relationships/tags" Target="../tags/tag47.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5.png"/><Relationship Id="rId2" Type="http://schemas.openxmlformats.org/officeDocument/2006/relationships/tags" Target="../tags/tag49.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5.png"/><Relationship Id="rId2" Type="http://schemas.openxmlformats.org/officeDocument/2006/relationships/tags" Target="../tags/tag51.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6.png"/><Relationship Id="rId2" Type="http://schemas.openxmlformats.org/officeDocument/2006/relationships/tags" Target="../tags/tag61.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6.png"/><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6.png"/><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40.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7.png"/><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43.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0.png"/><Relationship Id="rId2" Type="http://schemas.openxmlformats.org/officeDocument/2006/relationships/tags" Target="../tags/tag72.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8.png"/><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7.png"/><Relationship Id="rId2" Type="http://schemas.openxmlformats.org/officeDocument/2006/relationships/tags" Target="../tags/tag76.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8.png"/><Relationship Id="rId2" Type="http://schemas.openxmlformats.org/officeDocument/2006/relationships/tags" Target="../tags/tag78.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7.png"/><Relationship Id="rId2" Type="http://schemas.openxmlformats.org/officeDocument/2006/relationships/tags" Target="../tags/tag80.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8.png"/><Relationship Id="rId2" Type="http://schemas.openxmlformats.org/officeDocument/2006/relationships/tags" Target="../tags/tag82.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vmlDrawing" Target="../drawings/vmlDrawing50.vml"/><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55.vml"/><Relationship Id="rId5" Type="http://schemas.openxmlformats.org/officeDocument/2006/relationships/image" Target="../media/image4.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56.vml"/><Relationship Id="rId5" Type="http://schemas.openxmlformats.org/officeDocument/2006/relationships/image" Target="../media/image4.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57.vml"/><Relationship Id="rId5" Type="http://schemas.openxmlformats.org/officeDocument/2006/relationships/image" Target="../media/image4.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5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59.vml"/><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6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68.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108.xml"/><Relationship Id="rId7" Type="http://schemas.openxmlformats.org/officeDocument/2006/relationships/image" Target="../media/image11.png"/><Relationship Id="rId2" Type="http://schemas.openxmlformats.org/officeDocument/2006/relationships/tags" Target="../tags/tag107.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3.png"/><Relationship Id="rId2" Type="http://schemas.openxmlformats.org/officeDocument/2006/relationships/tags" Target="../tags/tag111.xml"/><Relationship Id="rId1" Type="http://schemas.openxmlformats.org/officeDocument/2006/relationships/vmlDrawing" Target="../drawings/vmlDrawing71.vml"/><Relationship Id="rId6" Type="http://schemas.openxmlformats.org/officeDocument/2006/relationships/image" Target="../media/image2.emf"/><Relationship Id="rId5" Type="http://schemas.openxmlformats.org/officeDocument/2006/relationships/oleObject" Target="../embeddings/oleObject71.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vmlDrawing" Target="../drawings/vmlDrawing72.vml"/><Relationship Id="rId6" Type="http://schemas.openxmlformats.org/officeDocument/2006/relationships/image" Target="../media/image4.emf"/><Relationship Id="rId5" Type="http://schemas.openxmlformats.org/officeDocument/2006/relationships/oleObject" Target="../embeddings/oleObject72.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5.png"/><Relationship Id="rId2" Type="http://schemas.openxmlformats.org/officeDocument/2006/relationships/tags" Target="../tags/tag115.xml"/><Relationship Id="rId1" Type="http://schemas.openxmlformats.org/officeDocument/2006/relationships/vmlDrawing" Target="../drawings/vmlDrawing73.vml"/><Relationship Id="rId6" Type="http://schemas.openxmlformats.org/officeDocument/2006/relationships/image" Target="../media/image4.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74.vml"/><Relationship Id="rId6" Type="http://schemas.openxmlformats.org/officeDocument/2006/relationships/image" Target="../media/image4.emf"/><Relationship Id="rId5" Type="http://schemas.openxmlformats.org/officeDocument/2006/relationships/oleObject" Target="../embeddings/oleObject74.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vmlDrawing" Target="../drawings/vmlDrawing75.vml"/><Relationship Id="rId5" Type="http://schemas.openxmlformats.org/officeDocument/2006/relationships/image" Target="../media/image4.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0.xml"/><Relationship Id="rId1" Type="http://schemas.openxmlformats.org/officeDocument/2006/relationships/vmlDrawing" Target="../drawings/vmlDrawing76.vml"/><Relationship Id="rId5" Type="http://schemas.openxmlformats.org/officeDocument/2006/relationships/image" Target="../media/image4.emf"/><Relationship Id="rId4" Type="http://schemas.openxmlformats.org/officeDocument/2006/relationships/oleObject" Target="../embeddings/oleObject76.bin"/></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6.png"/><Relationship Id="rId2" Type="http://schemas.openxmlformats.org/officeDocument/2006/relationships/tags" Target="../tags/tag121.xml"/><Relationship Id="rId1" Type="http://schemas.openxmlformats.org/officeDocument/2006/relationships/vmlDrawing" Target="../drawings/vmlDrawing77.vml"/><Relationship Id="rId6" Type="http://schemas.openxmlformats.org/officeDocument/2006/relationships/image" Target="../media/image4.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6.png"/><Relationship Id="rId2" Type="http://schemas.openxmlformats.org/officeDocument/2006/relationships/tags" Target="../tags/tag123.xml"/><Relationship Id="rId1" Type="http://schemas.openxmlformats.org/officeDocument/2006/relationships/vmlDrawing" Target="../drawings/vmlDrawing78.vml"/><Relationship Id="rId6" Type="http://schemas.openxmlformats.org/officeDocument/2006/relationships/image" Target="../media/image4.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vmlDrawing" Target="../drawings/vmlDrawing79.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79.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6.xml"/><Relationship Id="rId1" Type="http://schemas.openxmlformats.org/officeDocument/2006/relationships/vmlDrawing" Target="../drawings/vmlDrawing80.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80.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vmlDrawing" Target="../drawings/vmlDrawing81.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81.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7.png"/><Relationship Id="rId2" Type="http://schemas.openxmlformats.org/officeDocument/2006/relationships/tags" Target="../tags/tag128.xml"/><Relationship Id="rId1" Type="http://schemas.openxmlformats.org/officeDocument/2006/relationships/vmlDrawing" Target="../drawings/vmlDrawing82.vml"/><Relationship Id="rId6" Type="http://schemas.openxmlformats.org/officeDocument/2006/relationships/image" Target="../media/image4.emf"/><Relationship Id="rId5" Type="http://schemas.openxmlformats.org/officeDocument/2006/relationships/oleObject" Target="../embeddings/oleObject82.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vmlDrawing" Target="../drawings/vmlDrawing83.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83.bin"/></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0.png"/><Relationship Id="rId2" Type="http://schemas.openxmlformats.org/officeDocument/2006/relationships/tags" Target="../tags/tag131.xml"/><Relationship Id="rId1" Type="http://schemas.openxmlformats.org/officeDocument/2006/relationships/vmlDrawing" Target="../drawings/vmlDrawing84.vml"/><Relationship Id="rId6" Type="http://schemas.openxmlformats.org/officeDocument/2006/relationships/image" Target="../media/image9.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8.png"/><Relationship Id="rId2" Type="http://schemas.openxmlformats.org/officeDocument/2006/relationships/tags" Target="../tags/tag133.xml"/><Relationship Id="rId1" Type="http://schemas.openxmlformats.org/officeDocument/2006/relationships/vmlDrawing" Target="../drawings/vmlDrawing85.vml"/><Relationship Id="rId6" Type="http://schemas.openxmlformats.org/officeDocument/2006/relationships/image" Target="../media/image4.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7.png"/><Relationship Id="rId2" Type="http://schemas.openxmlformats.org/officeDocument/2006/relationships/tags" Target="../tags/tag135.xml"/><Relationship Id="rId1" Type="http://schemas.openxmlformats.org/officeDocument/2006/relationships/vmlDrawing" Target="../drawings/vmlDrawing86.vml"/><Relationship Id="rId6" Type="http://schemas.openxmlformats.org/officeDocument/2006/relationships/image" Target="../media/image4.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8.png"/><Relationship Id="rId2" Type="http://schemas.openxmlformats.org/officeDocument/2006/relationships/tags" Target="../tags/tag137.xml"/><Relationship Id="rId1" Type="http://schemas.openxmlformats.org/officeDocument/2006/relationships/vmlDrawing" Target="../drawings/vmlDrawing87.vml"/><Relationship Id="rId6" Type="http://schemas.openxmlformats.org/officeDocument/2006/relationships/image" Target="../media/image4.emf"/><Relationship Id="rId5" Type="http://schemas.openxmlformats.org/officeDocument/2006/relationships/oleObject" Target="../embeddings/oleObject87.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7.png"/><Relationship Id="rId2" Type="http://schemas.openxmlformats.org/officeDocument/2006/relationships/tags" Target="../tags/tag139.xml"/><Relationship Id="rId1" Type="http://schemas.openxmlformats.org/officeDocument/2006/relationships/vmlDrawing" Target="../drawings/vmlDrawing88.vml"/><Relationship Id="rId6" Type="http://schemas.openxmlformats.org/officeDocument/2006/relationships/image" Target="../media/image4.emf"/><Relationship Id="rId5" Type="http://schemas.openxmlformats.org/officeDocument/2006/relationships/oleObject" Target="../embeddings/oleObject88.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8.png"/><Relationship Id="rId2" Type="http://schemas.openxmlformats.org/officeDocument/2006/relationships/tags" Target="../tags/tag141.xml"/><Relationship Id="rId1" Type="http://schemas.openxmlformats.org/officeDocument/2006/relationships/vmlDrawing" Target="../drawings/vmlDrawing89.vml"/><Relationship Id="rId6" Type="http://schemas.openxmlformats.org/officeDocument/2006/relationships/image" Target="../media/image4.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vmlDrawing" Target="../drawings/vmlDrawing90.vml"/><Relationship Id="rId5" Type="http://schemas.openxmlformats.org/officeDocument/2006/relationships/image" Target="../media/image4.emf"/><Relationship Id="rId4" Type="http://schemas.openxmlformats.org/officeDocument/2006/relationships/oleObject" Target="../embeddings/oleObject9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91.vml"/><Relationship Id="rId6" Type="http://schemas.openxmlformats.org/officeDocument/2006/relationships/image" Target="../media/image4.emf"/><Relationship Id="rId5" Type="http://schemas.openxmlformats.org/officeDocument/2006/relationships/oleObject" Target="../embeddings/oleObject91.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6.xml"/><Relationship Id="rId1" Type="http://schemas.openxmlformats.org/officeDocument/2006/relationships/vmlDrawing" Target="../drawings/vmlDrawing92.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92.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vmlDrawing" Target="../drawings/vmlDrawing93.vml"/><Relationship Id="rId6" Type="http://schemas.openxmlformats.org/officeDocument/2006/relationships/image" Target="../media/image4.emf"/><Relationship Id="rId5" Type="http://schemas.openxmlformats.org/officeDocument/2006/relationships/oleObject" Target="../embeddings/oleObject93.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vmlDrawing" Target="../drawings/vmlDrawing94.vml"/><Relationship Id="rId5" Type="http://schemas.openxmlformats.org/officeDocument/2006/relationships/image" Target="../media/image4.emf"/><Relationship Id="rId4" Type="http://schemas.openxmlformats.org/officeDocument/2006/relationships/oleObject" Target="../embeddings/oleObject9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0.xml"/><Relationship Id="rId1" Type="http://schemas.openxmlformats.org/officeDocument/2006/relationships/vmlDrawing" Target="../drawings/vmlDrawing95.vml"/><Relationship Id="rId5" Type="http://schemas.openxmlformats.org/officeDocument/2006/relationships/image" Target="../media/image4.emf"/><Relationship Id="rId4" Type="http://schemas.openxmlformats.org/officeDocument/2006/relationships/oleObject" Target="../embeddings/oleObject95.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vmlDrawing" Target="../drawings/vmlDrawing96.vml"/><Relationship Id="rId5" Type="http://schemas.openxmlformats.org/officeDocument/2006/relationships/image" Target="../media/image4.emf"/><Relationship Id="rId4" Type="http://schemas.openxmlformats.org/officeDocument/2006/relationships/oleObject" Target="../embeddings/oleObject9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52.xml"/><Relationship Id="rId1" Type="http://schemas.openxmlformats.org/officeDocument/2006/relationships/vmlDrawing" Target="../drawings/vmlDrawing97.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9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vmlDrawing" Target="../drawings/vmlDrawing98.vml"/><Relationship Id="rId5" Type="http://schemas.openxmlformats.org/officeDocument/2006/relationships/image" Target="../media/image4.emf"/><Relationship Id="rId4" Type="http://schemas.openxmlformats.org/officeDocument/2006/relationships/oleObject" Target="../embeddings/oleObject98.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3.png"/><Relationship Id="rId2" Type="http://schemas.openxmlformats.org/officeDocument/2006/relationships/tags" Target="../tags/tag154.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5.png"/><Relationship Id="rId2" Type="http://schemas.openxmlformats.org/officeDocument/2006/relationships/tags" Target="../tags/tag156.xml"/><Relationship Id="rId1" Type="http://schemas.openxmlformats.org/officeDocument/2006/relationships/vmlDrawing" Target="../drawings/vmlDrawing100.vml"/><Relationship Id="rId6" Type="http://schemas.openxmlformats.org/officeDocument/2006/relationships/image" Target="../media/image4.emf"/><Relationship Id="rId5" Type="http://schemas.openxmlformats.org/officeDocument/2006/relationships/oleObject" Target="../embeddings/oleObject100.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448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9102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06955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8"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049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8391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861164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0415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476423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7998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4821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49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235737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11476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209013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63205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978887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7326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72782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555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4224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3810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12757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5244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1152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6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1526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727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4592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6801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1983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30760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76265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60612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1705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00713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024091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92395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7496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28008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34390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9397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4836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24320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662028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48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3240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290073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880899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71004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35394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619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75843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652282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284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27411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8459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033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2407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 y="2711202"/>
            <a:ext cx="693420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3724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460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659759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04996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311566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3276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534349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52892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4060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1170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60600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16630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5470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1154888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97449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4075810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91395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2004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235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36427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50601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220049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59645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rtl="0">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rtl="0">
              <a:defRPr sz="24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rtl="0">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2207253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12977099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6336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834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521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91196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120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317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20545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7047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15130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8778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92614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307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2564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6675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5598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 y="2711202"/>
            <a:ext cx="693420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2353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47306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23"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24"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76593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17036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5318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8"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3817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7677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18423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5895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4671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8782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1092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6219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633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6587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4719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9123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4707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0427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73547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65271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5662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3895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8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032939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485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84963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6253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569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7635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9272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4381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430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 y="2711202"/>
            <a:ext cx="693420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851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7927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2818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5292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92847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11591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7236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76162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3820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101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9224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22493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rtl="0">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rtl="0">
              <a:defRPr sz="24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rtl="0">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712427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146884128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226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22111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3282512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3941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3831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3963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201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58505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29520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5988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621439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1736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2666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7842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59968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05003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864627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138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65222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36881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6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305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55852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791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6968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52397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494559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63571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121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5664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4599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2487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2610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2547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011636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9434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539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09645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169152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2337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749021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6263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597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27933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2171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2873956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8110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51204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916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711487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2428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899747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58416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50893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1763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 y="2711202"/>
            <a:ext cx="693420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0530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5141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754440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0034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23"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24"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4151420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0989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5227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50" Type="http://schemas.openxmlformats.org/officeDocument/2006/relationships/slideLayout" Target="../slideLayouts/slideLayout119.xml"/><Relationship Id="rId55" Type="http://schemas.openxmlformats.org/officeDocument/2006/relationships/slideLayout" Target="../slideLayouts/slideLayout124.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7" Type="http://schemas.openxmlformats.org/officeDocument/2006/relationships/slideLayout" Target="../slideLayouts/slideLayout76.xml"/><Relationship Id="rId71" Type="http://schemas.openxmlformats.org/officeDocument/2006/relationships/vmlDrawing" Target="../drawings/vmlDrawing70.v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66" Type="http://schemas.openxmlformats.org/officeDocument/2006/relationships/slideLayout" Target="../slideLayouts/slideLayout135.xml"/><Relationship Id="rId74" Type="http://schemas.openxmlformats.org/officeDocument/2006/relationships/oleObject" Target="../embeddings/oleObject70.bin"/><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61" Type="http://schemas.openxmlformats.org/officeDocument/2006/relationships/slideLayout" Target="../slideLayouts/slideLayout130.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73" Type="http://schemas.openxmlformats.org/officeDocument/2006/relationships/tags" Target="../tags/tag11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slideLayout" Target="../slideLayouts/slideLayout138.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72" Type="http://schemas.openxmlformats.org/officeDocument/2006/relationships/tags" Target="../tags/tag109.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theme" Target="../theme/theme2.xml"/><Relationship Id="rId75" Type="http://schemas.openxmlformats.org/officeDocument/2006/relationships/image" Target="../media/image1.emf"/><Relationship Id="rId1" Type="http://schemas.openxmlformats.org/officeDocument/2006/relationships/slideLayout" Target="../slideLayouts/slideLayout70.xml"/><Relationship Id="rId6"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3379868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 id="2147485263"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rgbClr val="00000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rgbClr val="00000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rgbClr val="00000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rgbClr val="00148C"/>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rgbClr val="00000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rgbClr val="00000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rgbClr val="00000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rgbClr val="00148C"/>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rgbClr val="00148C"/>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945252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652220753"/>
      </p:ext>
    </p:extLst>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94" r:id="rId4"/>
    <p:sldLayoutId id="2147485195" r:id="rId5"/>
    <p:sldLayoutId id="2147485196" r:id="rId6"/>
    <p:sldLayoutId id="2147485197" r:id="rId7"/>
    <p:sldLayoutId id="2147485198" r:id="rId8"/>
    <p:sldLayoutId id="2147485199" r:id="rId9"/>
    <p:sldLayoutId id="2147485200" r:id="rId10"/>
    <p:sldLayoutId id="2147485201" r:id="rId11"/>
    <p:sldLayoutId id="2147485202" r:id="rId12"/>
    <p:sldLayoutId id="2147485203" r:id="rId13"/>
    <p:sldLayoutId id="2147485204" r:id="rId14"/>
    <p:sldLayoutId id="2147485205" r:id="rId15"/>
    <p:sldLayoutId id="2147485206" r:id="rId16"/>
    <p:sldLayoutId id="2147485207" r:id="rId17"/>
    <p:sldLayoutId id="2147485208" r:id="rId18"/>
    <p:sldLayoutId id="2147485209" r:id="rId19"/>
    <p:sldLayoutId id="2147485210" r:id="rId20"/>
    <p:sldLayoutId id="2147485211" r:id="rId21"/>
    <p:sldLayoutId id="2147485212" r:id="rId22"/>
    <p:sldLayoutId id="2147485213" r:id="rId23"/>
    <p:sldLayoutId id="2147485214" r:id="rId24"/>
    <p:sldLayoutId id="2147485215" r:id="rId25"/>
    <p:sldLayoutId id="2147485216" r:id="rId26"/>
    <p:sldLayoutId id="2147485217" r:id="rId27"/>
    <p:sldLayoutId id="2147485218" r:id="rId28"/>
    <p:sldLayoutId id="2147485219" r:id="rId29"/>
    <p:sldLayoutId id="2147485220" r:id="rId30"/>
    <p:sldLayoutId id="2147485221" r:id="rId31"/>
    <p:sldLayoutId id="2147485222" r:id="rId32"/>
    <p:sldLayoutId id="2147485223" r:id="rId33"/>
    <p:sldLayoutId id="2147485224" r:id="rId34"/>
    <p:sldLayoutId id="2147485225" r:id="rId35"/>
    <p:sldLayoutId id="2147485226" r:id="rId36"/>
    <p:sldLayoutId id="2147485227" r:id="rId37"/>
    <p:sldLayoutId id="2147485228" r:id="rId38"/>
    <p:sldLayoutId id="2147485229" r:id="rId39"/>
    <p:sldLayoutId id="2147485230" r:id="rId40"/>
    <p:sldLayoutId id="2147485231" r:id="rId41"/>
    <p:sldLayoutId id="2147485232" r:id="rId42"/>
    <p:sldLayoutId id="2147485233" r:id="rId43"/>
    <p:sldLayoutId id="2147485234" r:id="rId44"/>
    <p:sldLayoutId id="2147485235" r:id="rId45"/>
    <p:sldLayoutId id="2147485236" r:id="rId46"/>
    <p:sldLayoutId id="2147485237" r:id="rId47"/>
    <p:sldLayoutId id="2147485238" r:id="rId48"/>
    <p:sldLayoutId id="2147485239" r:id="rId49"/>
    <p:sldLayoutId id="2147485240" r:id="rId50"/>
    <p:sldLayoutId id="2147485241" r:id="rId51"/>
    <p:sldLayoutId id="2147485242" r:id="rId52"/>
    <p:sldLayoutId id="2147485243" r:id="rId53"/>
    <p:sldLayoutId id="2147485244" r:id="rId54"/>
    <p:sldLayoutId id="2147485245" r:id="rId55"/>
    <p:sldLayoutId id="2147485246" r:id="rId56"/>
    <p:sldLayoutId id="2147485247" r:id="rId57"/>
    <p:sldLayoutId id="2147485248" r:id="rId58"/>
    <p:sldLayoutId id="2147485249" r:id="rId59"/>
    <p:sldLayoutId id="2147485250" r:id="rId60"/>
    <p:sldLayoutId id="2147485251" r:id="rId61"/>
    <p:sldLayoutId id="2147485252" r:id="rId62"/>
    <p:sldLayoutId id="2147485253" r:id="rId63"/>
    <p:sldLayoutId id="2147485254" r:id="rId64"/>
    <p:sldLayoutId id="2147485255" r:id="rId65"/>
    <p:sldLayoutId id="2147485256" r:id="rId66"/>
    <p:sldLayoutId id="2147485257" r:id="rId67"/>
    <p:sldLayoutId id="2147485258" r:id="rId68"/>
    <p:sldLayoutId id="2147485261"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rgbClr val="00000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rgbClr val="00000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rgbClr val="00000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rgbClr val="00148C"/>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rgbClr val="00000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rgbClr val="00000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rgbClr val="00000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rgbClr val="00148C"/>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rgbClr val="00148C"/>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216.xml"/><Relationship Id="rId1" Type="http://schemas.openxmlformats.org/officeDocument/2006/relationships/vmlDrawing" Target="../drawings/vmlDrawing139.vml"/><Relationship Id="rId6" Type="http://schemas.openxmlformats.org/officeDocument/2006/relationships/image" Target="../media/image4.emf"/><Relationship Id="rId5" Type="http://schemas.openxmlformats.org/officeDocument/2006/relationships/oleObject" Target="../embeddings/oleObject13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236.xml"/><Relationship Id="rId2" Type="http://schemas.openxmlformats.org/officeDocument/2006/relationships/tags" Target="../tags/tag235.xml"/><Relationship Id="rId1" Type="http://schemas.openxmlformats.org/officeDocument/2006/relationships/vmlDrawing" Target="../drawings/vmlDrawing148.vml"/><Relationship Id="rId6" Type="http://schemas.openxmlformats.org/officeDocument/2006/relationships/image" Target="../media/image22.emf"/><Relationship Id="rId5" Type="http://schemas.openxmlformats.org/officeDocument/2006/relationships/oleObject" Target="../embeddings/oleObject147.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149.vml"/><Relationship Id="rId6" Type="http://schemas.openxmlformats.org/officeDocument/2006/relationships/image" Target="../media/image22.emf"/><Relationship Id="rId5" Type="http://schemas.openxmlformats.org/officeDocument/2006/relationships/oleObject" Target="../embeddings/oleObject147.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vmlDrawing" Target="../drawings/vmlDrawing150.vml"/><Relationship Id="rId6" Type="http://schemas.openxmlformats.org/officeDocument/2006/relationships/image" Target="../media/image22.emf"/><Relationship Id="rId5" Type="http://schemas.openxmlformats.org/officeDocument/2006/relationships/oleObject" Target="../embeddings/oleObject147.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151.vml"/><Relationship Id="rId6" Type="http://schemas.openxmlformats.org/officeDocument/2006/relationships/image" Target="../media/image22.emf"/><Relationship Id="rId5" Type="http://schemas.openxmlformats.org/officeDocument/2006/relationships/oleObject" Target="../embeddings/oleObject147.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22.emf"/><Relationship Id="rId2" Type="http://schemas.openxmlformats.org/officeDocument/2006/relationships/tags" Target="../tags/tag243.xml"/><Relationship Id="rId1" Type="http://schemas.openxmlformats.org/officeDocument/2006/relationships/vmlDrawing" Target="../drawings/vmlDrawing152.vml"/><Relationship Id="rId6" Type="http://schemas.openxmlformats.org/officeDocument/2006/relationships/oleObject" Target="../embeddings/oleObject148.bin"/><Relationship Id="rId5" Type="http://schemas.openxmlformats.org/officeDocument/2006/relationships/slideLayout" Target="../slideLayouts/slideLayout30.xml"/><Relationship Id="rId4" Type="http://schemas.openxmlformats.org/officeDocument/2006/relationships/tags" Target="../tags/tag245.xml"/></Relationships>
</file>

<file path=ppt/slides/_rels/slide1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247.xml"/><Relationship Id="rId7" Type="http://schemas.openxmlformats.org/officeDocument/2006/relationships/oleObject" Target="../embeddings/oleObject149.bin"/><Relationship Id="rId2" Type="http://schemas.openxmlformats.org/officeDocument/2006/relationships/tags" Target="../tags/tag246.xml"/><Relationship Id="rId1" Type="http://schemas.openxmlformats.org/officeDocument/2006/relationships/vmlDrawing" Target="../drawings/vmlDrawing153.vml"/><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248.xml"/><Relationship Id="rId9" Type="http://schemas.openxmlformats.org/officeDocument/2006/relationships/image" Target="../media/image24.emf"/></Relationships>
</file>

<file path=ppt/slides/_rels/slide16.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image" Target="../media/image15.emf"/><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oleObject" Target="../embeddings/oleObject150.bin"/><Relationship Id="rId2" Type="http://schemas.openxmlformats.org/officeDocument/2006/relationships/tags" Target="../tags/tag249.xml"/><Relationship Id="rId1" Type="http://schemas.openxmlformats.org/officeDocument/2006/relationships/vmlDrawing" Target="../drawings/vmlDrawing154.vml"/><Relationship Id="rId6" Type="http://schemas.openxmlformats.org/officeDocument/2006/relationships/tags" Target="../tags/tag253.xml"/><Relationship Id="rId11" Type="http://schemas.openxmlformats.org/officeDocument/2006/relationships/notesSlide" Target="../notesSlides/notesSlide7.xml"/><Relationship Id="rId5" Type="http://schemas.openxmlformats.org/officeDocument/2006/relationships/tags" Target="../tags/tag252.xml"/><Relationship Id="rId10" Type="http://schemas.openxmlformats.org/officeDocument/2006/relationships/slideLayout" Target="../slideLayouts/slideLayout30.xml"/><Relationship Id="rId4" Type="http://schemas.openxmlformats.org/officeDocument/2006/relationships/tags" Target="../tags/tag251.xml"/><Relationship Id="rId9" Type="http://schemas.openxmlformats.org/officeDocument/2006/relationships/tags" Target="../tags/tag256.xml"/></Relationships>
</file>

<file path=ppt/slides/_rels/slide1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258.xml"/><Relationship Id="rId7" Type="http://schemas.openxmlformats.org/officeDocument/2006/relationships/oleObject" Target="../embeddings/oleObject151.bin"/><Relationship Id="rId2" Type="http://schemas.openxmlformats.org/officeDocument/2006/relationships/tags" Target="../tags/tag257.xml"/><Relationship Id="rId1" Type="http://schemas.openxmlformats.org/officeDocument/2006/relationships/vmlDrawing" Target="../drawings/vmlDrawing155.vml"/><Relationship Id="rId6" Type="http://schemas.openxmlformats.org/officeDocument/2006/relationships/notesSlide" Target="../notesSlides/notesSlide8.xml"/><Relationship Id="rId5" Type="http://schemas.openxmlformats.org/officeDocument/2006/relationships/slideLayout" Target="../slideLayouts/slideLayout30.xml"/><Relationship Id="rId4" Type="http://schemas.openxmlformats.org/officeDocument/2006/relationships/tags" Target="../tags/tag259.xml"/><Relationship Id="rId9" Type="http://schemas.openxmlformats.org/officeDocument/2006/relationships/image" Target="../media/image25.jpg"/></Relationships>
</file>

<file path=ppt/slides/_rels/slide18.xml.rels><?xml version="1.0" encoding="UTF-8" standalone="yes"?>
<Relationships xmlns="http://schemas.openxmlformats.org/package/2006/relationships"><Relationship Id="rId8" Type="http://schemas.openxmlformats.org/officeDocument/2006/relationships/tags" Target="../tags/tag266.xml"/><Relationship Id="rId3" Type="http://schemas.openxmlformats.org/officeDocument/2006/relationships/tags" Target="../tags/tag261.xml"/><Relationship Id="rId7" Type="http://schemas.openxmlformats.org/officeDocument/2006/relationships/tags" Target="../tags/tag265.xml"/><Relationship Id="rId2" Type="http://schemas.openxmlformats.org/officeDocument/2006/relationships/tags" Target="../tags/tag260.xml"/><Relationship Id="rId1" Type="http://schemas.openxmlformats.org/officeDocument/2006/relationships/vmlDrawing" Target="../drawings/vmlDrawing156.vml"/><Relationship Id="rId6" Type="http://schemas.openxmlformats.org/officeDocument/2006/relationships/tags" Target="../tags/tag264.xml"/><Relationship Id="rId11" Type="http://schemas.openxmlformats.org/officeDocument/2006/relationships/image" Target="../media/image15.emf"/><Relationship Id="rId5" Type="http://schemas.openxmlformats.org/officeDocument/2006/relationships/tags" Target="../tags/tag263.xml"/><Relationship Id="rId10" Type="http://schemas.openxmlformats.org/officeDocument/2006/relationships/oleObject" Target="../embeddings/oleObject152.bin"/><Relationship Id="rId4" Type="http://schemas.openxmlformats.org/officeDocument/2006/relationships/tags" Target="../tags/tag262.xml"/><Relationship Id="rId9"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67.xml"/><Relationship Id="rId1" Type="http://schemas.openxmlformats.org/officeDocument/2006/relationships/vmlDrawing" Target="../drawings/vmlDrawing157.vml"/><Relationship Id="rId6" Type="http://schemas.openxmlformats.org/officeDocument/2006/relationships/image" Target="../media/image4.emf"/><Relationship Id="rId5" Type="http://schemas.openxmlformats.org/officeDocument/2006/relationships/oleObject" Target="../embeddings/oleObject153.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tags" Target="../tags/tag218.xml"/><Relationship Id="rId7" Type="http://schemas.openxmlformats.org/officeDocument/2006/relationships/image" Target="../media/image15.emf"/><Relationship Id="rId2" Type="http://schemas.openxmlformats.org/officeDocument/2006/relationships/tags" Target="../tags/tag217.xml"/><Relationship Id="rId1" Type="http://schemas.openxmlformats.org/officeDocument/2006/relationships/vmlDrawing" Target="../drawings/vmlDrawing140.vml"/><Relationship Id="rId6" Type="http://schemas.openxmlformats.org/officeDocument/2006/relationships/oleObject" Target="../embeddings/oleObject140.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141.vml"/><Relationship Id="rId6" Type="http://schemas.openxmlformats.org/officeDocument/2006/relationships/image" Target="../media/image15.emf"/><Relationship Id="rId5" Type="http://schemas.openxmlformats.org/officeDocument/2006/relationships/oleObject" Target="../embeddings/oleObject141.bin"/><Relationship Id="rId4"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image" Target="../media/image20.jpeg"/><Relationship Id="rId3" Type="http://schemas.openxmlformats.org/officeDocument/2006/relationships/tags" Target="../tags/tag222.xml"/><Relationship Id="rId7" Type="http://schemas.openxmlformats.org/officeDocument/2006/relationships/oleObject" Target="../embeddings/oleObject142.bin"/><Relationship Id="rId12" Type="http://schemas.openxmlformats.org/officeDocument/2006/relationships/image" Target="../media/image19.png"/><Relationship Id="rId2" Type="http://schemas.openxmlformats.org/officeDocument/2006/relationships/tags" Target="../tags/tag221.xml"/><Relationship Id="rId1" Type="http://schemas.openxmlformats.org/officeDocument/2006/relationships/vmlDrawing" Target="../drawings/vmlDrawing142.vml"/><Relationship Id="rId6" Type="http://schemas.openxmlformats.org/officeDocument/2006/relationships/notesSlide" Target="../notesSlides/notesSlide3.xml"/><Relationship Id="rId11" Type="http://schemas.openxmlformats.org/officeDocument/2006/relationships/image" Target="../media/image18.png"/><Relationship Id="rId5" Type="http://schemas.openxmlformats.org/officeDocument/2006/relationships/slideLayout" Target="../slideLayouts/slideLayout30.xml"/><Relationship Id="rId10" Type="http://schemas.openxmlformats.org/officeDocument/2006/relationships/image" Target="../media/image17.png"/><Relationship Id="rId4" Type="http://schemas.openxmlformats.org/officeDocument/2006/relationships/tags" Target="../tags/tag223.xml"/><Relationship Id="rId9" Type="http://schemas.openxmlformats.org/officeDocument/2006/relationships/image" Target="../media/image16.png"/><Relationship Id="rId14" Type="http://schemas.openxmlformats.org/officeDocument/2006/relationships/image" Target="../media/image21.jpeg"/></Relationships>
</file>

<file path=ppt/slides/_rels/slide5.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43.vml"/><Relationship Id="rId6" Type="http://schemas.openxmlformats.org/officeDocument/2006/relationships/image" Target="../media/image15.emf"/><Relationship Id="rId5" Type="http://schemas.openxmlformats.org/officeDocument/2006/relationships/oleObject" Target="../embeddings/oleObject143.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144.vml"/><Relationship Id="rId6" Type="http://schemas.openxmlformats.org/officeDocument/2006/relationships/image" Target="../media/image15.emf"/><Relationship Id="rId5" Type="http://schemas.openxmlformats.org/officeDocument/2006/relationships/oleObject" Target="../embeddings/oleObject144.bin"/><Relationship Id="rId4"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229.xml"/><Relationship Id="rId7" Type="http://schemas.openxmlformats.org/officeDocument/2006/relationships/oleObject" Target="../embeddings/oleObject145.bin"/><Relationship Id="rId2" Type="http://schemas.openxmlformats.org/officeDocument/2006/relationships/tags" Target="../tags/tag228.xml"/><Relationship Id="rId1" Type="http://schemas.openxmlformats.org/officeDocument/2006/relationships/vmlDrawing" Target="../drawings/vmlDrawing145.vml"/><Relationship Id="rId6" Type="http://schemas.openxmlformats.org/officeDocument/2006/relationships/notesSlide" Target="../notesSlides/notesSlide4.xml"/><Relationship Id="rId5" Type="http://schemas.openxmlformats.org/officeDocument/2006/relationships/slideLayout" Target="../slideLayouts/slideLayout30.xml"/><Relationship Id="rId4" Type="http://schemas.openxmlformats.org/officeDocument/2006/relationships/tags" Target="../tags/tag230.xml"/></Relationships>
</file>

<file path=ppt/slides/_rels/slide8.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5.emf"/><Relationship Id="rId2" Type="http://schemas.openxmlformats.org/officeDocument/2006/relationships/tags" Target="../tags/tag231.xml"/><Relationship Id="rId1" Type="http://schemas.openxmlformats.org/officeDocument/2006/relationships/vmlDrawing" Target="../drawings/vmlDrawing146.vml"/><Relationship Id="rId6" Type="http://schemas.openxmlformats.org/officeDocument/2006/relationships/oleObject" Target="../embeddings/oleObject14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vmlDrawing" Target="../drawings/vmlDrawing147.vml"/><Relationship Id="rId6" Type="http://schemas.openxmlformats.org/officeDocument/2006/relationships/image" Target="../media/image22.emf"/><Relationship Id="rId5" Type="http://schemas.openxmlformats.org/officeDocument/2006/relationships/oleObject" Target="../embeddings/oleObject147.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8" name="think-cell Slide" r:id="rId5" imgW="383" imgH="384" progId="TCLayout.ActiveDocument.1">
                  <p:embed/>
                </p:oleObj>
              </mc:Choice>
              <mc:Fallback>
                <p:oleObj name="think-cell Slide" r:id="rId5" imgW="383" imgH="38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A3FA93B-81D5-43AF-9B49-1DB4D96DEDB8}"/>
              </a:ext>
            </a:extLst>
          </p:cNvPr>
          <p:cNvSpPr>
            <a:spLocks noGrp="1"/>
          </p:cNvSpPr>
          <p:nvPr>
            <p:ph type="ctrTitle"/>
          </p:nvPr>
        </p:nvSpPr>
        <p:spPr/>
        <p:txBody>
          <a:bodyPr vert="horz"/>
          <a:lstStyle/>
          <a:p>
            <a:r>
              <a:rPr lang="en-US" dirty="0"/>
              <a:t>National Grid: </a:t>
            </a:r>
            <a:br>
              <a:rPr lang="en-US" sz="3200" i="1" dirty="0">
                <a:solidFill>
                  <a:srgbClr val="FFB45A"/>
                </a:solidFill>
              </a:rPr>
            </a:br>
            <a:r>
              <a:rPr lang="en-US" sz="3200" i="1" dirty="0">
                <a:solidFill>
                  <a:srgbClr val="FFB45A"/>
                </a:solidFill>
              </a:rPr>
              <a:t>Digital Sustainability</a:t>
            </a:r>
            <a:endParaRPr lang="en-US" i="1" dirty="0">
              <a:solidFill>
                <a:srgbClr val="FFB45A"/>
              </a:solidFill>
            </a:endParaRPr>
          </a:p>
        </p:txBody>
      </p:sp>
      <p:sp>
        <p:nvSpPr>
          <p:cNvPr id="9" name="Text Placeholder 8">
            <a:extLst>
              <a:ext uri="{FF2B5EF4-FFF2-40B4-BE49-F238E27FC236}">
                <a16:creationId xmlns:a16="http://schemas.microsoft.com/office/drawing/2014/main" id="{BA853488-CD88-433C-9B2C-9B0AF0F2FFCF}"/>
              </a:ext>
            </a:extLst>
          </p:cNvPr>
          <p:cNvSpPr>
            <a:spLocks noGrp="1"/>
          </p:cNvSpPr>
          <p:nvPr>
            <p:ph type="body" sz="quarter" idx="10"/>
          </p:nvPr>
        </p:nvSpPr>
        <p:spPr>
          <a:xfrm>
            <a:off x="629999" y="3467400"/>
            <a:ext cx="7740712" cy="374718"/>
          </a:xfrm>
        </p:spPr>
        <p:txBody>
          <a:bodyPr/>
          <a:lstStyle/>
          <a:p>
            <a:pPr>
              <a:buNone/>
            </a:pPr>
            <a:r>
              <a:rPr lang="en-US" i="1" dirty="0">
                <a:solidFill>
                  <a:srgbClr val="FFB45A"/>
                </a:solidFill>
              </a:rPr>
              <a:t>Digital product model</a:t>
            </a:r>
            <a:br>
              <a:rPr lang="en-US" i="1" dirty="0">
                <a:solidFill>
                  <a:srgbClr val="FFB45A"/>
                </a:solidFill>
              </a:rPr>
            </a:br>
            <a:r>
              <a:rPr lang="en-US" i="1" dirty="0">
                <a:solidFill>
                  <a:srgbClr val="FFB45A"/>
                </a:solidFill>
              </a:rPr>
              <a:t>Executive summary – </a:t>
            </a:r>
            <a:r>
              <a:rPr lang="en-US" i="1" dirty="0">
                <a:solidFill>
                  <a:srgbClr val="FF0000"/>
                </a:solidFill>
                <a:highlight>
                  <a:srgbClr val="FFFF00"/>
                </a:highlight>
              </a:rPr>
              <a:t>amended to focus on data</a:t>
            </a:r>
            <a:endParaRPr lang="en-US" dirty="0">
              <a:solidFill>
                <a:srgbClr val="FF0000"/>
              </a:solidFill>
              <a:highlight>
                <a:srgbClr val="FFFF00"/>
              </a:highlight>
            </a:endParaRPr>
          </a:p>
        </p:txBody>
      </p:sp>
      <p:sp>
        <p:nvSpPr>
          <p:cNvPr id="10" name="Text Placeholder 9">
            <a:extLst>
              <a:ext uri="{FF2B5EF4-FFF2-40B4-BE49-F238E27FC236}">
                <a16:creationId xmlns:a16="http://schemas.microsoft.com/office/drawing/2014/main" id="{5106158E-07F4-4519-9899-126E37E07EB3}"/>
              </a:ext>
            </a:extLst>
          </p:cNvPr>
          <p:cNvSpPr>
            <a:spLocks noGrp="1"/>
          </p:cNvSpPr>
          <p:nvPr>
            <p:ph type="body" sz="quarter" idx="11"/>
          </p:nvPr>
        </p:nvSpPr>
        <p:spPr>
          <a:xfrm>
            <a:off x="630000" y="4384515"/>
            <a:ext cx="5378452" cy="374718"/>
          </a:xfrm>
        </p:spPr>
        <p:txBody>
          <a:bodyPr/>
          <a:lstStyle/>
          <a:p>
            <a:r>
              <a:rPr lang="en-US" dirty="0"/>
              <a:t>August 2021</a:t>
            </a:r>
          </a:p>
        </p:txBody>
      </p:sp>
      <p:sp>
        <p:nvSpPr>
          <p:cNvPr id="3" name="TextBox 2">
            <a:extLst>
              <a:ext uri="{FF2B5EF4-FFF2-40B4-BE49-F238E27FC236}">
                <a16:creationId xmlns:a16="http://schemas.microsoft.com/office/drawing/2014/main" id="{0FFC3777-9C53-2540-B6FE-0331C548D6F4}"/>
              </a:ext>
            </a:extLst>
          </p:cNvPr>
          <p:cNvSpPr txBox="1"/>
          <p:nvPr/>
        </p:nvSpPr>
        <p:spPr>
          <a:xfrm>
            <a:off x="1552353" y="53162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 name="TextBox 3">
            <a:extLst>
              <a:ext uri="{FF2B5EF4-FFF2-40B4-BE49-F238E27FC236}">
                <a16:creationId xmlns:a16="http://schemas.microsoft.com/office/drawing/2014/main" id="{DEA8C282-FC2B-384B-A387-221DF5005C0F}"/>
              </a:ext>
            </a:extLst>
          </p:cNvPr>
          <p:cNvSpPr txBox="1"/>
          <p:nvPr/>
        </p:nvSpPr>
        <p:spPr>
          <a:xfrm>
            <a:off x="1197864" y="49377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Tree>
    <p:extLst>
      <p:ext uri="{BB962C8B-B14F-4D97-AF65-F5344CB8AC3E}">
        <p14:creationId xmlns:p14="http://schemas.microsoft.com/office/powerpoint/2010/main" val="2581029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067A4C-7B7D-49E0-9F46-FC03DE985B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EA067A4C-7B7D-49E0-9F46-FC03DE985B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6DC20F-FCAC-4EC5-B7B5-B457F571FC1F}"/>
              </a:ext>
            </a:extLst>
          </p:cNvPr>
          <p:cNvSpPr>
            <a:spLocks noGrp="1"/>
          </p:cNvSpPr>
          <p:nvPr>
            <p:ph type="title"/>
          </p:nvPr>
        </p:nvSpPr>
        <p:spPr>
          <a:xfrm>
            <a:off x="133743" y="92518"/>
            <a:ext cx="10933200" cy="387798"/>
          </a:xfrm>
          <a:prstGeom prst="rect">
            <a:avLst/>
          </a:prstGeom>
        </p:spPr>
        <p:txBody>
          <a:bodyPr vert="horz">
            <a:spAutoFit/>
          </a:bodyPr>
          <a:lstStyle/>
          <a:p>
            <a:r>
              <a:rPr lang="en-GB" sz="2800" dirty="0"/>
              <a:t>Overview of Data Product Breakdown</a:t>
            </a:r>
            <a:endParaRPr lang="en-US" sz="2800" dirty="0"/>
          </a:p>
        </p:txBody>
      </p:sp>
      <p:sp>
        <p:nvSpPr>
          <p:cNvPr id="242" name="NavigationTriangle">
            <a:extLst>
              <a:ext uri="{FF2B5EF4-FFF2-40B4-BE49-F238E27FC236}">
                <a16:creationId xmlns:a16="http://schemas.microsoft.com/office/drawing/2014/main" id="{C60AADA3-A41B-4F4C-8A22-2AF45EAD296C}"/>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4" name="NavigationIcon">
            <a:extLst>
              <a:ext uri="{FF2B5EF4-FFF2-40B4-BE49-F238E27FC236}">
                <a16:creationId xmlns:a16="http://schemas.microsoft.com/office/drawing/2014/main" id="{00685BA9-9A32-433C-BFAD-42B022117507}"/>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5</a:t>
            </a:r>
          </a:p>
        </p:txBody>
      </p:sp>
      <p:sp>
        <p:nvSpPr>
          <p:cNvPr id="10" name="Rectangle: Rounded Corners 9">
            <a:extLst>
              <a:ext uri="{FF2B5EF4-FFF2-40B4-BE49-F238E27FC236}">
                <a16:creationId xmlns:a16="http://schemas.microsoft.com/office/drawing/2014/main" id="{C607E07A-1FAD-428F-99ED-8DBD9A0B2C0B}"/>
              </a:ext>
            </a:extLst>
          </p:cNvPr>
          <p:cNvSpPr/>
          <p:nvPr/>
        </p:nvSpPr>
        <p:spPr>
          <a:xfrm>
            <a:off x="630000" y="666044"/>
            <a:ext cx="2446221" cy="5486399"/>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 Group Data Technology Platform</a:t>
            </a:r>
          </a:p>
        </p:txBody>
      </p:sp>
      <p:sp>
        <p:nvSpPr>
          <p:cNvPr id="393" name="Rectangle: Rounded Corners 392">
            <a:extLst>
              <a:ext uri="{FF2B5EF4-FFF2-40B4-BE49-F238E27FC236}">
                <a16:creationId xmlns:a16="http://schemas.microsoft.com/office/drawing/2014/main" id="{FED75399-E194-4DF8-B07C-70DD80E88EEE}"/>
              </a:ext>
            </a:extLst>
          </p:cNvPr>
          <p:cNvSpPr/>
          <p:nvPr/>
        </p:nvSpPr>
        <p:spPr>
          <a:xfrm>
            <a:off x="3256845" y="679674"/>
            <a:ext cx="4938888" cy="2432755"/>
          </a:xfrm>
          <a:prstGeom prst="roundRect">
            <a:avLst/>
          </a:prstGeom>
          <a:solidFill>
            <a:schemeClr val="bg2">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 BU Data Cloud</a:t>
            </a:r>
          </a:p>
        </p:txBody>
      </p:sp>
      <p:sp>
        <p:nvSpPr>
          <p:cNvPr id="394" name="Rectangle: Rounded Corners 393">
            <a:extLst>
              <a:ext uri="{FF2B5EF4-FFF2-40B4-BE49-F238E27FC236}">
                <a16:creationId xmlns:a16="http://schemas.microsoft.com/office/drawing/2014/main" id="{49E5CFA9-0D7C-4011-8195-F1E1C2EC69E9}"/>
              </a:ext>
            </a:extLst>
          </p:cNvPr>
          <p:cNvSpPr/>
          <p:nvPr/>
        </p:nvSpPr>
        <p:spPr>
          <a:xfrm>
            <a:off x="3392312" y="1125586"/>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1 BU Raw Data Cloud</a:t>
            </a:r>
          </a:p>
        </p:txBody>
      </p:sp>
      <p:sp>
        <p:nvSpPr>
          <p:cNvPr id="395" name="Rectangle: Rounded Corners 394">
            <a:extLst>
              <a:ext uri="{FF2B5EF4-FFF2-40B4-BE49-F238E27FC236}">
                <a16:creationId xmlns:a16="http://schemas.microsoft.com/office/drawing/2014/main" id="{C6873743-3D7D-42B5-B63F-A62E5854DAB0}"/>
              </a:ext>
            </a:extLst>
          </p:cNvPr>
          <p:cNvSpPr/>
          <p:nvPr/>
        </p:nvSpPr>
        <p:spPr>
          <a:xfrm>
            <a:off x="5743218" y="1125586"/>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2 BU Enriched Data Cloud</a:t>
            </a:r>
          </a:p>
        </p:txBody>
      </p:sp>
      <p:sp>
        <p:nvSpPr>
          <p:cNvPr id="396" name="Rectangle: Rounded Corners 395">
            <a:extLst>
              <a:ext uri="{FF2B5EF4-FFF2-40B4-BE49-F238E27FC236}">
                <a16:creationId xmlns:a16="http://schemas.microsoft.com/office/drawing/2014/main" id="{FB0DC98D-F25E-43DC-8292-DA16D179A160}"/>
              </a:ext>
            </a:extLst>
          </p:cNvPr>
          <p:cNvSpPr/>
          <p:nvPr/>
        </p:nvSpPr>
        <p:spPr>
          <a:xfrm>
            <a:off x="8232567" y="679674"/>
            <a:ext cx="3262717" cy="2432755"/>
          </a:xfrm>
          <a:prstGeom prst="roundRect">
            <a:avLst/>
          </a:prstGeom>
          <a:solidFill>
            <a:srgbClr val="92D05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 BU Digital/Data Products</a:t>
            </a:r>
          </a:p>
        </p:txBody>
      </p:sp>
      <p:sp>
        <p:nvSpPr>
          <p:cNvPr id="397" name="Rectangle: Rounded Corners 396">
            <a:extLst>
              <a:ext uri="{FF2B5EF4-FFF2-40B4-BE49-F238E27FC236}">
                <a16:creationId xmlns:a16="http://schemas.microsoft.com/office/drawing/2014/main" id="{A9177F33-8F43-4965-A8FD-8EA4095FCBBD}"/>
              </a:ext>
            </a:extLst>
          </p:cNvPr>
          <p:cNvSpPr/>
          <p:nvPr/>
        </p:nvSpPr>
        <p:spPr>
          <a:xfrm>
            <a:off x="8446908" y="1125586"/>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1 BU Digital/Data Product 1</a:t>
            </a:r>
          </a:p>
        </p:txBody>
      </p:sp>
      <p:sp>
        <p:nvSpPr>
          <p:cNvPr id="398" name="Rectangle: Rounded Corners 397">
            <a:extLst>
              <a:ext uri="{FF2B5EF4-FFF2-40B4-BE49-F238E27FC236}">
                <a16:creationId xmlns:a16="http://schemas.microsoft.com/office/drawing/2014/main" id="{3E31A578-B6D1-4FE6-9378-1F9694524EB4}"/>
              </a:ext>
            </a:extLst>
          </p:cNvPr>
          <p:cNvSpPr/>
          <p:nvPr/>
        </p:nvSpPr>
        <p:spPr>
          <a:xfrm>
            <a:off x="8461204" y="1647697"/>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2 BU Digital/Data Product 2</a:t>
            </a:r>
          </a:p>
        </p:txBody>
      </p:sp>
      <p:sp>
        <p:nvSpPr>
          <p:cNvPr id="428" name="Rectangle: Rounded Corners 427">
            <a:extLst>
              <a:ext uri="{FF2B5EF4-FFF2-40B4-BE49-F238E27FC236}">
                <a16:creationId xmlns:a16="http://schemas.microsoft.com/office/drawing/2014/main" id="{A5BA8CBA-2DC4-48DC-B9D1-FB5D76FD6DE8}"/>
              </a:ext>
            </a:extLst>
          </p:cNvPr>
          <p:cNvSpPr/>
          <p:nvPr/>
        </p:nvSpPr>
        <p:spPr>
          <a:xfrm>
            <a:off x="8461204" y="2169808"/>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n BU Digital/Data Product n</a:t>
            </a:r>
          </a:p>
        </p:txBody>
      </p:sp>
      <p:sp>
        <p:nvSpPr>
          <p:cNvPr id="429" name="Rectangle: Rounded Corners 428">
            <a:extLst>
              <a:ext uri="{FF2B5EF4-FFF2-40B4-BE49-F238E27FC236}">
                <a16:creationId xmlns:a16="http://schemas.microsoft.com/office/drawing/2014/main" id="{0A096F00-59A6-4133-856C-021A89A8AD7C}"/>
              </a:ext>
            </a:extLst>
          </p:cNvPr>
          <p:cNvSpPr/>
          <p:nvPr/>
        </p:nvSpPr>
        <p:spPr>
          <a:xfrm>
            <a:off x="3236940" y="3185804"/>
            <a:ext cx="4938888" cy="2432755"/>
          </a:xfrm>
          <a:prstGeom prst="roundRect">
            <a:avLst/>
          </a:prstGeom>
          <a:solidFill>
            <a:schemeClr val="bg2">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 BU Data Cloud</a:t>
            </a:r>
          </a:p>
        </p:txBody>
      </p:sp>
      <p:sp>
        <p:nvSpPr>
          <p:cNvPr id="430" name="Rectangle: Rounded Corners 429">
            <a:extLst>
              <a:ext uri="{FF2B5EF4-FFF2-40B4-BE49-F238E27FC236}">
                <a16:creationId xmlns:a16="http://schemas.microsoft.com/office/drawing/2014/main" id="{32EE3E03-42FA-4C48-B000-E1A38C25DBFA}"/>
              </a:ext>
            </a:extLst>
          </p:cNvPr>
          <p:cNvSpPr/>
          <p:nvPr/>
        </p:nvSpPr>
        <p:spPr>
          <a:xfrm>
            <a:off x="3372407" y="3631716"/>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1 BU Raw Data Cloud</a:t>
            </a:r>
          </a:p>
        </p:txBody>
      </p:sp>
      <p:sp>
        <p:nvSpPr>
          <p:cNvPr id="431" name="Rectangle: Rounded Corners 430">
            <a:extLst>
              <a:ext uri="{FF2B5EF4-FFF2-40B4-BE49-F238E27FC236}">
                <a16:creationId xmlns:a16="http://schemas.microsoft.com/office/drawing/2014/main" id="{3E12B389-A97E-4D49-9075-4B813321D26E}"/>
              </a:ext>
            </a:extLst>
          </p:cNvPr>
          <p:cNvSpPr/>
          <p:nvPr/>
        </p:nvSpPr>
        <p:spPr>
          <a:xfrm>
            <a:off x="5723313" y="3631716"/>
            <a:ext cx="2314072" cy="1755422"/>
          </a:xfrm>
          <a:prstGeom prst="roundRect">
            <a:avLst/>
          </a:prstGeom>
          <a:solidFill>
            <a:schemeClr val="bg2">
              <a:lumMod val="75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2 BU Enriched Data Cloud</a:t>
            </a:r>
          </a:p>
        </p:txBody>
      </p:sp>
      <p:sp>
        <p:nvSpPr>
          <p:cNvPr id="432" name="Rectangle: Rounded Corners 431">
            <a:extLst>
              <a:ext uri="{FF2B5EF4-FFF2-40B4-BE49-F238E27FC236}">
                <a16:creationId xmlns:a16="http://schemas.microsoft.com/office/drawing/2014/main" id="{631CD30A-ACFB-41B1-A919-1959280B1E59}"/>
              </a:ext>
            </a:extLst>
          </p:cNvPr>
          <p:cNvSpPr/>
          <p:nvPr/>
        </p:nvSpPr>
        <p:spPr>
          <a:xfrm>
            <a:off x="8212662" y="3185804"/>
            <a:ext cx="3262717" cy="2432755"/>
          </a:xfrm>
          <a:prstGeom prst="roundRect">
            <a:avLst/>
          </a:prstGeom>
          <a:solidFill>
            <a:srgbClr val="92D05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 BU Digital/Data Products</a:t>
            </a:r>
          </a:p>
        </p:txBody>
      </p:sp>
      <p:sp>
        <p:nvSpPr>
          <p:cNvPr id="433" name="Rectangle: Rounded Corners 432">
            <a:extLst>
              <a:ext uri="{FF2B5EF4-FFF2-40B4-BE49-F238E27FC236}">
                <a16:creationId xmlns:a16="http://schemas.microsoft.com/office/drawing/2014/main" id="{1EB81524-51B6-45C3-AC13-C41B2D6BC443}"/>
              </a:ext>
            </a:extLst>
          </p:cNvPr>
          <p:cNvSpPr/>
          <p:nvPr/>
        </p:nvSpPr>
        <p:spPr>
          <a:xfrm>
            <a:off x="8427003" y="3631716"/>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1 BU Enriched Data Cloud</a:t>
            </a:r>
          </a:p>
        </p:txBody>
      </p:sp>
      <p:sp>
        <p:nvSpPr>
          <p:cNvPr id="434" name="Rectangle: Rounded Corners 433">
            <a:extLst>
              <a:ext uri="{FF2B5EF4-FFF2-40B4-BE49-F238E27FC236}">
                <a16:creationId xmlns:a16="http://schemas.microsoft.com/office/drawing/2014/main" id="{6CFFFE4D-19D8-4AEB-94E1-FDF726BE74AE}"/>
              </a:ext>
            </a:extLst>
          </p:cNvPr>
          <p:cNvSpPr/>
          <p:nvPr/>
        </p:nvSpPr>
        <p:spPr>
          <a:xfrm>
            <a:off x="8441299" y="4153827"/>
            <a:ext cx="2909716" cy="496708"/>
          </a:xfrm>
          <a:prstGeom prst="roundRect">
            <a:avLst/>
          </a:prstGeom>
          <a:solidFill>
            <a:schemeClr val="bg2">
              <a:lumMod val="75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2 BU Enriched Data Cloud</a:t>
            </a:r>
          </a:p>
        </p:txBody>
      </p:sp>
      <p:sp>
        <p:nvSpPr>
          <p:cNvPr id="435" name="Rectangle: Rounded Corners 434">
            <a:extLst>
              <a:ext uri="{FF2B5EF4-FFF2-40B4-BE49-F238E27FC236}">
                <a16:creationId xmlns:a16="http://schemas.microsoft.com/office/drawing/2014/main" id="{41310754-A549-4908-8EF4-53D5F9EBC2FB}"/>
              </a:ext>
            </a:extLst>
          </p:cNvPr>
          <p:cNvSpPr/>
          <p:nvPr/>
        </p:nvSpPr>
        <p:spPr>
          <a:xfrm>
            <a:off x="8441299" y="4675938"/>
            <a:ext cx="2909716" cy="496708"/>
          </a:xfrm>
          <a:prstGeom prst="roundRect">
            <a:avLst/>
          </a:prstGeom>
          <a:solidFill>
            <a:schemeClr val="bg2">
              <a:lumMod val="75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n BU Enriched Data Cloud</a:t>
            </a:r>
          </a:p>
        </p:txBody>
      </p:sp>
      <p:sp>
        <p:nvSpPr>
          <p:cNvPr id="437" name="Rectangle: Rounded Corners 436">
            <a:extLst>
              <a:ext uri="{FF2B5EF4-FFF2-40B4-BE49-F238E27FC236}">
                <a16:creationId xmlns:a16="http://schemas.microsoft.com/office/drawing/2014/main" id="{FFF7DA40-7F3F-42B3-9E39-98B72030D241}"/>
              </a:ext>
            </a:extLst>
          </p:cNvPr>
          <p:cNvSpPr/>
          <p:nvPr/>
        </p:nvSpPr>
        <p:spPr>
          <a:xfrm>
            <a:off x="3440136" y="3439796"/>
            <a:ext cx="4938888" cy="2432755"/>
          </a:xfrm>
          <a:prstGeom prst="roundRect">
            <a:avLst/>
          </a:prstGeom>
          <a:solidFill>
            <a:schemeClr val="bg2">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 BU Data Cloud</a:t>
            </a:r>
          </a:p>
        </p:txBody>
      </p:sp>
      <p:sp>
        <p:nvSpPr>
          <p:cNvPr id="438" name="Rectangle: Rounded Corners 437">
            <a:extLst>
              <a:ext uri="{FF2B5EF4-FFF2-40B4-BE49-F238E27FC236}">
                <a16:creationId xmlns:a16="http://schemas.microsoft.com/office/drawing/2014/main" id="{5521AE2C-1B2E-4706-B99F-062697E65574}"/>
              </a:ext>
            </a:extLst>
          </p:cNvPr>
          <p:cNvSpPr/>
          <p:nvPr/>
        </p:nvSpPr>
        <p:spPr>
          <a:xfrm>
            <a:off x="3591876" y="3885708"/>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1 BU Raw Data Cloud</a:t>
            </a:r>
          </a:p>
        </p:txBody>
      </p:sp>
      <p:sp>
        <p:nvSpPr>
          <p:cNvPr id="439" name="Rectangle: Rounded Corners 438">
            <a:extLst>
              <a:ext uri="{FF2B5EF4-FFF2-40B4-BE49-F238E27FC236}">
                <a16:creationId xmlns:a16="http://schemas.microsoft.com/office/drawing/2014/main" id="{5849EB9B-FB3B-4516-AE30-A2A9E6073AF6}"/>
              </a:ext>
            </a:extLst>
          </p:cNvPr>
          <p:cNvSpPr/>
          <p:nvPr/>
        </p:nvSpPr>
        <p:spPr>
          <a:xfrm>
            <a:off x="5926509" y="3885708"/>
            <a:ext cx="2314072" cy="1755422"/>
          </a:xfrm>
          <a:prstGeom prst="roundRect">
            <a:avLst/>
          </a:prstGeom>
          <a:solidFill>
            <a:schemeClr val="bg2">
              <a:lumMod val="75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2 BU Enriched Data Cloud</a:t>
            </a:r>
          </a:p>
        </p:txBody>
      </p:sp>
      <p:sp>
        <p:nvSpPr>
          <p:cNvPr id="440" name="Rectangle: Rounded Corners 439">
            <a:extLst>
              <a:ext uri="{FF2B5EF4-FFF2-40B4-BE49-F238E27FC236}">
                <a16:creationId xmlns:a16="http://schemas.microsoft.com/office/drawing/2014/main" id="{7B7342F0-7CE8-4784-A8A4-680E7C257ABE}"/>
              </a:ext>
            </a:extLst>
          </p:cNvPr>
          <p:cNvSpPr/>
          <p:nvPr/>
        </p:nvSpPr>
        <p:spPr>
          <a:xfrm>
            <a:off x="8415858" y="3439796"/>
            <a:ext cx="3262717" cy="2432755"/>
          </a:xfrm>
          <a:prstGeom prst="roundRect">
            <a:avLst/>
          </a:prstGeom>
          <a:solidFill>
            <a:srgbClr val="92D05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 BU Digital/Data Products</a:t>
            </a:r>
          </a:p>
        </p:txBody>
      </p:sp>
      <p:sp>
        <p:nvSpPr>
          <p:cNvPr id="441" name="Rectangle: Rounded Corners 440">
            <a:extLst>
              <a:ext uri="{FF2B5EF4-FFF2-40B4-BE49-F238E27FC236}">
                <a16:creationId xmlns:a16="http://schemas.microsoft.com/office/drawing/2014/main" id="{7F72DC1C-ACB6-4F70-AA1B-38658108593F}"/>
              </a:ext>
            </a:extLst>
          </p:cNvPr>
          <p:cNvSpPr/>
          <p:nvPr/>
        </p:nvSpPr>
        <p:spPr>
          <a:xfrm>
            <a:off x="8630199" y="3885708"/>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1 BU Enriched Data Cloud</a:t>
            </a:r>
          </a:p>
        </p:txBody>
      </p:sp>
      <p:sp>
        <p:nvSpPr>
          <p:cNvPr id="442" name="Rectangle: Rounded Corners 441">
            <a:extLst>
              <a:ext uri="{FF2B5EF4-FFF2-40B4-BE49-F238E27FC236}">
                <a16:creationId xmlns:a16="http://schemas.microsoft.com/office/drawing/2014/main" id="{CA3ACA07-25EC-4445-A93A-ADA14F28007B}"/>
              </a:ext>
            </a:extLst>
          </p:cNvPr>
          <p:cNvSpPr/>
          <p:nvPr/>
        </p:nvSpPr>
        <p:spPr>
          <a:xfrm>
            <a:off x="8644495" y="4407819"/>
            <a:ext cx="2909716" cy="496708"/>
          </a:xfrm>
          <a:prstGeom prst="roundRect">
            <a:avLst/>
          </a:prstGeom>
          <a:solidFill>
            <a:schemeClr val="bg2">
              <a:lumMod val="75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2 BU Enriched Data Cloud</a:t>
            </a:r>
          </a:p>
        </p:txBody>
      </p:sp>
      <p:sp>
        <p:nvSpPr>
          <p:cNvPr id="443" name="Rectangle: Rounded Corners 442">
            <a:extLst>
              <a:ext uri="{FF2B5EF4-FFF2-40B4-BE49-F238E27FC236}">
                <a16:creationId xmlns:a16="http://schemas.microsoft.com/office/drawing/2014/main" id="{13A387E3-2CE0-4375-AAA2-C875438D9201}"/>
              </a:ext>
            </a:extLst>
          </p:cNvPr>
          <p:cNvSpPr/>
          <p:nvPr/>
        </p:nvSpPr>
        <p:spPr>
          <a:xfrm>
            <a:off x="8644495" y="4929930"/>
            <a:ext cx="2909716" cy="496708"/>
          </a:xfrm>
          <a:prstGeom prst="roundRect">
            <a:avLst/>
          </a:prstGeom>
          <a:solidFill>
            <a:schemeClr val="bg2">
              <a:lumMod val="75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n BU Enriched Data Cloud</a:t>
            </a:r>
          </a:p>
        </p:txBody>
      </p:sp>
      <p:sp>
        <p:nvSpPr>
          <p:cNvPr id="445" name="Rectangle: Rounded Corners 444">
            <a:extLst>
              <a:ext uri="{FF2B5EF4-FFF2-40B4-BE49-F238E27FC236}">
                <a16:creationId xmlns:a16="http://schemas.microsoft.com/office/drawing/2014/main" id="{88972230-C88B-459F-99A7-ABEE22501CD0}"/>
              </a:ext>
            </a:extLst>
          </p:cNvPr>
          <p:cNvSpPr/>
          <p:nvPr/>
        </p:nvSpPr>
        <p:spPr>
          <a:xfrm>
            <a:off x="3660264" y="3727652"/>
            <a:ext cx="4938888" cy="2432755"/>
          </a:xfrm>
          <a:prstGeom prst="roundRect">
            <a:avLst/>
          </a:prstGeom>
          <a:solidFill>
            <a:schemeClr val="bg2">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 BU Data Cloud</a:t>
            </a:r>
          </a:p>
        </p:txBody>
      </p:sp>
      <p:sp>
        <p:nvSpPr>
          <p:cNvPr id="446" name="Rectangle: Rounded Corners 445">
            <a:extLst>
              <a:ext uri="{FF2B5EF4-FFF2-40B4-BE49-F238E27FC236}">
                <a16:creationId xmlns:a16="http://schemas.microsoft.com/office/drawing/2014/main" id="{802917CC-BAC4-48BC-ABB8-0E819D10F9E6}"/>
              </a:ext>
            </a:extLst>
          </p:cNvPr>
          <p:cNvSpPr/>
          <p:nvPr/>
        </p:nvSpPr>
        <p:spPr>
          <a:xfrm>
            <a:off x="3812004" y="4173564"/>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1 BU Raw Data Cloud</a:t>
            </a:r>
          </a:p>
        </p:txBody>
      </p:sp>
      <p:sp>
        <p:nvSpPr>
          <p:cNvPr id="447" name="Rectangle: Rounded Corners 446">
            <a:extLst>
              <a:ext uri="{FF2B5EF4-FFF2-40B4-BE49-F238E27FC236}">
                <a16:creationId xmlns:a16="http://schemas.microsoft.com/office/drawing/2014/main" id="{97BB3525-624E-4B33-9A37-32488351C407}"/>
              </a:ext>
            </a:extLst>
          </p:cNvPr>
          <p:cNvSpPr/>
          <p:nvPr/>
        </p:nvSpPr>
        <p:spPr>
          <a:xfrm>
            <a:off x="6146637" y="4173564"/>
            <a:ext cx="2314072" cy="1755422"/>
          </a:xfrm>
          <a:prstGeom prst="roundRect">
            <a:avLst/>
          </a:prstGeom>
          <a:solidFill>
            <a:schemeClr val="bg2">
              <a:lumMod val="75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2 BU Enriched Data Cloud</a:t>
            </a:r>
          </a:p>
        </p:txBody>
      </p:sp>
      <p:sp>
        <p:nvSpPr>
          <p:cNvPr id="448" name="Rectangle: Rounded Corners 447">
            <a:extLst>
              <a:ext uri="{FF2B5EF4-FFF2-40B4-BE49-F238E27FC236}">
                <a16:creationId xmlns:a16="http://schemas.microsoft.com/office/drawing/2014/main" id="{CB2D763A-E714-4EEE-A10D-F2ADF5CD7C6F}"/>
              </a:ext>
            </a:extLst>
          </p:cNvPr>
          <p:cNvSpPr/>
          <p:nvPr/>
        </p:nvSpPr>
        <p:spPr>
          <a:xfrm>
            <a:off x="8635986" y="3727652"/>
            <a:ext cx="3262717" cy="2432755"/>
          </a:xfrm>
          <a:prstGeom prst="roundRect">
            <a:avLst/>
          </a:prstGeom>
          <a:solidFill>
            <a:srgbClr val="92D05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 BU Digital/Data Products</a:t>
            </a:r>
          </a:p>
        </p:txBody>
      </p:sp>
      <p:sp>
        <p:nvSpPr>
          <p:cNvPr id="449" name="Rectangle: Rounded Corners 448">
            <a:extLst>
              <a:ext uri="{FF2B5EF4-FFF2-40B4-BE49-F238E27FC236}">
                <a16:creationId xmlns:a16="http://schemas.microsoft.com/office/drawing/2014/main" id="{3D6FDF86-25AB-4D09-A1BB-D760FB098FB6}"/>
              </a:ext>
            </a:extLst>
          </p:cNvPr>
          <p:cNvSpPr/>
          <p:nvPr/>
        </p:nvSpPr>
        <p:spPr>
          <a:xfrm>
            <a:off x="8850327" y="4173564"/>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1 BU Enriched Data Cloud</a:t>
            </a:r>
          </a:p>
        </p:txBody>
      </p:sp>
      <p:sp>
        <p:nvSpPr>
          <p:cNvPr id="450" name="Rectangle: Rounded Corners 449">
            <a:extLst>
              <a:ext uri="{FF2B5EF4-FFF2-40B4-BE49-F238E27FC236}">
                <a16:creationId xmlns:a16="http://schemas.microsoft.com/office/drawing/2014/main" id="{39910264-A4A7-49BB-BFD8-C8E205FFBD0B}"/>
              </a:ext>
            </a:extLst>
          </p:cNvPr>
          <p:cNvSpPr/>
          <p:nvPr/>
        </p:nvSpPr>
        <p:spPr>
          <a:xfrm>
            <a:off x="8864623" y="4695675"/>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2 BU Enriched Data Cloud</a:t>
            </a:r>
          </a:p>
        </p:txBody>
      </p:sp>
      <p:sp>
        <p:nvSpPr>
          <p:cNvPr id="451" name="Rectangle: Rounded Corners 450">
            <a:extLst>
              <a:ext uri="{FF2B5EF4-FFF2-40B4-BE49-F238E27FC236}">
                <a16:creationId xmlns:a16="http://schemas.microsoft.com/office/drawing/2014/main" id="{C4EF92A3-1885-4983-B9B4-5C880AFA2B66}"/>
              </a:ext>
            </a:extLst>
          </p:cNvPr>
          <p:cNvSpPr/>
          <p:nvPr/>
        </p:nvSpPr>
        <p:spPr>
          <a:xfrm>
            <a:off x="8864623" y="5217786"/>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n BU Enriched Data Cloud</a:t>
            </a:r>
          </a:p>
        </p:txBody>
      </p:sp>
      <p:sp>
        <p:nvSpPr>
          <p:cNvPr id="453" name="Rectangle: Rounded Corners 452">
            <a:extLst>
              <a:ext uri="{FF2B5EF4-FFF2-40B4-BE49-F238E27FC236}">
                <a16:creationId xmlns:a16="http://schemas.microsoft.com/office/drawing/2014/main" id="{FC901DF2-CBCC-47C5-BCA0-807FC926FA43}"/>
              </a:ext>
            </a:extLst>
          </p:cNvPr>
          <p:cNvSpPr/>
          <p:nvPr/>
        </p:nvSpPr>
        <p:spPr>
          <a:xfrm>
            <a:off x="3965066" y="3998594"/>
            <a:ext cx="4938888" cy="2432755"/>
          </a:xfrm>
          <a:prstGeom prst="roundRect">
            <a:avLst/>
          </a:prstGeom>
          <a:solidFill>
            <a:schemeClr val="bg2">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 BU Data Cloud</a:t>
            </a:r>
          </a:p>
        </p:txBody>
      </p:sp>
      <p:sp>
        <p:nvSpPr>
          <p:cNvPr id="454" name="Rectangle: Rounded Corners 453">
            <a:extLst>
              <a:ext uri="{FF2B5EF4-FFF2-40B4-BE49-F238E27FC236}">
                <a16:creationId xmlns:a16="http://schemas.microsoft.com/office/drawing/2014/main" id="{183F9314-9994-4068-B918-C4DDAE7945E8}"/>
              </a:ext>
            </a:extLst>
          </p:cNvPr>
          <p:cNvSpPr/>
          <p:nvPr/>
        </p:nvSpPr>
        <p:spPr>
          <a:xfrm>
            <a:off x="4116806" y="4444506"/>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1 BU Raw Data Cloud</a:t>
            </a:r>
          </a:p>
        </p:txBody>
      </p:sp>
      <p:sp>
        <p:nvSpPr>
          <p:cNvPr id="455" name="Rectangle: Rounded Corners 454">
            <a:extLst>
              <a:ext uri="{FF2B5EF4-FFF2-40B4-BE49-F238E27FC236}">
                <a16:creationId xmlns:a16="http://schemas.microsoft.com/office/drawing/2014/main" id="{6E1C1449-F73C-4F10-AF8C-F7D9C088CC4D}"/>
              </a:ext>
            </a:extLst>
          </p:cNvPr>
          <p:cNvSpPr/>
          <p:nvPr/>
        </p:nvSpPr>
        <p:spPr>
          <a:xfrm>
            <a:off x="6467712" y="4444506"/>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2 BU Enriched Data Cloud</a:t>
            </a:r>
          </a:p>
        </p:txBody>
      </p:sp>
      <p:sp>
        <p:nvSpPr>
          <p:cNvPr id="456" name="Rectangle: Rounded Corners 455">
            <a:extLst>
              <a:ext uri="{FF2B5EF4-FFF2-40B4-BE49-F238E27FC236}">
                <a16:creationId xmlns:a16="http://schemas.microsoft.com/office/drawing/2014/main" id="{4D0D6A12-25DD-4F58-AD96-3B5187EB04B7}"/>
              </a:ext>
            </a:extLst>
          </p:cNvPr>
          <p:cNvSpPr/>
          <p:nvPr/>
        </p:nvSpPr>
        <p:spPr>
          <a:xfrm>
            <a:off x="8940788" y="3998594"/>
            <a:ext cx="3262717" cy="2432755"/>
          </a:xfrm>
          <a:prstGeom prst="roundRect">
            <a:avLst/>
          </a:prstGeom>
          <a:solidFill>
            <a:srgbClr val="92D05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 BU Digital/Data Products</a:t>
            </a:r>
          </a:p>
        </p:txBody>
      </p:sp>
      <p:sp>
        <p:nvSpPr>
          <p:cNvPr id="524" name="Rectangle: Rounded Corners 523">
            <a:extLst>
              <a:ext uri="{FF2B5EF4-FFF2-40B4-BE49-F238E27FC236}">
                <a16:creationId xmlns:a16="http://schemas.microsoft.com/office/drawing/2014/main" id="{A8BB8FF7-9219-4BEB-9550-980471C2AC00}"/>
              </a:ext>
            </a:extLst>
          </p:cNvPr>
          <p:cNvSpPr/>
          <p:nvPr/>
        </p:nvSpPr>
        <p:spPr>
          <a:xfrm>
            <a:off x="9155129" y="4444506"/>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1 BU Digital/Data Product 1</a:t>
            </a:r>
          </a:p>
        </p:txBody>
      </p:sp>
      <p:sp>
        <p:nvSpPr>
          <p:cNvPr id="525" name="Rectangle: Rounded Corners 524">
            <a:extLst>
              <a:ext uri="{FF2B5EF4-FFF2-40B4-BE49-F238E27FC236}">
                <a16:creationId xmlns:a16="http://schemas.microsoft.com/office/drawing/2014/main" id="{DE6B2E06-6D22-4434-859B-8D2507E7E4CB}"/>
              </a:ext>
            </a:extLst>
          </p:cNvPr>
          <p:cNvSpPr/>
          <p:nvPr/>
        </p:nvSpPr>
        <p:spPr>
          <a:xfrm>
            <a:off x="9169425" y="4966617"/>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2 BU Digital/Data Product 2</a:t>
            </a:r>
          </a:p>
        </p:txBody>
      </p:sp>
      <p:sp>
        <p:nvSpPr>
          <p:cNvPr id="526" name="Rectangle: Rounded Corners 525">
            <a:extLst>
              <a:ext uri="{FF2B5EF4-FFF2-40B4-BE49-F238E27FC236}">
                <a16:creationId xmlns:a16="http://schemas.microsoft.com/office/drawing/2014/main" id="{5B861099-8FAC-4906-9D10-743724907310}"/>
              </a:ext>
            </a:extLst>
          </p:cNvPr>
          <p:cNvSpPr/>
          <p:nvPr/>
        </p:nvSpPr>
        <p:spPr>
          <a:xfrm>
            <a:off x="9169425" y="5488728"/>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n BU Digital/Data Product n</a:t>
            </a:r>
          </a:p>
        </p:txBody>
      </p:sp>
      <p:sp>
        <p:nvSpPr>
          <p:cNvPr id="527" name="Rectangle: Rounded Corners 526">
            <a:extLst>
              <a:ext uri="{FF2B5EF4-FFF2-40B4-BE49-F238E27FC236}">
                <a16:creationId xmlns:a16="http://schemas.microsoft.com/office/drawing/2014/main" id="{0E39DFC7-A108-4E3C-924E-73641463FDB4}"/>
              </a:ext>
            </a:extLst>
          </p:cNvPr>
          <p:cNvSpPr/>
          <p:nvPr/>
        </p:nvSpPr>
        <p:spPr>
          <a:xfrm>
            <a:off x="696074" y="1266694"/>
            <a:ext cx="2314072" cy="381003"/>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1 Data Tech 1</a:t>
            </a:r>
          </a:p>
        </p:txBody>
      </p:sp>
      <p:sp>
        <p:nvSpPr>
          <p:cNvPr id="528" name="Rectangle: Rounded Corners 527">
            <a:extLst>
              <a:ext uri="{FF2B5EF4-FFF2-40B4-BE49-F238E27FC236}">
                <a16:creationId xmlns:a16="http://schemas.microsoft.com/office/drawing/2014/main" id="{97E1CD87-9459-4D40-B4FA-D04F7A03E26B}"/>
              </a:ext>
            </a:extLst>
          </p:cNvPr>
          <p:cNvSpPr/>
          <p:nvPr/>
        </p:nvSpPr>
        <p:spPr>
          <a:xfrm>
            <a:off x="696074" y="1713397"/>
            <a:ext cx="2314072" cy="381003"/>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2 Data Tech 2</a:t>
            </a:r>
          </a:p>
        </p:txBody>
      </p:sp>
      <p:sp>
        <p:nvSpPr>
          <p:cNvPr id="529" name="Rectangle: Rounded Corners 528">
            <a:extLst>
              <a:ext uri="{FF2B5EF4-FFF2-40B4-BE49-F238E27FC236}">
                <a16:creationId xmlns:a16="http://schemas.microsoft.com/office/drawing/2014/main" id="{256CBDF2-4993-4265-8925-DE3FD6D9DE92}"/>
              </a:ext>
            </a:extLst>
          </p:cNvPr>
          <p:cNvSpPr/>
          <p:nvPr/>
        </p:nvSpPr>
        <p:spPr>
          <a:xfrm>
            <a:off x="696074" y="2169146"/>
            <a:ext cx="2314072" cy="381003"/>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3 Data Tech 3</a:t>
            </a:r>
          </a:p>
        </p:txBody>
      </p:sp>
      <p:sp>
        <p:nvSpPr>
          <p:cNvPr id="530" name="Rectangle: Rounded Corners 529">
            <a:extLst>
              <a:ext uri="{FF2B5EF4-FFF2-40B4-BE49-F238E27FC236}">
                <a16:creationId xmlns:a16="http://schemas.microsoft.com/office/drawing/2014/main" id="{B4E6995E-922A-4991-BD02-7314970DD98A}"/>
              </a:ext>
            </a:extLst>
          </p:cNvPr>
          <p:cNvSpPr/>
          <p:nvPr/>
        </p:nvSpPr>
        <p:spPr>
          <a:xfrm>
            <a:off x="696074" y="2624895"/>
            <a:ext cx="2314072" cy="381003"/>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4 Data Tech 4</a:t>
            </a:r>
          </a:p>
        </p:txBody>
      </p:sp>
      <p:sp>
        <p:nvSpPr>
          <p:cNvPr id="531" name="Rectangle: Rounded Corners 530">
            <a:extLst>
              <a:ext uri="{FF2B5EF4-FFF2-40B4-BE49-F238E27FC236}">
                <a16:creationId xmlns:a16="http://schemas.microsoft.com/office/drawing/2014/main" id="{E0CCC64E-079F-44F2-82A6-5E3F6A46A8BF}"/>
              </a:ext>
            </a:extLst>
          </p:cNvPr>
          <p:cNvSpPr/>
          <p:nvPr/>
        </p:nvSpPr>
        <p:spPr>
          <a:xfrm>
            <a:off x="696074" y="3080644"/>
            <a:ext cx="2314072" cy="381003"/>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5 Data Tech 5</a:t>
            </a:r>
          </a:p>
        </p:txBody>
      </p:sp>
      <p:sp>
        <p:nvSpPr>
          <p:cNvPr id="532" name="Rectangle: Rounded Corners 531">
            <a:extLst>
              <a:ext uri="{FF2B5EF4-FFF2-40B4-BE49-F238E27FC236}">
                <a16:creationId xmlns:a16="http://schemas.microsoft.com/office/drawing/2014/main" id="{E58BA9E4-8B22-4457-8C32-4499CC22126E}"/>
              </a:ext>
            </a:extLst>
          </p:cNvPr>
          <p:cNvSpPr/>
          <p:nvPr/>
        </p:nvSpPr>
        <p:spPr>
          <a:xfrm>
            <a:off x="708312" y="3514543"/>
            <a:ext cx="2314072" cy="381003"/>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n Data Tech n</a:t>
            </a:r>
          </a:p>
        </p:txBody>
      </p:sp>
    </p:spTree>
    <p:extLst>
      <p:ext uri="{BB962C8B-B14F-4D97-AF65-F5344CB8AC3E}">
        <p14:creationId xmlns:p14="http://schemas.microsoft.com/office/powerpoint/2010/main" val="3476958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067A4C-7B7D-49E0-9F46-FC03DE985B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8"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EA067A4C-7B7D-49E0-9F46-FC03DE985B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6DC20F-FCAC-4EC5-B7B5-B457F571FC1F}"/>
              </a:ext>
            </a:extLst>
          </p:cNvPr>
          <p:cNvSpPr>
            <a:spLocks noGrp="1"/>
          </p:cNvSpPr>
          <p:nvPr>
            <p:ph type="title"/>
          </p:nvPr>
        </p:nvSpPr>
        <p:spPr>
          <a:xfrm>
            <a:off x="133743" y="92518"/>
            <a:ext cx="10933200" cy="387798"/>
          </a:xfrm>
          <a:prstGeom prst="rect">
            <a:avLst/>
          </a:prstGeom>
        </p:spPr>
        <p:txBody>
          <a:bodyPr vert="horz">
            <a:spAutoFit/>
          </a:bodyPr>
          <a:lstStyle/>
          <a:p>
            <a:r>
              <a:rPr lang="en-GB" sz="2800" dirty="0"/>
              <a:t>Overview of Data Product Breakdown</a:t>
            </a:r>
            <a:endParaRPr lang="en-US" sz="2800" dirty="0"/>
          </a:p>
        </p:txBody>
      </p:sp>
      <p:sp>
        <p:nvSpPr>
          <p:cNvPr id="242" name="NavigationTriangle">
            <a:extLst>
              <a:ext uri="{FF2B5EF4-FFF2-40B4-BE49-F238E27FC236}">
                <a16:creationId xmlns:a16="http://schemas.microsoft.com/office/drawing/2014/main" id="{C60AADA3-A41B-4F4C-8A22-2AF45EAD296C}"/>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4" name="NavigationIcon">
            <a:extLst>
              <a:ext uri="{FF2B5EF4-FFF2-40B4-BE49-F238E27FC236}">
                <a16:creationId xmlns:a16="http://schemas.microsoft.com/office/drawing/2014/main" id="{00685BA9-9A32-433C-BFAD-42B022117507}"/>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5</a:t>
            </a:r>
          </a:p>
        </p:txBody>
      </p:sp>
      <p:sp>
        <p:nvSpPr>
          <p:cNvPr id="10" name="Rectangle: Rounded Corners 9">
            <a:extLst>
              <a:ext uri="{FF2B5EF4-FFF2-40B4-BE49-F238E27FC236}">
                <a16:creationId xmlns:a16="http://schemas.microsoft.com/office/drawing/2014/main" id="{C607E07A-1FAD-428F-99ED-8DBD9A0B2C0B}"/>
              </a:ext>
            </a:extLst>
          </p:cNvPr>
          <p:cNvSpPr/>
          <p:nvPr/>
        </p:nvSpPr>
        <p:spPr>
          <a:xfrm>
            <a:off x="647038" y="679674"/>
            <a:ext cx="2446221" cy="2432755"/>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 Group Data Technology Platform</a:t>
            </a:r>
          </a:p>
        </p:txBody>
      </p:sp>
      <p:sp>
        <p:nvSpPr>
          <p:cNvPr id="393" name="Rectangle: Rounded Corners 392">
            <a:extLst>
              <a:ext uri="{FF2B5EF4-FFF2-40B4-BE49-F238E27FC236}">
                <a16:creationId xmlns:a16="http://schemas.microsoft.com/office/drawing/2014/main" id="{FED75399-E194-4DF8-B07C-70DD80E88EEE}"/>
              </a:ext>
            </a:extLst>
          </p:cNvPr>
          <p:cNvSpPr/>
          <p:nvPr/>
        </p:nvSpPr>
        <p:spPr>
          <a:xfrm>
            <a:off x="3256845" y="679674"/>
            <a:ext cx="4938888" cy="2432755"/>
          </a:xfrm>
          <a:prstGeom prst="roundRect">
            <a:avLst/>
          </a:prstGeom>
          <a:solidFill>
            <a:schemeClr val="bg2">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 BU Data Cloud</a:t>
            </a:r>
          </a:p>
        </p:txBody>
      </p:sp>
      <p:sp>
        <p:nvSpPr>
          <p:cNvPr id="394" name="Rectangle: Rounded Corners 393">
            <a:extLst>
              <a:ext uri="{FF2B5EF4-FFF2-40B4-BE49-F238E27FC236}">
                <a16:creationId xmlns:a16="http://schemas.microsoft.com/office/drawing/2014/main" id="{49E5CFA9-0D7C-4011-8195-F1E1C2EC69E9}"/>
              </a:ext>
            </a:extLst>
          </p:cNvPr>
          <p:cNvSpPr/>
          <p:nvPr/>
        </p:nvSpPr>
        <p:spPr>
          <a:xfrm>
            <a:off x="3392312" y="1125586"/>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1 BU Raw Data Cloud</a:t>
            </a:r>
          </a:p>
        </p:txBody>
      </p:sp>
      <p:sp>
        <p:nvSpPr>
          <p:cNvPr id="395" name="Rectangle: Rounded Corners 394">
            <a:extLst>
              <a:ext uri="{FF2B5EF4-FFF2-40B4-BE49-F238E27FC236}">
                <a16:creationId xmlns:a16="http://schemas.microsoft.com/office/drawing/2014/main" id="{C6873743-3D7D-42B5-B63F-A62E5854DAB0}"/>
              </a:ext>
            </a:extLst>
          </p:cNvPr>
          <p:cNvSpPr/>
          <p:nvPr/>
        </p:nvSpPr>
        <p:spPr>
          <a:xfrm>
            <a:off x="5743218" y="1125586"/>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2 BU Enriched Data Cloud</a:t>
            </a:r>
          </a:p>
        </p:txBody>
      </p:sp>
      <p:sp>
        <p:nvSpPr>
          <p:cNvPr id="396" name="Rectangle: Rounded Corners 395">
            <a:extLst>
              <a:ext uri="{FF2B5EF4-FFF2-40B4-BE49-F238E27FC236}">
                <a16:creationId xmlns:a16="http://schemas.microsoft.com/office/drawing/2014/main" id="{FB0DC98D-F25E-43DC-8292-DA16D179A160}"/>
              </a:ext>
            </a:extLst>
          </p:cNvPr>
          <p:cNvSpPr/>
          <p:nvPr/>
        </p:nvSpPr>
        <p:spPr>
          <a:xfrm>
            <a:off x="8232567" y="679674"/>
            <a:ext cx="3262717" cy="2432755"/>
          </a:xfrm>
          <a:prstGeom prst="roundRect">
            <a:avLst/>
          </a:prstGeom>
          <a:solidFill>
            <a:srgbClr val="92D05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 BU Digital/Data Products</a:t>
            </a:r>
          </a:p>
        </p:txBody>
      </p:sp>
      <p:sp>
        <p:nvSpPr>
          <p:cNvPr id="397" name="Rectangle: Rounded Corners 396">
            <a:extLst>
              <a:ext uri="{FF2B5EF4-FFF2-40B4-BE49-F238E27FC236}">
                <a16:creationId xmlns:a16="http://schemas.microsoft.com/office/drawing/2014/main" id="{A9177F33-8F43-4965-A8FD-8EA4095FCBBD}"/>
              </a:ext>
            </a:extLst>
          </p:cNvPr>
          <p:cNvSpPr/>
          <p:nvPr/>
        </p:nvSpPr>
        <p:spPr>
          <a:xfrm>
            <a:off x="8446908" y="1125586"/>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1 BU Digital/Data Product 1</a:t>
            </a:r>
          </a:p>
        </p:txBody>
      </p:sp>
      <p:sp>
        <p:nvSpPr>
          <p:cNvPr id="398" name="Rectangle: Rounded Corners 397">
            <a:extLst>
              <a:ext uri="{FF2B5EF4-FFF2-40B4-BE49-F238E27FC236}">
                <a16:creationId xmlns:a16="http://schemas.microsoft.com/office/drawing/2014/main" id="{3E31A578-B6D1-4FE6-9378-1F9694524EB4}"/>
              </a:ext>
            </a:extLst>
          </p:cNvPr>
          <p:cNvSpPr/>
          <p:nvPr/>
        </p:nvSpPr>
        <p:spPr>
          <a:xfrm>
            <a:off x="8461204" y="1647697"/>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2 BU Digital/Data Product 2</a:t>
            </a:r>
          </a:p>
        </p:txBody>
      </p:sp>
      <p:sp>
        <p:nvSpPr>
          <p:cNvPr id="428" name="Rectangle: Rounded Corners 427">
            <a:extLst>
              <a:ext uri="{FF2B5EF4-FFF2-40B4-BE49-F238E27FC236}">
                <a16:creationId xmlns:a16="http://schemas.microsoft.com/office/drawing/2014/main" id="{A5BA8CBA-2DC4-48DC-B9D1-FB5D76FD6DE8}"/>
              </a:ext>
            </a:extLst>
          </p:cNvPr>
          <p:cNvSpPr/>
          <p:nvPr/>
        </p:nvSpPr>
        <p:spPr>
          <a:xfrm>
            <a:off x="8461204" y="2169808"/>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n BU Digital/Data Product n</a:t>
            </a:r>
          </a:p>
        </p:txBody>
      </p:sp>
      <p:sp>
        <p:nvSpPr>
          <p:cNvPr id="527" name="Rectangle: Rounded Corners 526">
            <a:extLst>
              <a:ext uri="{FF2B5EF4-FFF2-40B4-BE49-F238E27FC236}">
                <a16:creationId xmlns:a16="http://schemas.microsoft.com/office/drawing/2014/main" id="{0E39DFC7-A108-4E3C-924E-73641463FDB4}"/>
              </a:ext>
            </a:extLst>
          </p:cNvPr>
          <p:cNvSpPr/>
          <p:nvPr/>
        </p:nvSpPr>
        <p:spPr>
          <a:xfrm>
            <a:off x="696074" y="1238294"/>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1 Data Tech 1</a:t>
            </a:r>
          </a:p>
        </p:txBody>
      </p:sp>
      <p:sp>
        <p:nvSpPr>
          <p:cNvPr id="528" name="Rectangle: Rounded Corners 527">
            <a:extLst>
              <a:ext uri="{FF2B5EF4-FFF2-40B4-BE49-F238E27FC236}">
                <a16:creationId xmlns:a16="http://schemas.microsoft.com/office/drawing/2014/main" id="{97E1CD87-9459-4D40-B4FA-D04F7A03E26B}"/>
              </a:ext>
            </a:extLst>
          </p:cNvPr>
          <p:cNvSpPr/>
          <p:nvPr/>
        </p:nvSpPr>
        <p:spPr>
          <a:xfrm>
            <a:off x="696074" y="1531642"/>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2 Data Tech 2</a:t>
            </a:r>
          </a:p>
        </p:txBody>
      </p:sp>
      <p:sp>
        <p:nvSpPr>
          <p:cNvPr id="529" name="Rectangle: Rounded Corners 528">
            <a:extLst>
              <a:ext uri="{FF2B5EF4-FFF2-40B4-BE49-F238E27FC236}">
                <a16:creationId xmlns:a16="http://schemas.microsoft.com/office/drawing/2014/main" id="{256CBDF2-4993-4265-8925-DE3FD6D9DE92}"/>
              </a:ext>
            </a:extLst>
          </p:cNvPr>
          <p:cNvSpPr/>
          <p:nvPr/>
        </p:nvSpPr>
        <p:spPr>
          <a:xfrm>
            <a:off x="696074" y="1834039"/>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3 Data Tech 3</a:t>
            </a:r>
          </a:p>
        </p:txBody>
      </p:sp>
      <p:sp>
        <p:nvSpPr>
          <p:cNvPr id="530" name="Rectangle: Rounded Corners 529">
            <a:extLst>
              <a:ext uri="{FF2B5EF4-FFF2-40B4-BE49-F238E27FC236}">
                <a16:creationId xmlns:a16="http://schemas.microsoft.com/office/drawing/2014/main" id="{B4E6995E-922A-4991-BD02-7314970DD98A}"/>
              </a:ext>
            </a:extLst>
          </p:cNvPr>
          <p:cNvSpPr/>
          <p:nvPr/>
        </p:nvSpPr>
        <p:spPr>
          <a:xfrm>
            <a:off x="696074" y="2130756"/>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4 Data Tech 4</a:t>
            </a:r>
          </a:p>
        </p:txBody>
      </p:sp>
      <p:sp>
        <p:nvSpPr>
          <p:cNvPr id="531" name="Rectangle: Rounded Corners 530">
            <a:extLst>
              <a:ext uri="{FF2B5EF4-FFF2-40B4-BE49-F238E27FC236}">
                <a16:creationId xmlns:a16="http://schemas.microsoft.com/office/drawing/2014/main" id="{E0CCC64E-079F-44F2-82A6-5E3F6A46A8BF}"/>
              </a:ext>
            </a:extLst>
          </p:cNvPr>
          <p:cNvSpPr/>
          <p:nvPr/>
        </p:nvSpPr>
        <p:spPr>
          <a:xfrm>
            <a:off x="696074" y="2427468"/>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5 Data Tech 5</a:t>
            </a:r>
          </a:p>
        </p:txBody>
      </p:sp>
      <p:sp>
        <p:nvSpPr>
          <p:cNvPr id="532" name="Rectangle: Rounded Corners 531">
            <a:extLst>
              <a:ext uri="{FF2B5EF4-FFF2-40B4-BE49-F238E27FC236}">
                <a16:creationId xmlns:a16="http://schemas.microsoft.com/office/drawing/2014/main" id="{E58BA9E4-8B22-4457-8C32-4499CC22126E}"/>
              </a:ext>
            </a:extLst>
          </p:cNvPr>
          <p:cNvSpPr/>
          <p:nvPr/>
        </p:nvSpPr>
        <p:spPr>
          <a:xfrm>
            <a:off x="708312" y="2719372"/>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n Data Tech n</a:t>
            </a:r>
          </a:p>
        </p:txBody>
      </p:sp>
      <p:sp>
        <p:nvSpPr>
          <p:cNvPr id="3" name="TextBox 2">
            <a:extLst>
              <a:ext uri="{FF2B5EF4-FFF2-40B4-BE49-F238E27FC236}">
                <a16:creationId xmlns:a16="http://schemas.microsoft.com/office/drawing/2014/main" id="{BA281A09-525F-4782-A370-92CE491718B0}"/>
              </a:ext>
            </a:extLst>
          </p:cNvPr>
          <p:cNvSpPr txBox="1"/>
          <p:nvPr/>
        </p:nvSpPr>
        <p:spPr>
          <a:xfrm>
            <a:off x="-301439" y="3048488"/>
            <a:ext cx="4038552" cy="573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000000"/>
                </a:solidFill>
              </a:rPr>
              <a:t>Delivery Model Considerations:</a:t>
            </a:r>
          </a:p>
        </p:txBody>
      </p:sp>
      <p:sp>
        <p:nvSpPr>
          <p:cNvPr id="4" name="Rectangle 3">
            <a:extLst>
              <a:ext uri="{FF2B5EF4-FFF2-40B4-BE49-F238E27FC236}">
                <a16:creationId xmlns:a16="http://schemas.microsoft.com/office/drawing/2014/main" id="{34569C4C-68B8-4190-A740-453A1A3DA68C}"/>
              </a:ext>
            </a:extLst>
          </p:cNvPr>
          <p:cNvSpPr/>
          <p:nvPr/>
        </p:nvSpPr>
        <p:spPr>
          <a:xfrm>
            <a:off x="647038" y="3544203"/>
            <a:ext cx="2446221" cy="271751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Tx/>
              <a:buChar char="-"/>
            </a:pPr>
            <a:r>
              <a:rPr lang="en-GB" sz="1100" dirty="0">
                <a:solidFill>
                  <a:schemeClr val="tx2"/>
                </a:solidFill>
              </a:rPr>
              <a:t>Common technology strategy across group</a:t>
            </a:r>
          </a:p>
          <a:p>
            <a:pPr marL="171450" indent="-171450">
              <a:buFontTx/>
              <a:buChar char="-"/>
            </a:pPr>
            <a:r>
              <a:rPr lang="en-GB" sz="1100" dirty="0">
                <a:solidFill>
                  <a:schemeClr val="tx2"/>
                </a:solidFill>
              </a:rPr>
              <a:t>Cost efficiencies from common delivery team</a:t>
            </a:r>
          </a:p>
          <a:p>
            <a:pPr marL="171450" indent="-171450">
              <a:buFontTx/>
              <a:buChar char="-"/>
            </a:pPr>
            <a:r>
              <a:rPr lang="en-GB" sz="1100" dirty="0">
                <a:solidFill>
                  <a:schemeClr val="tx2"/>
                </a:solidFill>
              </a:rPr>
              <a:t>Digital strategy targeting synergies</a:t>
            </a:r>
          </a:p>
          <a:p>
            <a:pPr marL="171450" indent="-171450">
              <a:buFontTx/>
              <a:buChar char="-"/>
            </a:pPr>
            <a:r>
              <a:rPr lang="en-GB" sz="1100" dirty="0">
                <a:solidFill>
                  <a:schemeClr val="tx2"/>
                </a:solidFill>
              </a:rPr>
              <a:t>US ET ED and UK ET ED synergy potential</a:t>
            </a:r>
          </a:p>
          <a:p>
            <a:pPr marL="171450" indent="-171450">
              <a:buFontTx/>
              <a:buChar char="-"/>
            </a:pPr>
            <a:r>
              <a:rPr lang="en-GB" sz="1100" dirty="0">
                <a:solidFill>
                  <a:schemeClr val="tx2"/>
                </a:solidFill>
              </a:rPr>
              <a:t>Tech vendor management leverage</a:t>
            </a:r>
          </a:p>
        </p:txBody>
      </p:sp>
      <p:sp>
        <p:nvSpPr>
          <p:cNvPr id="50" name="Rectangle 49">
            <a:extLst>
              <a:ext uri="{FF2B5EF4-FFF2-40B4-BE49-F238E27FC236}">
                <a16:creationId xmlns:a16="http://schemas.microsoft.com/office/drawing/2014/main" id="{339A2F7C-C616-4717-B68F-6F48FC19A99D}"/>
              </a:ext>
            </a:extLst>
          </p:cNvPr>
          <p:cNvSpPr/>
          <p:nvPr/>
        </p:nvSpPr>
        <p:spPr>
          <a:xfrm>
            <a:off x="3280068" y="3558341"/>
            <a:ext cx="2446221" cy="271751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Tx/>
              <a:buChar char="-"/>
            </a:pPr>
            <a:r>
              <a:rPr lang="en-GB" sz="1100" dirty="0">
                <a:solidFill>
                  <a:schemeClr val="tx2"/>
                </a:solidFill>
              </a:rPr>
              <a:t>Data Factory model opportunity</a:t>
            </a:r>
          </a:p>
          <a:p>
            <a:pPr marL="171450" indent="-171450">
              <a:buFontTx/>
              <a:buChar char="-"/>
            </a:pPr>
            <a:r>
              <a:rPr lang="en-GB" sz="1100" dirty="0">
                <a:solidFill>
                  <a:schemeClr val="tx2"/>
                </a:solidFill>
              </a:rPr>
              <a:t>Performance engineering (IT focus)</a:t>
            </a:r>
          </a:p>
          <a:p>
            <a:pPr marL="171450" indent="-171450">
              <a:buFontTx/>
              <a:buChar char="-"/>
            </a:pPr>
            <a:r>
              <a:rPr lang="en-GB" sz="1100" dirty="0">
                <a:solidFill>
                  <a:schemeClr val="tx2"/>
                </a:solidFill>
              </a:rPr>
              <a:t>Common source system knowledge efficiencies</a:t>
            </a:r>
          </a:p>
          <a:p>
            <a:pPr marL="171450" indent="-171450">
              <a:buFontTx/>
              <a:buChar char="-"/>
            </a:pPr>
            <a:r>
              <a:rPr lang="en-GB" sz="1100" dirty="0">
                <a:solidFill>
                  <a:schemeClr val="tx2"/>
                </a:solidFill>
              </a:rPr>
              <a:t>Local source system knowledge importance (data, tech, network)</a:t>
            </a:r>
          </a:p>
          <a:p>
            <a:pPr marL="171450" indent="-171450">
              <a:buFontTx/>
              <a:buChar char="-"/>
            </a:pPr>
            <a:r>
              <a:rPr lang="en-GB" sz="1100" dirty="0">
                <a:solidFill>
                  <a:schemeClr val="tx2"/>
                </a:solidFill>
              </a:rPr>
              <a:t>Data cataloguing requires local business and IT knowledge</a:t>
            </a:r>
          </a:p>
          <a:p>
            <a:pPr marL="171450" indent="-171450">
              <a:buFontTx/>
              <a:buChar char="-"/>
            </a:pPr>
            <a:r>
              <a:rPr lang="en-GB" sz="1100" dirty="0">
                <a:solidFill>
                  <a:schemeClr val="tx2"/>
                </a:solidFill>
              </a:rPr>
              <a:t>End to end Data Cloud product (raw + enriched) is closer to a digital product model</a:t>
            </a:r>
          </a:p>
          <a:p>
            <a:pPr marL="171450" indent="-171450">
              <a:buFontTx/>
              <a:buChar char="-"/>
            </a:pPr>
            <a:r>
              <a:rPr lang="en-GB" sz="1100" dirty="0">
                <a:solidFill>
                  <a:schemeClr val="tx2"/>
                </a:solidFill>
              </a:rPr>
              <a:t>Group wide data design pattern sharing opportunities</a:t>
            </a:r>
          </a:p>
          <a:p>
            <a:pPr marL="171450" indent="-171450">
              <a:buFontTx/>
              <a:buChar char="-"/>
            </a:pPr>
            <a:endParaRPr lang="en-GB" sz="1100" dirty="0">
              <a:solidFill>
                <a:schemeClr val="tx2"/>
              </a:solidFill>
            </a:endParaRPr>
          </a:p>
        </p:txBody>
      </p:sp>
      <p:sp>
        <p:nvSpPr>
          <p:cNvPr id="51" name="Rectangle 50">
            <a:extLst>
              <a:ext uri="{FF2B5EF4-FFF2-40B4-BE49-F238E27FC236}">
                <a16:creationId xmlns:a16="http://schemas.microsoft.com/office/drawing/2014/main" id="{EB47F789-8E39-4334-9141-3C413D34A24F}"/>
              </a:ext>
            </a:extLst>
          </p:cNvPr>
          <p:cNvSpPr/>
          <p:nvPr/>
        </p:nvSpPr>
        <p:spPr>
          <a:xfrm>
            <a:off x="5749512" y="3558341"/>
            <a:ext cx="2446221" cy="271751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Tx/>
              <a:buChar char="-"/>
            </a:pPr>
            <a:r>
              <a:rPr lang="en-GB" sz="1100" dirty="0">
                <a:solidFill>
                  <a:schemeClr val="tx2"/>
                </a:solidFill>
              </a:rPr>
              <a:t>Local BU knowledge is key (data, business rules, consuming product requirements)</a:t>
            </a:r>
          </a:p>
          <a:p>
            <a:pPr marL="171450" indent="-171450">
              <a:buFontTx/>
              <a:buChar char="-"/>
            </a:pPr>
            <a:r>
              <a:rPr lang="en-GB" sz="1100" dirty="0">
                <a:solidFill>
                  <a:schemeClr val="tx2"/>
                </a:solidFill>
              </a:rPr>
              <a:t>Access performance engineering is key</a:t>
            </a:r>
          </a:p>
          <a:p>
            <a:pPr marL="171450" indent="-171450">
              <a:buFontTx/>
              <a:buChar char="-"/>
            </a:pPr>
            <a:r>
              <a:rPr lang="en-GB" sz="1100" dirty="0">
                <a:solidFill>
                  <a:schemeClr val="tx2"/>
                </a:solidFill>
              </a:rPr>
              <a:t>End to end Data Cloud product (raw + enriched) is closer to a digital product model</a:t>
            </a:r>
          </a:p>
          <a:p>
            <a:pPr marL="171450" indent="-171450">
              <a:buFontTx/>
              <a:buChar char="-"/>
            </a:pPr>
            <a:r>
              <a:rPr lang="en-GB" sz="1100" dirty="0">
                <a:solidFill>
                  <a:schemeClr val="tx2"/>
                </a:solidFill>
              </a:rPr>
              <a:t>Group wide data design pattern sharing opportunities</a:t>
            </a:r>
          </a:p>
          <a:p>
            <a:r>
              <a:rPr lang="en-GB" sz="1100" dirty="0">
                <a:solidFill>
                  <a:schemeClr val="tx2"/>
                </a:solidFill>
              </a:rPr>
              <a:t>  </a:t>
            </a:r>
          </a:p>
        </p:txBody>
      </p:sp>
      <p:sp>
        <p:nvSpPr>
          <p:cNvPr id="52" name="Rectangle 51">
            <a:extLst>
              <a:ext uri="{FF2B5EF4-FFF2-40B4-BE49-F238E27FC236}">
                <a16:creationId xmlns:a16="http://schemas.microsoft.com/office/drawing/2014/main" id="{838AB65E-F674-49CD-AB8F-ECBDD9028EBF}"/>
              </a:ext>
            </a:extLst>
          </p:cNvPr>
          <p:cNvSpPr/>
          <p:nvPr/>
        </p:nvSpPr>
        <p:spPr>
          <a:xfrm>
            <a:off x="8298663" y="3558341"/>
            <a:ext cx="3196621" cy="271751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Tx/>
              <a:buChar char="-"/>
            </a:pPr>
            <a:r>
              <a:rPr lang="en-GB" sz="1100" dirty="0">
                <a:solidFill>
                  <a:schemeClr val="tx2"/>
                </a:solidFill>
              </a:rPr>
              <a:t>Digital product operating model applies…only if a non-data digital tech is involved?  (why leverage other teams if this is a pure data product?)</a:t>
            </a:r>
          </a:p>
          <a:p>
            <a:pPr marL="171450" indent="-171450">
              <a:buFontTx/>
              <a:buChar char="-"/>
            </a:pPr>
            <a:r>
              <a:rPr lang="en-GB" sz="1100" dirty="0">
                <a:solidFill>
                  <a:schemeClr val="tx2"/>
                </a:solidFill>
              </a:rPr>
              <a:t>Leverages and extends BU data cloud, doesn’t create data siloes</a:t>
            </a:r>
          </a:p>
          <a:p>
            <a:pPr marL="171450" indent="-171450">
              <a:buFontTx/>
              <a:buChar char="-"/>
            </a:pPr>
            <a:r>
              <a:rPr lang="en-GB" sz="1100" dirty="0">
                <a:solidFill>
                  <a:schemeClr val="tx2"/>
                </a:solidFill>
              </a:rPr>
              <a:t>Adheres to Group and BU data modelling and data management guidelines</a:t>
            </a:r>
          </a:p>
        </p:txBody>
      </p:sp>
    </p:spTree>
    <p:extLst>
      <p:ext uri="{BB962C8B-B14F-4D97-AF65-F5344CB8AC3E}">
        <p14:creationId xmlns:p14="http://schemas.microsoft.com/office/powerpoint/2010/main" val="3263562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067A4C-7B7D-49E0-9F46-FC03DE985B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2"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EA067A4C-7B7D-49E0-9F46-FC03DE985B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6DC20F-FCAC-4EC5-B7B5-B457F571FC1F}"/>
              </a:ext>
            </a:extLst>
          </p:cNvPr>
          <p:cNvSpPr>
            <a:spLocks noGrp="1"/>
          </p:cNvSpPr>
          <p:nvPr>
            <p:ph type="title"/>
          </p:nvPr>
        </p:nvSpPr>
        <p:spPr>
          <a:xfrm>
            <a:off x="133743" y="92518"/>
            <a:ext cx="10933200" cy="387798"/>
          </a:xfrm>
          <a:prstGeom prst="rect">
            <a:avLst/>
          </a:prstGeom>
        </p:spPr>
        <p:txBody>
          <a:bodyPr vert="horz">
            <a:spAutoFit/>
          </a:bodyPr>
          <a:lstStyle/>
          <a:p>
            <a:r>
              <a:rPr lang="en-GB" sz="2800" dirty="0"/>
              <a:t>Overview of Data Product Breakdown</a:t>
            </a:r>
            <a:endParaRPr lang="en-US" sz="2800" dirty="0"/>
          </a:p>
        </p:txBody>
      </p:sp>
      <p:sp>
        <p:nvSpPr>
          <p:cNvPr id="242" name="NavigationTriangle">
            <a:extLst>
              <a:ext uri="{FF2B5EF4-FFF2-40B4-BE49-F238E27FC236}">
                <a16:creationId xmlns:a16="http://schemas.microsoft.com/office/drawing/2014/main" id="{C60AADA3-A41B-4F4C-8A22-2AF45EAD296C}"/>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4" name="NavigationIcon">
            <a:extLst>
              <a:ext uri="{FF2B5EF4-FFF2-40B4-BE49-F238E27FC236}">
                <a16:creationId xmlns:a16="http://schemas.microsoft.com/office/drawing/2014/main" id="{00685BA9-9A32-433C-BFAD-42B022117507}"/>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5</a:t>
            </a:r>
          </a:p>
        </p:txBody>
      </p:sp>
      <p:sp>
        <p:nvSpPr>
          <p:cNvPr id="10" name="Rectangle: Rounded Corners 9">
            <a:extLst>
              <a:ext uri="{FF2B5EF4-FFF2-40B4-BE49-F238E27FC236}">
                <a16:creationId xmlns:a16="http://schemas.microsoft.com/office/drawing/2014/main" id="{C607E07A-1FAD-428F-99ED-8DBD9A0B2C0B}"/>
              </a:ext>
            </a:extLst>
          </p:cNvPr>
          <p:cNvSpPr/>
          <p:nvPr/>
        </p:nvSpPr>
        <p:spPr>
          <a:xfrm>
            <a:off x="647038" y="679674"/>
            <a:ext cx="2446221" cy="2432755"/>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 Group Data Technology Platform</a:t>
            </a:r>
          </a:p>
        </p:txBody>
      </p:sp>
      <p:sp>
        <p:nvSpPr>
          <p:cNvPr id="393" name="Rectangle: Rounded Corners 392">
            <a:extLst>
              <a:ext uri="{FF2B5EF4-FFF2-40B4-BE49-F238E27FC236}">
                <a16:creationId xmlns:a16="http://schemas.microsoft.com/office/drawing/2014/main" id="{FED75399-E194-4DF8-B07C-70DD80E88EEE}"/>
              </a:ext>
            </a:extLst>
          </p:cNvPr>
          <p:cNvSpPr/>
          <p:nvPr/>
        </p:nvSpPr>
        <p:spPr>
          <a:xfrm>
            <a:off x="3256845" y="679674"/>
            <a:ext cx="4938888" cy="2432755"/>
          </a:xfrm>
          <a:prstGeom prst="roundRect">
            <a:avLst/>
          </a:prstGeom>
          <a:solidFill>
            <a:schemeClr val="bg2">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2. BU Data Cloud</a:t>
            </a:r>
          </a:p>
        </p:txBody>
      </p:sp>
      <p:sp>
        <p:nvSpPr>
          <p:cNvPr id="394" name="Rectangle: Rounded Corners 393">
            <a:extLst>
              <a:ext uri="{FF2B5EF4-FFF2-40B4-BE49-F238E27FC236}">
                <a16:creationId xmlns:a16="http://schemas.microsoft.com/office/drawing/2014/main" id="{49E5CFA9-0D7C-4011-8195-F1E1C2EC69E9}"/>
              </a:ext>
            </a:extLst>
          </p:cNvPr>
          <p:cNvSpPr/>
          <p:nvPr/>
        </p:nvSpPr>
        <p:spPr>
          <a:xfrm>
            <a:off x="3392312" y="1125586"/>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1 BU Raw Data Cloud</a:t>
            </a:r>
          </a:p>
        </p:txBody>
      </p:sp>
      <p:sp>
        <p:nvSpPr>
          <p:cNvPr id="395" name="Rectangle: Rounded Corners 394">
            <a:extLst>
              <a:ext uri="{FF2B5EF4-FFF2-40B4-BE49-F238E27FC236}">
                <a16:creationId xmlns:a16="http://schemas.microsoft.com/office/drawing/2014/main" id="{C6873743-3D7D-42B5-B63F-A62E5854DAB0}"/>
              </a:ext>
            </a:extLst>
          </p:cNvPr>
          <p:cNvSpPr/>
          <p:nvPr/>
        </p:nvSpPr>
        <p:spPr>
          <a:xfrm>
            <a:off x="5743218" y="1125586"/>
            <a:ext cx="2314072" cy="1755422"/>
          </a:xfrm>
          <a:prstGeom prst="roundRect">
            <a:avLst/>
          </a:prstGeom>
          <a:solidFill>
            <a:schemeClr val="accent6">
              <a:lumMod val="20000"/>
              <a:lumOff val="8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2.2 BU Enriched Data Cloud</a:t>
            </a:r>
          </a:p>
        </p:txBody>
      </p:sp>
      <p:sp>
        <p:nvSpPr>
          <p:cNvPr id="396" name="Rectangle: Rounded Corners 395">
            <a:extLst>
              <a:ext uri="{FF2B5EF4-FFF2-40B4-BE49-F238E27FC236}">
                <a16:creationId xmlns:a16="http://schemas.microsoft.com/office/drawing/2014/main" id="{FB0DC98D-F25E-43DC-8292-DA16D179A160}"/>
              </a:ext>
            </a:extLst>
          </p:cNvPr>
          <p:cNvSpPr/>
          <p:nvPr/>
        </p:nvSpPr>
        <p:spPr>
          <a:xfrm>
            <a:off x="8232567" y="679674"/>
            <a:ext cx="3262717" cy="2432755"/>
          </a:xfrm>
          <a:prstGeom prst="roundRect">
            <a:avLst/>
          </a:prstGeom>
          <a:solidFill>
            <a:srgbClr val="92D05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3. BU Digital/Data Products</a:t>
            </a:r>
          </a:p>
        </p:txBody>
      </p:sp>
      <p:sp>
        <p:nvSpPr>
          <p:cNvPr id="397" name="Rectangle: Rounded Corners 396">
            <a:extLst>
              <a:ext uri="{FF2B5EF4-FFF2-40B4-BE49-F238E27FC236}">
                <a16:creationId xmlns:a16="http://schemas.microsoft.com/office/drawing/2014/main" id="{A9177F33-8F43-4965-A8FD-8EA4095FCBBD}"/>
              </a:ext>
            </a:extLst>
          </p:cNvPr>
          <p:cNvSpPr/>
          <p:nvPr/>
        </p:nvSpPr>
        <p:spPr>
          <a:xfrm>
            <a:off x="8446908" y="1125586"/>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1 BU Digital/Data Product 1</a:t>
            </a:r>
          </a:p>
        </p:txBody>
      </p:sp>
      <p:sp>
        <p:nvSpPr>
          <p:cNvPr id="398" name="Rectangle: Rounded Corners 397">
            <a:extLst>
              <a:ext uri="{FF2B5EF4-FFF2-40B4-BE49-F238E27FC236}">
                <a16:creationId xmlns:a16="http://schemas.microsoft.com/office/drawing/2014/main" id="{3E31A578-B6D1-4FE6-9378-1F9694524EB4}"/>
              </a:ext>
            </a:extLst>
          </p:cNvPr>
          <p:cNvSpPr/>
          <p:nvPr/>
        </p:nvSpPr>
        <p:spPr>
          <a:xfrm>
            <a:off x="8461204" y="1647697"/>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2 BU Digital/Data Product 2</a:t>
            </a:r>
          </a:p>
        </p:txBody>
      </p:sp>
      <p:sp>
        <p:nvSpPr>
          <p:cNvPr id="428" name="Rectangle: Rounded Corners 427">
            <a:extLst>
              <a:ext uri="{FF2B5EF4-FFF2-40B4-BE49-F238E27FC236}">
                <a16:creationId xmlns:a16="http://schemas.microsoft.com/office/drawing/2014/main" id="{A5BA8CBA-2DC4-48DC-B9D1-FB5D76FD6DE8}"/>
              </a:ext>
            </a:extLst>
          </p:cNvPr>
          <p:cNvSpPr/>
          <p:nvPr/>
        </p:nvSpPr>
        <p:spPr>
          <a:xfrm>
            <a:off x="8461204" y="2169808"/>
            <a:ext cx="2909716" cy="496708"/>
          </a:xfrm>
          <a:prstGeom prst="roundRect">
            <a:avLst/>
          </a:prstGeom>
          <a:solidFill>
            <a:srgbClr val="FFCC66"/>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chemeClr val="tx2"/>
                </a:solidFill>
              </a:rPr>
              <a:t>3.n BU Digital/Data Product n</a:t>
            </a:r>
          </a:p>
        </p:txBody>
      </p:sp>
      <p:sp>
        <p:nvSpPr>
          <p:cNvPr id="527" name="Rectangle: Rounded Corners 526">
            <a:extLst>
              <a:ext uri="{FF2B5EF4-FFF2-40B4-BE49-F238E27FC236}">
                <a16:creationId xmlns:a16="http://schemas.microsoft.com/office/drawing/2014/main" id="{0E39DFC7-A108-4E3C-924E-73641463FDB4}"/>
              </a:ext>
            </a:extLst>
          </p:cNvPr>
          <p:cNvSpPr/>
          <p:nvPr/>
        </p:nvSpPr>
        <p:spPr>
          <a:xfrm>
            <a:off x="696074" y="1238294"/>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1 Data Tech 1</a:t>
            </a:r>
          </a:p>
        </p:txBody>
      </p:sp>
      <p:sp>
        <p:nvSpPr>
          <p:cNvPr id="528" name="Rectangle: Rounded Corners 527">
            <a:extLst>
              <a:ext uri="{FF2B5EF4-FFF2-40B4-BE49-F238E27FC236}">
                <a16:creationId xmlns:a16="http://schemas.microsoft.com/office/drawing/2014/main" id="{97E1CD87-9459-4D40-B4FA-D04F7A03E26B}"/>
              </a:ext>
            </a:extLst>
          </p:cNvPr>
          <p:cNvSpPr/>
          <p:nvPr/>
        </p:nvSpPr>
        <p:spPr>
          <a:xfrm>
            <a:off x="696074" y="1531642"/>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2 Data Tech 2</a:t>
            </a:r>
          </a:p>
        </p:txBody>
      </p:sp>
      <p:sp>
        <p:nvSpPr>
          <p:cNvPr id="529" name="Rectangle: Rounded Corners 528">
            <a:extLst>
              <a:ext uri="{FF2B5EF4-FFF2-40B4-BE49-F238E27FC236}">
                <a16:creationId xmlns:a16="http://schemas.microsoft.com/office/drawing/2014/main" id="{256CBDF2-4993-4265-8925-DE3FD6D9DE92}"/>
              </a:ext>
            </a:extLst>
          </p:cNvPr>
          <p:cNvSpPr/>
          <p:nvPr/>
        </p:nvSpPr>
        <p:spPr>
          <a:xfrm>
            <a:off x="696074" y="1834039"/>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3 Data Tech 3</a:t>
            </a:r>
          </a:p>
        </p:txBody>
      </p:sp>
      <p:sp>
        <p:nvSpPr>
          <p:cNvPr id="530" name="Rectangle: Rounded Corners 529">
            <a:extLst>
              <a:ext uri="{FF2B5EF4-FFF2-40B4-BE49-F238E27FC236}">
                <a16:creationId xmlns:a16="http://schemas.microsoft.com/office/drawing/2014/main" id="{B4E6995E-922A-4991-BD02-7314970DD98A}"/>
              </a:ext>
            </a:extLst>
          </p:cNvPr>
          <p:cNvSpPr/>
          <p:nvPr/>
        </p:nvSpPr>
        <p:spPr>
          <a:xfrm>
            <a:off x="696074" y="2130756"/>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4 Data Tech 4</a:t>
            </a:r>
          </a:p>
        </p:txBody>
      </p:sp>
      <p:sp>
        <p:nvSpPr>
          <p:cNvPr id="531" name="Rectangle: Rounded Corners 530">
            <a:extLst>
              <a:ext uri="{FF2B5EF4-FFF2-40B4-BE49-F238E27FC236}">
                <a16:creationId xmlns:a16="http://schemas.microsoft.com/office/drawing/2014/main" id="{E0CCC64E-079F-44F2-82A6-5E3F6A46A8BF}"/>
              </a:ext>
            </a:extLst>
          </p:cNvPr>
          <p:cNvSpPr/>
          <p:nvPr/>
        </p:nvSpPr>
        <p:spPr>
          <a:xfrm>
            <a:off x="696074" y="2427468"/>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5 Data Tech 5</a:t>
            </a:r>
          </a:p>
        </p:txBody>
      </p:sp>
      <p:sp>
        <p:nvSpPr>
          <p:cNvPr id="532" name="Rectangle: Rounded Corners 531">
            <a:extLst>
              <a:ext uri="{FF2B5EF4-FFF2-40B4-BE49-F238E27FC236}">
                <a16:creationId xmlns:a16="http://schemas.microsoft.com/office/drawing/2014/main" id="{E58BA9E4-8B22-4457-8C32-4499CC22126E}"/>
              </a:ext>
            </a:extLst>
          </p:cNvPr>
          <p:cNvSpPr/>
          <p:nvPr/>
        </p:nvSpPr>
        <p:spPr>
          <a:xfrm>
            <a:off x="708312" y="2719372"/>
            <a:ext cx="2314072" cy="239609"/>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200" dirty="0">
                <a:solidFill>
                  <a:srgbClr val="FFFFFF"/>
                </a:solidFill>
              </a:rPr>
              <a:t>1.n Data Tech n</a:t>
            </a:r>
          </a:p>
        </p:txBody>
      </p:sp>
      <p:sp>
        <p:nvSpPr>
          <p:cNvPr id="3" name="TextBox 2">
            <a:extLst>
              <a:ext uri="{FF2B5EF4-FFF2-40B4-BE49-F238E27FC236}">
                <a16:creationId xmlns:a16="http://schemas.microsoft.com/office/drawing/2014/main" id="{BA281A09-525F-4782-A370-92CE491718B0}"/>
              </a:ext>
            </a:extLst>
          </p:cNvPr>
          <p:cNvSpPr txBox="1"/>
          <p:nvPr/>
        </p:nvSpPr>
        <p:spPr>
          <a:xfrm>
            <a:off x="147249" y="3048488"/>
            <a:ext cx="4038552" cy="573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000000"/>
                </a:solidFill>
              </a:rPr>
              <a:t>Delivery Model RACI Considerations:</a:t>
            </a:r>
          </a:p>
        </p:txBody>
      </p:sp>
      <p:sp>
        <p:nvSpPr>
          <p:cNvPr id="4" name="Rectangle 3">
            <a:extLst>
              <a:ext uri="{FF2B5EF4-FFF2-40B4-BE49-F238E27FC236}">
                <a16:creationId xmlns:a16="http://schemas.microsoft.com/office/drawing/2014/main" id="{34569C4C-68B8-4190-A740-453A1A3DA68C}"/>
              </a:ext>
            </a:extLst>
          </p:cNvPr>
          <p:cNvSpPr/>
          <p:nvPr/>
        </p:nvSpPr>
        <p:spPr>
          <a:xfrm>
            <a:off x="683872" y="3544203"/>
            <a:ext cx="2446221" cy="274650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100" b="1" dirty="0">
                <a:solidFill>
                  <a:schemeClr val="tx2"/>
                </a:solidFill>
              </a:rPr>
              <a:t>Central:</a:t>
            </a:r>
          </a:p>
          <a:p>
            <a:pPr marL="171450" indent="-171450">
              <a:buFontTx/>
              <a:buChar char="-"/>
            </a:pPr>
            <a:r>
              <a:rPr lang="en-GB" sz="1100" dirty="0">
                <a:solidFill>
                  <a:schemeClr val="tx2"/>
                </a:solidFill>
              </a:rPr>
              <a:t>Provides platform tech resources</a:t>
            </a:r>
          </a:p>
          <a:p>
            <a:pPr marL="171450" indent="-171450">
              <a:buFontTx/>
              <a:buChar char="-"/>
            </a:pPr>
            <a:r>
              <a:rPr lang="en-GB" sz="1100" dirty="0">
                <a:solidFill>
                  <a:schemeClr val="tx2"/>
                </a:solidFill>
              </a:rPr>
              <a:t>Owns and Manages delivery</a:t>
            </a:r>
          </a:p>
          <a:p>
            <a:pPr marL="171450" indent="-171450">
              <a:buFontTx/>
              <a:buChar char="-"/>
            </a:pPr>
            <a:r>
              <a:rPr lang="en-GB" sz="1100" dirty="0">
                <a:solidFill>
                  <a:schemeClr val="tx2"/>
                </a:solidFill>
              </a:rPr>
              <a:t>KPIs &amp; requirements set by consuming Data Clouds and Digital/data products</a:t>
            </a:r>
          </a:p>
          <a:p>
            <a:r>
              <a:rPr lang="en-GB" sz="1100" b="1" dirty="0">
                <a:solidFill>
                  <a:schemeClr val="tx2"/>
                </a:solidFill>
              </a:rPr>
              <a:t>BU-IT:</a:t>
            </a:r>
          </a:p>
          <a:p>
            <a:pPr marL="171450" indent="-171450">
              <a:buFontTx/>
              <a:buChar char="-"/>
            </a:pPr>
            <a:r>
              <a:rPr lang="en-GB" sz="1100" dirty="0">
                <a:solidFill>
                  <a:schemeClr val="tx2"/>
                </a:solidFill>
              </a:rPr>
              <a:t>Provide requirements (technical tools</a:t>
            </a:r>
          </a:p>
          <a:p>
            <a:pPr marL="171450" indent="-171450">
              <a:buFontTx/>
              <a:buChar char="-"/>
            </a:pPr>
            <a:r>
              <a:rPr lang="en-GB" sz="1100" dirty="0">
                <a:solidFill>
                  <a:schemeClr val="tx2"/>
                </a:solidFill>
              </a:rPr>
              <a:t>Receive service</a:t>
            </a:r>
          </a:p>
          <a:p>
            <a:r>
              <a:rPr lang="en-GB" sz="1100" b="1" dirty="0">
                <a:solidFill>
                  <a:schemeClr val="tx2"/>
                </a:solidFill>
              </a:rPr>
              <a:t>BU-Biz/Data:</a:t>
            </a:r>
          </a:p>
          <a:p>
            <a:pPr marL="171450" indent="-171450">
              <a:buFontTx/>
              <a:buChar char="-"/>
            </a:pPr>
            <a:r>
              <a:rPr lang="en-GB" sz="1100" dirty="0">
                <a:solidFill>
                  <a:schemeClr val="tx2"/>
                </a:solidFill>
              </a:rPr>
              <a:t>Provide requirements (business tools)</a:t>
            </a:r>
          </a:p>
          <a:p>
            <a:pPr marL="171450" indent="-171450">
              <a:buFontTx/>
              <a:buChar char="-"/>
            </a:pPr>
            <a:r>
              <a:rPr lang="en-GB" sz="1100" dirty="0">
                <a:solidFill>
                  <a:schemeClr val="tx2"/>
                </a:solidFill>
              </a:rPr>
              <a:t>Receive service</a:t>
            </a:r>
          </a:p>
        </p:txBody>
      </p:sp>
      <p:sp>
        <p:nvSpPr>
          <p:cNvPr id="50" name="Rectangle 49">
            <a:extLst>
              <a:ext uri="{FF2B5EF4-FFF2-40B4-BE49-F238E27FC236}">
                <a16:creationId xmlns:a16="http://schemas.microsoft.com/office/drawing/2014/main" id="{339A2F7C-C616-4717-B68F-6F48FC19A99D}"/>
              </a:ext>
            </a:extLst>
          </p:cNvPr>
          <p:cNvSpPr/>
          <p:nvPr/>
        </p:nvSpPr>
        <p:spPr>
          <a:xfrm>
            <a:off x="3316902" y="3558341"/>
            <a:ext cx="2446221" cy="274650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100" b="1" dirty="0">
                <a:solidFill>
                  <a:schemeClr val="tx2"/>
                </a:solidFill>
              </a:rPr>
              <a:t>Central:</a:t>
            </a:r>
          </a:p>
          <a:p>
            <a:pPr marL="171450" indent="-171450">
              <a:buFontTx/>
              <a:buChar char="-"/>
            </a:pPr>
            <a:r>
              <a:rPr lang="en-GB" sz="1100" dirty="0">
                <a:solidFill>
                  <a:schemeClr val="tx2"/>
                </a:solidFill>
              </a:rPr>
              <a:t>Provides data tech platform</a:t>
            </a:r>
          </a:p>
          <a:p>
            <a:pPr marL="171450" indent="-171450">
              <a:buFontTx/>
              <a:buChar char="-"/>
            </a:pPr>
            <a:r>
              <a:rPr lang="en-GB" sz="1100" dirty="0">
                <a:solidFill>
                  <a:schemeClr val="tx2"/>
                </a:solidFill>
              </a:rPr>
              <a:t>Provides data engineering tech resources</a:t>
            </a:r>
          </a:p>
          <a:p>
            <a:pPr marL="171450" indent="-171450">
              <a:buFontTx/>
              <a:buChar char="-"/>
            </a:pPr>
            <a:r>
              <a:rPr lang="en-GB" sz="1100" dirty="0">
                <a:solidFill>
                  <a:schemeClr val="tx2"/>
                </a:solidFill>
              </a:rPr>
              <a:t>Provides Enterprise Data Arch</a:t>
            </a:r>
          </a:p>
          <a:p>
            <a:endParaRPr lang="en-GB" sz="1100" dirty="0">
              <a:solidFill>
                <a:schemeClr val="tx2"/>
              </a:solidFill>
            </a:endParaRPr>
          </a:p>
          <a:p>
            <a:r>
              <a:rPr lang="en-GB" sz="1100" b="1" dirty="0">
                <a:solidFill>
                  <a:schemeClr val="tx2"/>
                </a:solidFill>
              </a:rPr>
              <a:t>BU-IT:</a:t>
            </a:r>
          </a:p>
          <a:p>
            <a:pPr marL="171450" indent="-171450">
              <a:buFontTx/>
              <a:buChar char="-"/>
            </a:pPr>
            <a:r>
              <a:rPr lang="en-GB" sz="1100" dirty="0">
                <a:solidFill>
                  <a:schemeClr val="tx2"/>
                </a:solidFill>
              </a:rPr>
              <a:t>Owns and manages delivery</a:t>
            </a:r>
          </a:p>
          <a:p>
            <a:pPr marL="171450" indent="-171450">
              <a:buFontTx/>
              <a:buChar char="-"/>
            </a:pPr>
            <a:r>
              <a:rPr lang="en-GB" sz="1100" dirty="0">
                <a:solidFill>
                  <a:schemeClr val="tx2"/>
                </a:solidFill>
              </a:rPr>
              <a:t>Provides data source expertise</a:t>
            </a:r>
          </a:p>
          <a:p>
            <a:pPr marL="171450" indent="-171450">
              <a:buFontTx/>
              <a:buChar char="-"/>
            </a:pPr>
            <a:r>
              <a:rPr lang="en-GB" sz="1100" dirty="0">
                <a:solidFill>
                  <a:schemeClr val="tx2"/>
                </a:solidFill>
              </a:rPr>
              <a:t>Provides Data Solution Arch</a:t>
            </a:r>
          </a:p>
          <a:p>
            <a:pPr marL="171450" indent="-171450">
              <a:buFontTx/>
              <a:buChar char="-"/>
            </a:pPr>
            <a:r>
              <a:rPr lang="en-GB" sz="1100" dirty="0">
                <a:solidFill>
                  <a:schemeClr val="tx2"/>
                </a:solidFill>
              </a:rPr>
              <a:t>KPIs and requirements set by consuming Digital/Data Products</a:t>
            </a:r>
          </a:p>
          <a:p>
            <a:endParaRPr lang="en-GB" sz="1100" dirty="0">
              <a:solidFill>
                <a:schemeClr val="tx2"/>
              </a:solidFill>
            </a:endParaRPr>
          </a:p>
          <a:p>
            <a:r>
              <a:rPr lang="en-GB" sz="1100" b="1" dirty="0">
                <a:solidFill>
                  <a:schemeClr val="tx2"/>
                </a:solidFill>
              </a:rPr>
              <a:t>BU-Biz/Data:</a:t>
            </a:r>
            <a:endParaRPr lang="en-GB" sz="1100" dirty="0">
              <a:solidFill>
                <a:schemeClr val="tx2"/>
              </a:solidFill>
            </a:endParaRPr>
          </a:p>
          <a:p>
            <a:pPr marL="171450" indent="-171450">
              <a:buFontTx/>
              <a:buChar char="-"/>
            </a:pPr>
            <a:r>
              <a:rPr lang="en-GB" sz="1100" dirty="0">
                <a:solidFill>
                  <a:schemeClr val="tx2"/>
                </a:solidFill>
              </a:rPr>
              <a:t>Provides data steward support</a:t>
            </a:r>
          </a:p>
        </p:txBody>
      </p:sp>
      <p:sp>
        <p:nvSpPr>
          <p:cNvPr id="51" name="Rectangle 50">
            <a:extLst>
              <a:ext uri="{FF2B5EF4-FFF2-40B4-BE49-F238E27FC236}">
                <a16:creationId xmlns:a16="http://schemas.microsoft.com/office/drawing/2014/main" id="{EB47F789-8E39-4334-9141-3C413D34A24F}"/>
              </a:ext>
            </a:extLst>
          </p:cNvPr>
          <p:cNvSpPr/>
          <p:nvPr/>
        </p:nvSpPr>
        <p:spPr>
          <a:xfrm>
            <a:off x="5786346" y="3558341"/>
            <a:ext cx="2446221" cy="274650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100" b="1" dirty="0">
                <a:solidFill>
                  <a:schemeClr val="tx2"/>
                </a:solidFill>
              </a:rPr>
              <a:t>Central: </a:t>
            </a:r>
          </a:p>
          <a:p>
            <a:pPr marL="171450" indent="-171450">
              <a:buFontTx/>
              <a:buChar char="-"/>
            </a:pPr>
            <a:r>
              <a:rPr lang="en-GB" sz="1100" dirty="0">
                <a:solidFill>
                  <a:schemeClr val="tx2"/>
                </a:solidFill>
              </a:rPr>
              <a:t>Provides data tech platform</a:t>
            </a:r>
          </a:p>
          <a:p>
            <a:pPr marL="171450" indent="-171450">
              <a:buFontTx/>
              <a:buChar char="-"/>
            </a:pPr>
            <a:r>
              <a:rPr lang="en-GB" sz="1100" dirty="0">
                <a:solidFill>
                  <a:schemeClr val="tx2"/>
                </a:solidFill>
              </a:rPr>
              <a:t>Provides data engineering tech resources</a:t>
            </a:r>
          </a:p>
          <a:p>
            <a:pPr marL="171450" indent="-171450">
              <a:buFontTx/>
              <a:buChar char="-"/>
            </a:pPr>
            <a:r>
              <a:rPr lang="en-GB" sz="1100" dirty="0">
                <a:solidFill>
                  <a:schemeClr val="tx2"/>
                </a:solidFill>
              </a:rPr>
              <a:t>Provides Enterprise Data Arch</a:t>
            </a:r>
          </a:p>
          <a:p>
            <a:endParaRPr lang="en-GB" sz="1100" dirty="0">
              <a:solidFill>
                <a:schemeClr val="tx2"/>
              </a:solidFill>
            </a:endParaRPr>
          </a:p>
          <a:p>
            <a:r>
              <a:rPr lang="en-GB" sz="1100" b="1" dirty="0">
                <a:solidFill>
                  <a:schemeClr val="tx2"/>
                </a:solidFill>
              </a:rPr>
              <a:t>BU-IT: </a:t>
            </a:r>
          </a:p>
          <a:p>
            <a:pPr marL="171450" indent="-171450">
              <a:buFontTx/>
              <a:buChar char="-"/>
            </a:pPr>
            <a:r>
              <a:rPr lang="en-GB" sz="1100" dirty="0">
                <a:solidFill>
                  <a:schemeClr val="tx2"/>
                </a:solidFill>
              </a:rPr>
              <a:t>Owns and manages delivery?</a:t>
            </a:r>
          </a:p>
          <a:p>
            <a:pPr marL="171450" indent="-171450">
              <a:buFontTx/>
              <a:buChar char="-"/>
            </a:pPr>
            <a:r>
              <a:rPr lang="en-GB" sz="1100" dirty="0">
                <a:solidFill>
                  <a:schemeClr val="tx2"/>
                </a:solidFill>
              </a:rPr>
              <a:t>Provides data solution arch</a:t>
            </a:r>
          </a:p>
          <a:p>
            <a:pPr marL="171450" indent="-171450">
              <a:buFontTx/>
              <a:buChar char="-"/>
            </a:pPr>
            <a:r>
              <a:rPr lang="en-GB" sz="1100" dirty="0">
                <a:solidFill>
                  <a:schemeClr val="tx2"/>
                </a:solidFill>
              </a:rPr>
              <a:t>KPIs and requirements set by consuming </a:t>
            </a:r>
            <a:r>
              <a:rPr lang="en-GB" sz="1100" dirty="0" err="1">
                <a:solidFill>
                  <a:schemeClr val="tx2"/>
                </a:solidFill>
              </a:rPr>
              <a:t>Digial</a:t>
            </a:r>
            <a:endParaRPr lang="en-GB" sz="1100" dirty="0">
              <a:solidFill>
                <a:schemeClr val="tx2"/>
              </a:solidFill>
            </a:endParaRPr>
          </a:p>
          <a:p>
            <a:endParaRPr lang="en-GB" sz="1100" dirty="0">
              <a:solidFill>
                <a:schemeClr val="tx2"/>
              </a:solidFill>
            </a:endParaRPr>
          </a:p>
          <a:p>
            <a:r>
              <a:rPr lang="en-GB" sz="1100" b="1" dirty="0">
                <a:solidFill>
                  <a:schemeClr val="tx2"/>
                </a:solidFill>
              </a:rPr>
              <a:t>BU-Biz/Data:</a:t>
            </a:r>
          </a:p>
          <a:p>
            <a:pPr marL="171450" indent="-171450">
              <a:buFontTx/>
              <a:buChar char="-"/>
            </a:pPr>
            <a:r>
              <a:rPr lang="en-GB" sz="1100" dirty="0">
                <a:solidFill>
                  <a:schemeClr val="tx2"/>
                </a:solidFill>
              </a:rPr>
              <a:t>Provides data steward support</a:t>
            </a:r>
          </a:p>
          <a:p>
            <a:endParaRPr lang="en-GB" sz="1100" dirty="0">
              <a:solidFill>
                <a:schemeClr val="tx2"/>
              </a:solidFill>
            </a:endParaRPr>
          </a:p>
          <a:p>
            <a:r>
              <a:rPr lang="en-GB" sz="1100" dirty="0">
                <a:solidFill>
                  <a:schemeClr val="tx2"/>
                </a:solidFill>
              </a:rPr>
              <a:t> </a:t>
            </a:r>
          </a:p>
        </p:txBody>
      </p:sp>
      <p:sp>
        <p:nvSpPr>
          <p:cNvPr id="52" name="Rectangle 51">
            <a:extLst>
              <a:ext uri="{FF2B5EF4-FFF2-40B4-BE49-F238E27FC236}">
                <a16:creationId xmlns:a16="http://schemas.microsoft.com/office/drawing/2014/main" id="{838AB65E-F674-49CD-AB8F-ECBDD9028EBF}"/>
              </a:ext>
            </a:extLst>
          </p:cNvPr>
          <p:cNvSpPr/>
          <p:nvPr/>
        </p:nvSpPr>
        <p:spPr>
          <a:xfrm>
            <a:off x="8298663" y="3558341"/>
            <a:ext cx="3196621" cy="2746503"/>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100" b="1" dirty="0">
                <a:solidFill>
                  <a:schemeClr val="tx2"/>
                </a:solidFill>
              </a:rPr>
              <a:t>Central: </a:t>
            </a:r>
          </a:p>
          <a:p>
            <a:pPr marL="171450" indent="-171450">
              <a:buFontTx/>
              <a:buChar char="-"/>
            </a:pPr>
            <a:r>
              <a:rPr lang="en-GB" sz="1100" dirty="0">
                <a:solidFill>
                  <a:schemeClr val="tx2"/>
                </a:solidFill>
              </a:rPr>
              <a:t>Provides data tech platform</a:t>
            </a:r>
          </a:p>
          <a:p>
            <a:pPr marL="171450" indent="-171450">
              <a:buFontTx/>
              <a:buChar char="-"/>
            </a:pPr>
            <a:r>
              <a:rPr lang="en-GB" sz="1100" dirty="0">
                <a:solidFill>
                  <a:schemeClr val="tx2"/>
                </a:solidFill>
              </a:rPr>
              <a:t>Provides data engineering tech resources</a:t>
            </a:r>
          </a:p>
          <a:p>
            <a:pPr marL="171450" indent="-171450">
              <a:buFontTx/>
              <a:buChar char="-"/>
            </a:pPr>
            <a:endParaRPr lang="en-GB" sz="1100" dirty="0">
              <a:solidFill>
                <a:schemeClr val="tx2"/>
              </a:solidFill>
            </a:endParaRPr>
          </a:p>
          <a:p>
            <a:r>
              <a:rPr lang="en-GB" sz="1100" b="1" dirty="0">
                <a:solidFill>
                  <a:schemeClr val="tx2"/>
                </a:solidFill>
              </a:rPr>
              <a:t>BU-IT:</a:t>
            </a:r>
          </a:p>
          <a:p>
            <a:pPr marL="171450" indent="-171450">
              <a:buFontTx/>
              <a:buChar char="-"/>
            </a:pPr>
            <a:r>
              <a:rPr lang="en-GB" sz="1100" dirty="0">
                <a:solidFill>
                  <a:schemeClr val="tx2"/>
                </a:solidFill>
              </a:rPr>
              <a:t>Provides data tech support</a:t>
            </a:r>
          </a:p>
          <a:p>
            <a:pPr marL="171450" indent="-171450">
              <a:buFontTx/>
              <a:buChar char="-"/>
            </a:pPr>
            <a:r>
              <a:rPr lang="en-GB" sz="1100" dirty="0">
                <a:solidFill>
                  <a:schemeClr val="tx2"/>
                </a:solidFill>
              </a:rPr>
              <a:t>Provides data solution arch</a:t>
            </a:r>
          </a:p>
          <a:p>
            <a:endParaRPr lang="en-GB" sz="1100" dirty="0">
              <a:solidFill>
                <a:schemeClr val="tx2"/>
              </a:solidFill>
            </a:endParaRPr>
          </a:p>
          <a:p>
            <a:r>
              <a:rPr lang="en-GB" sz="1100" b="1" dirty="0">
                <a:solidFill>
                  <a:schemeClr val="tx2"/>
                </a:solidFill>
              </a:rPr>
              <a:t>BU-Biz/Data:</a:t>
            </a:r>
          </a:p>
          <a:p>
            <a:r>
              <a:rPr lang="en-GB" sz="1100" dirty="0">
                <a:solidFill>
                  <a:schemeClr val="tx2"/>
                </a:solidFill>
              </a:rPr>
              <a:t>- Owns and manages delivery?</a:t>
            </a:r>
          </a:p>
          <a:p>
            <a:endParaRPr lang="en-GB" sz="1100" dirty="0">
              <a:solidFill>
                <a:schemeClr val="tx2"/>
              </a:solidFill>
            </a:endParaRPr>
          </a:p>
        </p:txBody>
      </p:sp>
    </p:spTree>
    <p:extLst>
      <p:ext uri="{BB962C8B-B14F-4D97-AF65-F5344CB8AC3E}">
        <p14:creationId xmlns:p14="http://schemas.microsoft.com/office/powerpoint/2010/main" val="3155301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067A4C-7B7D-49E0-9F46-FC03DE985B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6"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EA067A4C-7B7D-49E0-9F46-FC03DE985B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6DC20F-FCAC-4EC5-B7B5-B457F571FC1F}"/>
              </a:ext>
            </a:extLst>
          </p:cNvPr>
          <p:cNvSpPr>
            <a:spLocks noGrp="1"/>
          </p:cNvSpPr>
          <p:nvPr>
            <p:ph type="title"/>
          </p:nvPr>
        </p:nvSpPr>
        <p:spPr>
          <a:xfrm>
            <a:off x="630000" y="622800"/>
            <a:ext cx="10933200" cy="387798"/>
          </a:xfrm>
          <a:prstGeom prst="rect">
            <a:avLst/>
          </a:prstGeom>
        </p:spPr>
        <p:txBody>
          <a:bodyPr vert="horz">
            <a:spAutoFit/>
          </a:bodyPr>
          <a:lstStyle/>
          <a:p>
            <a:r>
              <a:rPr lang="en-GB" sz="2800" dirty="0"/>
              <a:t>Overview of Hub and Spoke model – focusing on the role of data</a:t>
            </a:r>
            <a:endParaRPr lang="en-US" sz="2800" dirty="0"/>
          </a:p>
        </p:txBody>
      </p:sp>
      <p:sp>
        <p:nvSpPr>
          <p:cNvPr id="4" name="Oval 3">
            <a:extLst>
              <a:ext uri="{FF2B5EF4-FFF2-40B4-BE49-F238E27FC236}">
                <a16:creationId xmlns:a16="http://schemas.microsoft.com/office/drawing/2014/main" id="{37CFE436-DBB8-4D88-9B39-1FD71556736B}"/>
              </a:ext>
            </a:extLst>
          </p:cNvPr>
          <p:cNvSpPr/>
          <p:nvPr/>
        </p:nvSpPr>
        <p:spPr>
          <a:xfrm>
            <a:off x="4759848" y="3059524"/>
            <a:ext cx="2140253" cy="1630876"/>
          </a:xfrm>
          <a:prstGeom prst="ellipse">
            <a:avLst/>
          </a:prstGeom>
          <a:solidFill>
            <a:srgbClr val="EEE89A"/>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rgbClr val="FFFFFF"/>
              </a:solidFill>
            </a:endParaRPr>
          </a:p>
        </p:txBody>
      </p:sp>
      <p:sp>
        <p:nvSpPr>
          <p:cNvPr id="3" name="TextBox 2">
            <a:extLst>
              <a:ext uri="{FF2B5EF4-FFF2-40B4-BE49-F238E27FC236}">
                <a16:creationId xmlns:a16="http://schemas.microsoft.com/office/drawing/2014/main" id="{8E3746B3-C7EF-4D51-BEC9-ADC01DEFD47A}"/>
              </a:ext>
            </a:extLst>
          </p:cNvPr>
          <p:cNvSpPr txBox="1"/>
          <p:nvPr/>
        </p:nvSpPr>
        <p:spPr>
          <a:xfrm>
            <a:off x="4740579" y="3503115"/>
            <a:ext cx="2190181" cy="5276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r>
              <a:rPr lang="en-US" sz="1600" b="1" dirty="0">
                <a:solidFill>
                  <a:srgbClr val="00148C"/>
                </a:solidFill>
              </a:rPr>
              <a:t>Data Technology Platform team and central capabilities</a:t>
            </a:r>
            <a:r>
              <a:rPr lang="en-US" sz="1600" b="1" baseline="30000" dirty="0">
                <a:solidFill>
                  <a:srgbClr val="00148C"/>
                </a:solidFill>
              </a:rPr>
              <a:t>1</a:t>
            </a:r>
            <a:r>
              <a:rPr lang="en-US" sz="1600" b="1" dirty="0">
                <a:solidFill>
                  <a:srgbClr val="00148C"/>
                </a:solidFill>
              </a:rPr>
              <a:t> </a:t>
            </a:r>
          </a:p>
        </p:txBody>
      </p:sp>
      <p:grpSp>
        <p:nvGrpSpPr>
          <p:cNvPr id="265" name="bcgIcons_CloudReplacesOnPremises">
            <a:extLst>
              <a:ext uri="{FF2B5EF4-FFF2-40B4-BE49-F238E27FC236}">
                <a16:creationId xmlns:a16="http://schemas.microsoft.com/office/drawing/2014/main" id="{310B3BE0-34E1-4100-BA48-EADF8A1F5506}"/>
              </a:ext>
            </a:extLst>
          </p:cNvPr>
          <p:cNvGrpSpPr>
            <a:grpSpLocks noChangeAspect="1"/>
          </p:cNvGrpSpPr>
          <p:nvPr/>
        </p:nvGrpSpPr>
        <p:grpSpPr bwMode="auto">
          <a:xfrm>
            <a:off x="5853185" y="4144984"/>
            <a:ext cx="354072" cy="343216"/>
            <a:chOff x="1682" y="0"/>
            <a:chExt cx="4316" cy="4320"/>
          </a:xfrm>
        </p:grpSpPr>
        <p:sp>
          <p:nvSpPr>
            <p:cNvPr id="283" name="AutoShape 34">
              <a:extLst>
                <a:ext uri="{FF2B5EF4-FFF2-40B4-BE49-F238E27FC236}">
                  <a16:creationId xmlns:a16="http://schemas.microsoft.com/office/drawing/2014/main" id="{62D203EA-9AE3-477F-838C-D5E314C6F86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284" name="Freeform 36">
              <a:extLst>
                <a:ext uri="{FF2B5EF4-FFF2-40B4-BE49-F238E27FC236}">
                  <a16:creationId xmlns:a16="http://schemas.microsoft.com/office/drawing/2014/main" id="{AF247B36-29F1-4D03-8C47-8C46AD31C137}"/>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285" name="Freeform 37">
              <a:extLst>
                <a:ext uri="{FF2B5EF4-FFF2-40B4-BE49-F238E27FC236}">
                  <a16:creationId xmlns:a16="http://schemas.microsoft.com/office/drawing/2014/main" id="{8BFC5B69-A269-4A1A-8926-9C481C233199}"/>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266" name="bcgIcons_Shield">
            <a:extLst>
              <a:ext uri="{FF2B5EF4-FFF2-40B4-BE49-F238E27FC236}">
                <a16:creationId xmlns:a16="http://schemas.microsoft.com/office/drawing/2014/main" id="{0C854530-18D4-42A2-8BBC-5A4C93F2E405}"/>
              </a:ext>
            </a:extLst>
          </p:cNvPr>
          <p:cNvGrpSpPr>
            <a:grpSpLocks noChangeAspect="1"/>
          </p:cNvGrpSpPr>
          <p:nvPr/>
        </p:nvGrpSpPr>
        <p:grpSpPr bwMode="auto">
          <a:xfrm>
            <a:off x="5486306" y="4174785"/>
            <a:ext cx="314731" cy="305081"/>
            <a:chOff x="1682" y="0"/>
            <a:chExt cx="4316" cy="4320"/>
          </a:xfrm>
        </p:grpSpPr>
        <p:sp>
          <p:nvSpPr>
            <p:cNvPr id="280" name="AutoShape 34">
              <a:extLst>
                <a:ext uri="{FF2B5EF4-FFF2-40B4-BE49-F238E27FC236}">
                  <a16:creationId xmlns:a16="http://schemas.microsoft.com/office/drawing/2014/main" id="{475A6F06-9708-4755-8EA3-FB98DD351C1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281" name="Freeform 36">
              <a:extLst>
                <a:ext uri="{FF2B5EF4-FFF2-40B4-BE49-F238E27FC236}">
                  <a16:creationId xmlns:a16="http://schemas.microsoft.com/office/drawing/2014/main" id="{95B389E5-92C9-41B7-9522-950092280F84}"/>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282" name="Freeform 37">
              <a:extLst>
                <a:ext uri="{FF2B5EF4-FFF2-40B4-BE49-F238E27FC236}">
                  <a16:creationId xmlns:a16="http://schemas.microsoft.com/office/drawing/2014/main" id="{8C2DBA09-D198-4664-A122-7E202AD5C2EB}"/>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267" name="Group 266">
            <a:extLst>
              <a:ext uri="{FF2B5EF4-FFF2-40B4-BE49-F238E27FC236}">
                <a16:creationId xmlns:a16="http://schemas.microsoft.com/office/drawing/2014/main" id="{3B0B0CDA-AA89-4536-9B85-770712E43AB7}"/>
              </a:ext>
            </a:extLst>
          </p:cNvPr>
          <p:cNvGrpSpPr>
            <a:grpSpLocks noChangeAspect="1"/>
          </p:cNvGrpSpPr>
          <p:nvPr/>
        </p:nvGrpSpPr>
        <p:grpSpPr>
          <a:xfrm>
            <a:off x="5052308" y="4105243"/>
            <a:ext cx="437531" cy="423724"/>
            <a:chOff x="5274038" y="2605402"/>
            <a:chExt cx="1645200" cy="1645200"/>
          </a:xfrm>
        </p:grpSpPr>
        <p:sp>
          <p:nvSpPr>
            <p:cNvPr id="273" name="AutoShape 3">
              <a:extLst>
                <a:ext uri="{FF2B5EF4-FFF2-40B4-BE49-F238E27FC236}">
                  <a16:creationId xmlns:a16="http://schemas.microsoft.com/office/drawing/2014/main" id="{F4833181-4742-417F-AC0C-9C07B0EEB401}"/>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4" name="Group 273">
              <a:extLst>
                <a:ext uri="{FF2B5EF4-FFF2-40B4-BE49-F238E27FC236}">
                  <a16:creationId xmlns:a16="http://schemas.microsoft.com/office/drawing/2014/main" id="{66AEBE7B-99E0-421E-AF1A-9C0892FDEDEF}"/>
                </a:ext>
              </a:extLst>
            </p:cNvPr>
            <p:cNvGrpSpPr/>
            <p:nvPr/>
          </p:nvGrpSpPr>
          <p:grpSpPr>
            <a:xfrm>
              <a:off x="5577973" y="2880027"/>
              <a:ext cx="1037330" cy="1095951"/>
              <a:chOff x="5577973" y="2880027"/>
              <a:chExt cx="1037330" cy="1095951"/>
            </a:xfrm>
          </p:grpSpPr>
          <p:sp>
            <p:nvSpPr>
              <p:cNvPr id="275" name="Line 5">
                <a:extLst>
                  <a:ext uri="{FF2B5EF4-FFF2-40B4-BE49-F238E27FC236}">
                    <a16:creationId xmlns:a16="http://schemas.microsoft.com/office/drawing/2014/main" id="{B9F06128-FC93-4201-91C2-34959B1999D7}"/>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Line 6">
                <a:extLst>
                  <a:ext uri="{FF2B5EF4-FFF2-40B4-BE49-F238E27FC236}">
                    <a16:creationId xmlns:a16="http://schemas.microsoft.com/office/drawing/2014/main" id="{852A8D31-43D5-44E5-8272-562D80A9F068}"/>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42">
                <a:extLst>
                  <a:ext uri="{FF2B5EF4-FFF2-40B4-BE49-F238E27FC236}">
                    <a16:creationId xmlns:a16="http://schemas.microsoft.com/office/drawing/2014/main" id="{A8D3E1BE-37D5-489D-996D-96322C1C926A}"/>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24">
                <a:extLst>
                  <a:ext uri="{FF2B5EF4-FFF2-40B4-BE49-F238E27FC236}">
                    <a16:creationId xmlns:a16="http://schemas.microsoft.com/office/drawing/2014/main" id="{BE1BD0F7-A659-43CF-9F83-F6BF7F9D42E9}"/>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79" name="Freeform 23">
                <a:extLst>
                  <a:ext uri="{FF2B5EF4-FFF2-40B4-BE49-F238E27FC236}">
                    <a16:creationId xmlns:a16="http://schemas.microsoft.com/office/drawing/2014/main" id="{5935A055-C012-4F4F-AFF8-C23349FEC67A}"/>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68" name="Group 267">
            <a:extLst>
              <a:ext uri="{FF2B5EF4-FFF2-40B4-BE49-F238E27FC236}">
                <a16:creationId xmlns:a16="http://schemas.microsoft.com/office/drawing/2014/main" id="{850FC35B-457D-46CD-8631-530BD7A964EB}"/>
              </a:ext>
            </a:extLst>
          </p:cNvPr>
          <p:cNvGrpSpPr>
            <a:grpSpLocks noChangeAspect="1"/>
          </p:cNvGrpSpPr>
          <p:nvPr/>
        </p:nvGrpSpPr>
        <p:grpSpPr>
          <a:xfrm>
            <a:off x="6243707" y="4163496"/>
            <a:ext cx="364943" cy="353426"/>
            <a:chOff x="5273675" y="2600325"/>
            <a:chExt cx="1644650" cy="1644650"/>
          </a:xfrm>
        </p:grpSpPr>
        <p:sp>
          <p:nvSpPr>
            <p:cNvPr id="269" name="AutoShape 3">
              <a:extLst>
                <a:ext uri="{FF2B5EF4-FFF2-40B4-BE49-F238E27FC236}">
                  <a16:creationId xmlns:a16="http://schemas.microsoft.com/office/drawing/2014/main" id="{042E0FE7-F3D9-4E1B-A467-B3D1E893D064}"/>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0" name="Group 269">
              <a:extLst>
                <a:ext uri="{FF2B5EF4-FFF2-40B4-BE49-F238E27FC236}">
                  <a16:creationId xmlns:a16="http://schemas.microsoft.com/office/drawing/2014/main" id="{F4AB69E4-DFA4-4B71-AB27-8F5429615617}"/>
                </a:ext>
              </a:extLst>
            </p:cNvPr>
            <p:cNvGrpSpPr/>
            <p:nvPr/>
          </p:nvGrpSpPr>
          <p:grpSpPr>
            <a:xfrm>
              <a:off x="5443538" y="2770188"/>
              <a:ext cx="1303338" cy="1303338"/>
              <a:chOff x="5443538" y="2770188"/>
              <a:chExt cx="1303338" cy="1303338"/>
            </a:xfrm>
          </p:grpSpPr>
          <p:sp>
            <p:nvSpPr>
              <p:cNvPr id="271" name="Freeform 26">
                <a:extLst>
                  <a:ext uri="{FF2B5EF4-FFF2-40B4-BE49-F238E27FC236}">
                    <a16:creationId xmlns:a16="http://schemas.microsoft.com/office/drawing/2014/main" id="{71CAECB0-CE13-4146-A9B2-CD964494365E}"/>
                  </a:ext>
                </a:extLst>
              </p:cNvPr>
              <p:cNvSpPr>
                <a:spLocks/>
              </p:cNvSpPr>
              <p:nvPr/>
            </p:nvSpPr>
            <p:spPr bwMode="auto">
              <a:xfrm>
                <a:off x="5707063" y="3082925"/>
                <a:ext cx="776288" cy="674688"/>
              </a:xfrm>
              <a:custGeom>
                <a:avLst/>
                <a:gdLst>
                  <a:gd name="connsiteX0" fmla="*/ 28593 w 776288"/>
                  <a:gd name="connsiteY0" fmla="*/ 381000 h 674688"/>
                  <a:gd name="connsiteX1" fmla="*/ 448189 w 776288"/>
                  <a:gd name="connsiteY1" fmla="*/ 381000 h 674688"/>
                  <a:gd name="connsiteX2" fmla="*/ 489648 w 776288"/>
                  <a:gd name="connsiteY2" fmla="*/ 405949 h 674688"/>
                  <a:gd name="connsiteX3" fmla="*/ 518955 w 776288"/>
                  <a:gd name="connsiteY3" fmla="*/ 522854 h 674688"/>
                  <a:gd name="connsiteX4" fmla="*/ 528963 w 776288"/>
                  <a:gd name="connsiteY4" fmla="*/ 542814 h 674688"/>
                  <a:gd name="connsiteX5" fmla="*/ 533966 w 776288"/>
                  <a:gd name="connsiteY5" fmla="*/ 543527 h 674688"/>
                  <a:gd name="connsiteX6" fmla="*/ 548977 w 776288"/>
                  <a:gd name="connsiteY6" fmla="*/ 532834 h 674688"/>
                  <a:gd name="connsiteX7" fmla="*/ 511092 w 776288"/>
                  <a:gd name="connsiteY7" fmla="*/ 383139 h 674688"/>
                  <a:gd name="connsiteX8" fmla="*/ 508948 w 776288"/>
                  <a:gd name="connsiteY8" fmla="*/ 381000 h 674688"/>
                  <a:gd name="connsiteX9" fmla="*/ 743407 w 776288"/>
                  <a:gd name="connsiteY9" fmla="*/ 381000 h 674688"/>
                  <a:gd name="connsiteX10" fmla="*/ 776288 w 776288"/>
                  <a:gd name="connsiteY10" fmla="*/ 414503 h 674688"/>
                  <a:gd name="connsiteX11" fmla="*/ 732685 w 776288"/>
                  <a:gd name="connsiteY11" fmla="*/ 503608 h 674688"/>
                  <a:gd name="connsiteX12" fmla="*/ 669066 w 776288"/>
                  <a:gd name="connsiteY12" fmla="*/ 547091 h 674688"/>
                  <a:gd name="connsiteX13" fmla="*/ 674785 w 776288"/>
                  <a:gd name="connsiteY13" fmla="*/ 499331 h 674688"/>
                  <a:gd name="connsiteX14" fmla="*/ 659059 w 776288"/>
                  <a:gd name="connsiteY14" fmla="*/ 483648 h 674688"/>
                  <a:gd name="connsiteX15" fmla="*/ 643333 w 776288"/>
                  <a:gd name="connsiteY15" fmla="*/ 499331 h 674688"/>
                  <a:gd name="connsiteX16" fmla="*/ 596155 w 776288"/>
                  <a:gd name="connsiteY16" fmla="*/ 622651 h 674688"/>
                  <a:gd name="connsiteX17" fmla="*/ 574711 w 776288"/>
                  <a:gd name="connsiteY17" fmla="*/ 641898 h 674688"/>
                  <a:gd name="connsiteX18" fmla="*/ 471777 w 776288"/>
                  <a:gd name="connsiteY18" fmla="*/ 674688 h 674688"/>
                  <a:gd name="connsiteX19" fmla="*/ 383855 w 776288"/>
                  <a:gd name="connsiteY19" fmla="*/ 651165 h 674688"/>
                  <a:gd name="connsiteX20" fmla="*/ 375992 w 776288"/>
                  <a:gd name="connsiteY20" fmla="*/ 646888 h 674688"/>
                  <a:gd name="connsiteX21" fmla="*/ 318092 w 776288"/>
                  <a:gd name="connsiteY21" fmla="*/ 573466 h 674688"/>
                  <a:gd name="connsiteX22" fmla="*/ 390289 w 776288"/>
                  <a:gd name="connsiteY22" fmla="*/ 521429 h 674688"/>
                  <a:gd name="connsiteX23" fmla="*/ 386000 w 776288"/>
                  <a:gd name="connsiteY23" fmla="*/ 500044 h 674688"/>
                  <a:gd name="connsiteX24" fmla="*/ 363841 w 776288"/>
                  <a:gd name="connsiteY24" fmla="*/ 504321 h 674688"/>
                  <a:gd name="connsiteX25" fmla="*/ 306655 w 776288"/>
                  <a:gd name="connsiteY25" fmla="*/ 543527 h 674688"/>
                  <a:gd name="connsiteX26" fmla="*/ 238033 w 776288"/>
                  <a:gd name="connsiteY26" fmla="*/ 531408 h 674688"/>
                  <a:gd name="connsiteX27" fmla="*/ 215874 w 776288"/>
                  <a:gd name="connsiteY27" fmla="*/ 535685 h 674688"/>
                  <a:gd name="connsiteX28" fmla="*/ 220878 w 776288"/>
                  <a:gd name="connsiteY28" fmla="*/ 557070 h 674688"/>
                  <a:gd name="connsiteX29" fmla="*/ 285926 w 776288"/>
                  <a:gd name="connsiteY29" fmla="*/ 577030 h 674688"/>
                  <a:gd name="connsiteX30" fmla="*/ 335963 w 776288"/>
                  <a:gd name="connsiteY30" fmla="*/ 654016 h 674688"/>
                  <a:gd name="connsiteX31" fmla="*/ 265911 w 776288"/>
                  <a:gd name="connsiteY31" fmla="*/ 670411 h 674688"/>
                  <a:gd name="connsiteX32" fmla="*/ 168696 w 776288"/>
                  <a:gd name="connsiteY32" fmla="*/ 636195 h 674688"/>
                  <a:gd name="connsiteX33" fmla="*/ 125093 w 776288"/>
                  <a:gd name="connsiteY33" fmla="*/ 572753 h 674688"/>
                  <a:gd name="connsiteX34" fmla="*/ 122233 w 776288"/>
                  <a:gd name="connsiteY34" fmla="*/ 562773 h 674688"/>
                  <a:gd name="connsiteX35" fmla="*/ 117945 w 776288"/>
                  <a:gd name="connsiteY35" fmla="*/ 529983 h 674688"/>
                  <a:gd name="connsiteX36" fmla="*/ 137245 w 776288"/>
                  <a:gd name="connsiteY36" fmla="*/ 457986 h 674688"/>
                  <a:gd name="connsiteX37" fmla="*/ 130811 w 776288"/>
                  <a:gd name="connsiteY37" fmla="*/ 436601 h 674688"/>
                  <a:gd name="connsiteX38" fmla="*/ 109367 w 776288"/>
                  <a:gd name="connsiteY38" fmla="*/ 442304 h 674688"/>
                  <a:gd name="connsiteX39" fmla="*/ 86493 w 776288"/>
                  <a:gd name="connsiteY39" fmla="*/ 529983 h 674688"/>
                  <a:gd name="connsiteX40" fmla="*/ 87208 w 776288"/>
                  <a:gd name="connsiteY40" fmla="*/ 542101 h 674688"/>
                  <a:gd name="connsiteX41" fmla="*/ 0 w 776288"/>
                  <a:gd name="connsiteY41" fmla="*/ 447294 h 674688"/>
                  <a:gd name="connsiteX42" fmla="*/ 28593 w 776288"/>
                  <a:gd name="connsiteY42" fmla="*/ 381000 h 674688"/>
                  <a:gd name="connsiteX43" fmla="*/ 471777 w 776288"/>
                  <a:gd name="connsiteY43" fmla="*/ 0 h 674688"/>
                  <a:gd name="connsiteX44" fmla="*/ 572566 w 776288"/>
                  <a:gd name="connsiteY44" fmla="*/ 31365 h 674688"/>
                  <a:gd name="connsiteX45" fmla="*/ 643333 w 776288"/>
                  <a:gd name="connsiteY45" fmla="*/ 174645 h 674688"/>
                  <a:gd name="connsiteX46" fmla="*/ 659059 w 776288"/>
                  <a:gd name="connsiteY46" fmla="*/ 190327 h 674688"/>
                  <a:gd name="connsiteX47" fmla="*/ 674785 w 776288"/>
                  <a:gd name="connsiteY47" fmla="*/ 174645 h 674688"/>
                  <a:gd name="connsiteX48" fmla="*/ 669066 w 776288"/>
                  <a:gd name="connsiteY48" fmla="*/ 126885 h 674688"/>
                  <a:gd name="connsiteX49" fmla="*/ 776288 w 776288"/>
                  <a:gd name="connsiteY49" fmla="*/ 258046 h 674688"/>
                  <a:gd name="connsiteX50" fmla="*/ 741262 w 776288"/>
                  <a:gd name="connsiteY50" fmla="*/ 293688 h 674688"/>
                  <a:gd name="connsiteX51" fmla="*/ 306655 w 776288"/>
                  <a:gd name="connsiteY51" fmla="*/ 293688 h 674688"/>
                  <a:gd name="connsiteX52" fmla="*/ 268770 w 776288"/>
                  <a:gd name="connsiteY52" fmla="*/ 269452 h 674688"/>
                  <a:gd name="connsiteX53" fmla="*/ 239463 w 776288"/>
                  <a:gd name="connsiteY53" fmla="*/ 152547 h 674688"/>
                  <a:gd name="connsiteX54" fmla="*/ 229456 w 776288"/>
                  <a:gd name="connsiteY54" fmla="*/ 132587 h 674688"/>
                  <a:gd name="connsiteX55" fmla="*/ 209441 w 776288"/>
                  <a:gd name="connsiteY55" fmla="*/ 142567 h 674688"/>
                  <a:gd name="connsiteX56" fmla="*/ 246611 w 776288"/>
                  <a:gd name="connsiteY56" fmla="*/ 292262 h 674688"/>
                  <a:gd name="connsiteX57" fmla="*/ 248041 w 776288"/>
                  <a:gd name="connsiteY57" fmla="*/ 293688 h 674688"/>
                  <a:gd name="connsiteX58" fmla="*/ 28593 w 776288"/>
                  <a:gd name="connsiteY58" fmla="*/ 293688 h 674688"/>
                  <a:gd name="connsiteX59" fmla="*/ 0 w 776288"/>
                  <a:gd name="connsiteY59" fmla="*/ 227394 h 674688"/>
                  <a:gd name="connsiteX60" fmla="*/ 89352 w 776288"/>
                  <a:gd name="connsiteY60" fmla="*/ 131875 h 674688"/>
                  <a:gd name="connsiteX61" fmla="*/ 90067 w 776288"/>
                  <a:gd name="connsiteY61" fmla="*/ 131875 h 674688"/>
                  <a:gd name="connsiteX62" fmla="*/ 89352 w 776288"/>
                  <a:gd name="connsiteY62" fmla="*/ 142567 h 674688"/>
                  <a:gd name="connsiteX63" fmla="*/ 111511 w 776288"/>
                  <a:gd name="connsiteY63" fmla="*/ 229533 h 674688"/>
                  <a:gd name="connsiteX64" fmla="*/ 125808 w 776288"/>
                  <a:gd name="connsiteY64" fmla="*/ 237374 h 674688"/>
                  <a:gd name="connsiteX65" fmla="*/ 132956 w 776288"/>
                  <a:gd name="connsiteY65" fmla="*/ 235949 h 674688"/>
                  <a:gd name="connsiteX66" fmla="*/ 139389 w 776288"/>
                  <a:gd name="connsiteY66" fmla="*/ 214563 h 674688"/>
                  <a:gd name="connsiteX67" fmla="*/ 120804 w 776288"/>
                  <a:gd name="connsiteY67" fmla="*/ 142567 h 674688"/>
                  <a:gd name="connsiteX68" fmla="*/ 136530 w 776288"/>
                  <a:gd name="connsiteY68" fmla="*/ 76273 h 674688"/>
                  <a:gd name="connsiteX69" fmla="*/ 168696 w 776288"/>
                  <a:gd name="connsiteY69" fmla="*/ 38493 h 674688"/>
                  <a:gd name="connsiteX70" fmla="*/ 265911 w 776288"/>
                  <a:gd name="connsiteY70" fmla="*/ 4277 h 674688"/>
                  <a:gd name="connsiteX71" fmla="*/ 340967 w 776288"/>
                  <a:gd name="connsiteY71" fmla="*/ 23524 h 674688"/>
                  <a:gd name="connsiteX72" fmla="*/ 350259 w 776288"/>
                  <a:gd name="connsiteY72" fmla="*/ 27801 h 674688"/>
                  <a:gd name="connsiteX73" fmla="*/ 403870 w 776288"/>
                  <a:gd name="connsiteY73" fmla="*/ 129023 h 674688"/>
                  <a:gd name="connsiteX74" fmla="*/ 365985 w 776288"/>
                  <a:gd name="connsiteY74" fmla="*/ 127598 h 674688"/>
                  <a:gd name="connsiteX75" fmla="*/ 352404 w 776288"/>
                  <a:gd name="connsiteY75" fmla="*/ 145418 h 674688"/>
                  <a:gd name="connsiteX76" fmla="*/ 370274 w 776288"/>
                  <a:gd name="connsiteY76" fmla="*/ 158962 h 674688"/>
                  <a:gd name="connsiteX77" fmla="*/ 472492 w 776288"/>
                  <a:gd name="connsiteY77" fmla="*/ 237374 h 674688"/>
                  <a:gd name="connsiteX78" fmla="*/ 488218 w 776288"/>
                  <a:gd name="connsiteY78" fmla="*/ 250918 h 674688"/>
                  <a:gd name="connsiteX79" fmla="*/ 490363 w 776288"/>
                  <a:gd name="connsiteY79" fmla="*/ 250918 h 674688"/>
                  <a:gd name="connsiteX80" fmla="*/ 503944 w 776288"/>
                  <a:gd name="connsiteY80" fmla="*/ 233097 h 674688"/>
                  <a:gd name="connsiteX81" fmla="*/ 436037 w 776288"/>
                  <a:gd name="connsiteY81" fmla="*/ 139003 h 674688"/>
                  <a:gd name="connsiteX82" fmla="*/ 388144 w 776288"/>
                  <a:gd name="connsiteY82" fmla="*/ 20672 h 674688"/>
                  <a:gd name="connsiteX83" fmla="*/ 471777 w 776288"/>
                  <a:gd name="connsiteY83" fmla="*/ 0 h 6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288" h="674688">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72" name="Freeform 25">
                <a:extLst>
                  <a:ext uri="{FF2B5EF4-FFF2-40B4-BE49-F238E27FC236}">
                    <a16:creationId xmlns:a16="http://schemas.microsoft.com/office/drawing/2014/main" id="{BDF66AAC-9B3B-434B-9A2E-A7C1A8A2EA84}"/>
                  </a:ext>
                </a:extLst>
              </p:cNvPr>
              <p:cNvSpPr>
                <a:spLocks/>
              </p:cNvSpPr>
              <p:nvPr/>
            </p:nvSpPr>
            <p:spPr bwMode="auto">
              <a:xfrm>
                <a:off x="5443538" y="277018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cxnSp>
        <p:nvCxnSpPr>
          <p:cNvPr id="519" name="Straight Arrow Connector 518">
            <a:extLst>
              <a:ext uri="{FF2B5EF4-FFF2-40B4-BE49-F238E27FC236}">
                <a16:creationId xmlns:a16="http://schemas.microsoft.com/office/drawing/2014/main" id="{77FF47B9-DFAE-4724-B357-65BBCDA1C2AC}"/>
              </a:ext>
            </a:extLst>
          </p:cNvPr>
          <p:cNvCxnSpPr>
            <a:cxnSpLocks/>
            <a:stCxn id="4" idx="1"/>
          </p:cNvCxnSpPr>
          <p:nvPr/>
        </p:nvCxnSpPr>
        <p:spPr>
          <a:xfrm flipH="1" flipV="1">
            <a:off x="4001195" y="2742696"/>
            <a:ext cx="1072086" cy="555664"/>
          </a:xfrm>
          <a:prstGeom prst="straightConnector1">
            <a:avLst/>
          </a:prstGeom>
          <a:ln w="25400"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768C108-91B7-4E2F-989E-BF54576BD01E}"/>
              </a:ext>
            </a:extLst>
          </p:cNvPr>
          <p:cNvSpPr txBox="1"/>
          <p:nvPr/>
        </p:nvSpPr>
        <p:spPr>
          <a:xfrm>
            <a:off x="5176720" y="2350495"/>
            <a:ext cx="1163154" cy="3457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521" name="TextBox 520">
            <a:extLst>
              <a:ext uri="{FF2B5EF4-FFF2-40B4-BE49-F238E27FC236}">
                <a16:creationId xmlns:a16="http://schemas.microsoft.com/office/drawing/2014/main" id="{8A9F2321-B343-4056-8F34-B0ED9B027D40}"/>
              </a:ext>
            </a:extLst>
          </p:cNvPr>
          <p:cNvSpPr txBox="1"/>
          <p:nvPr/>
        </p:nvSpPr>
        <p:spPr>
          <a:xfrm>
            <a:off x="4719600" y="2808494"/>
            <a:ext cx="860303" cy="406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i="1" dirty="0">
                <a:solidFill>
                  <a:srgbClr val="000000"/>
                </a:solidFill>
              </a:rPr>
              <a:t>Hub</a:t>
            </a:r>
          </a:p>
        </p:txBody>
      </p:sp>
      <p:sp>
        <p:nvSpPr>
          <p:cNvPr id="243" name="ee4pFootnotes">
            <a:extLst>
              <a:ext uri="{FF2B5EF4-FFF2-40B4-BE49-F238E27FC236}">
                <a16:creationId xmlns:a16="http://schemas.microsoft.com/office/drawing/2014/main" id="{2C6B11A1-BE44-411B-9F77-C18F19102011}"/>
              </a:ext>
            </a:extLst>
          </p:cNvPr>
          <p:cNvSpPr>
            <a:spLocks noChangeArrowheads="1"/>
          </p:cNvSpPr>
          <p:nvPr/>
        </p:nvSpPr>
        <p:spPr bwMode="auto">
          <a:xfrm>
            <a:off x="1980648" y="6484882"/>
            <a:ext cx="9342108"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latin typeface="Arial" panose="020B0604020202020204" pitchFamily="34" charset="0"/>
                <a:sym typeface="+mn-lt"/>
              </a:rPr>
              <a:t>1. Includes Data technologies, Software Defined platform deployment, Data &amp; Analytics </a:t>
            </a:r>
            <a:r>
              <a:rPr lang="en-US" sz="1000" dirty="0" err="1">
                <a:solidFill>
                  <a:srgbClr val="7F7F7F"/>
                </a:solidFill>
                <a:latin typeface="Arial" panose="020B0604020202020204" pitchFamily="34" charset="0"/>
                <a:sym typeface="+mn-lt"/>
              </a:rPr>
              <a:t>CoE</a:t>
            </a:r>
            <a:r>
              <a:rPr lang="en-US" sz="1000" dirty="0">
                <a:solidFill>
                  <a:srgbClr val="7F7F7F"/>
                </a:solidFill>
                <a:latin typeface="Arial" panose="020B0604020202020204" pitchFamily="34" charset="0"/>
                <a:sym typeface="+mn-lt"/>
              </a:rPr>
              <a:t>, Data Modelling Council, DG Council, Technical Data Delivery resources</a:t>
            </a:r>
          </a:p>
        </p:txBody>
      </p:sp>
      <p:sp>
        <p:nvSpPr>
          <p:cNvPr id="242" name="NavigationTriangle">
            <a:extLst>
              <a:ext uri="{FF2B5EF4-FFF2-40B4-BE49-F238E27FC236}">
                <a16:creationId xmlns:a16="http://schemas.microsoft.com/office/drawing/2014/main" id="{C60AADA3-A41B-4F4C-8A22-2AF45EAD296C}"/>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4" name="NavigationIcon">
            <a:extLst>
              <a:ext uri="{FF2B5EF4-FFF2-40B4-BE49-F238E27FC236}">
                <a16:creationId xmlns:a16="http://schemas.microsoft.com/office/drawing/2014/main" id="{00685BA9-9A32-433C-BFAD-42B022117507}"/>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5</a:t>
            </a:r>
          </a:p>
        </p:txBody>
      </p:sp>
      <p:sp>
        <p:nvSpPr>
          <p:cNvPr id="245" name="Oval 244">
            <a:extLst>
              <a:ext uri="{FF2B5EF4-FFF2-40B4-BE49-F238E27FC236}">
                <a16:creationId xmlns:a16="http://schemas.microsoft.com/office/drawing/2014/main" id="{AF8A5165-6205-40D6-890C-E4B9B630B5AE}"/>
              </a:ext>
            </a:extLst>
          </p:cNvPr>
          <p:cNvSpPr/>
          <p:nvPr/>
        </p:nvSpPr>
        <p:spPr>
          <a:xfrm>
            <a:off x="2151012" y="2005425"/>
            <a:ext cx="1946972" cy="990383"/>
          </a:xfrm>
          <a:prstGeom prst="ellipse">
            <a:avLst/>
          </a:prstGeom>
          <a:solidFill>
            <a:srgbClr val="CCEC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00148C"/>
                </a:solidFill>
              </a:rPr>
              <a:t>UK ET </a:t>
            </a:r>
          </a:p>
          <a:p>
            <a:pPr algn="ctr"/>
            <a:r>
              <a:rPr lang="en-US" sz="1200" b="1" dirty="0">
                <a:solidFill>
                  <a:schemeClr val="tx2"/>
                </a:solidFill>
              </a:rPr>
              <a:t>Data Cloud</a:t>
            </a:r>
          </a:p>
        </p:txBody>
      </p:sp>
      <p:sp>
        <p:nvSpPr>
          <p:cNvPr id="249" name="Oval 248">
            <a:extLst>
              <a:ext uri="{FF2B5EF4-FFF2-40B4-BE49-F238E27FC236}">
                <a16:creationId xmlns:a16="http://schemas.microsoft.com/office/drawing/2014/main" id="{26245D29-78A6-41C2-A8AF-A08620FCAB6B}"/>
              </a:ext>
            </a:extLst>
          </p:cNvPr>
          <p:cNvSpPr/>
          <p:nvPr/>
        </p:nvSpPr>
        <p:spPr>
          <a:xfrm>
            <a:off x="1072276" y="2440613"/>
            <a:ext cx="1373904" cy="801621"/>
          </a:xfrm>
          <a:prstGeom prst="ellipse">
            <a:avLst/>
          </a:prstGeom>
          <a:solidFill>
            <a:schemeClr val="bg1">
              <a:lumMod val="85000"/>
            </a:schemeClr>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tx2"/>
              </a:solidFill>
            </a:endParaRPr>
          </a:p>
        </p:txBody>
      </p:sp>
      <p:sp>
        <p:nvSpPr>
          <p:cNvPr id="343" name="Rectangle 342">
            <a:extLst>
              <a:ext uri="{FF2B5EF4-FFF2-40B4-BE49-F238E27FC236}">
                <a16:creationId xmlns:a16="http://schemas.microsoft.com/office/drawing/2014/main" id="{95B826B2-B767-4321-832A-23C08496CA4E}"/>
              </a:ext>
            </a:extLst>
          </p:cNvPr>
          <p:cNvSpPr/>
          <p:nvPr/>
        </p:nvSpPr>
        <p:spPr>
          <a:xfrm>
            <a:off x="1333098" y="2838096"/>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Product Team A</a:t>
            </a:r>
          </a:p>
        </p:txBody>
      </p:sp>
      <p:sp>
        <p:nvSpPr>
          <p:cNvPr id="350" name="Rectangle 349">
            <a:extLst>
              <a:ext uri="{FF2B5EF4-FFF2-40B4-BE49-F238E27FC236}">
                <a16:creationId xmlns:a16="http://schemas.microsoft.com/office/drawing/2014/main" id="{2CD9015E-DD92-421D-87B8-43309F3A855F}"/>
              </a:ext>
            </a:extLst>
          </p:cNvPr>
          <p:cNvSpPr/>
          <p:nvPr/>
        </p:nvSpPr>
        <p:spPr>
          <a:xfrm>
            <a:off x="1310345" y="2501658"/>
            <a:ext cx="894596" cy="400438"/>
          </a:xfrm>
          <a:prstGeom prst="rect">
            <a:avLst/>
          </a:prstGeom>
        </p:spPr>
        <p:txBody>
          <a:bodyPr wrap="none">
            <a:noAutofit/>
          </a:bodyPr>
          <a:lstStyle/>
          <a:p>
            <a:pPr algn="ctr"/>
            <a:r>
              <a:rPr lang="en-US" sz="900" b="1" dirty="0">
                <a:solidFill>
                  <a:srgbClr val="00148C"/>
                </a:solidFill>
              </a:rPr>
              <a:t>Digital/Data </a:t>
            </a:r>
          </a:p>
          <a:p>
            <a:pPr algn="ctr"/>
            <a:r>
              <a:rPr lang="en-US" sz="900" b="1" dirty="0">
                <a:solidFill>
                  <a:srgbClr val="00148C"/>
                </a:solidFill>
              </a:rPr>
              <a:t>Product</a:t>
            </a:r>
          </a:p>
          <a:p>
            <a:pPr algn="ctr"/>
            <a:endParaRPr lang="en-US" sz="900" b="1" dirty="0">
              <a:solidFill>
                <a:srgbClr val="00148C"/>
              </a:solidFill>
            </a:endParaRPr>
          </a:p>
        </p:txBody>
      </p:sp>
      <p:sp>
        <p:nvSpPr>
          <p:cNvPr id="251" name="Oval 250">
            <a:extLst>
              <a:ext uri="{FF2B5EF4-FFF2-40B4-BE49-F238E27FC236}">
                <a16:creationId xmlns:a16="http://schemas.microsoft.com/office/drawing/2014/main" id="{7975D238-940D-480B-AAD7-94009B12A758}"/>
              </a:ext>
            </a:extLst>
          </p:cNvPr>
          <p:cNvSpPr/>
          <p:nvPr/>
        </p:nvSpPr>
        <p:spPr>
          <a:xfrm>
            <a:off x="1998659" y="2907971"/>
            <a:ext cx="1373904" cy="801621"/>
          </a:xfrm>
          <a:prstGeom prst="ellipse">
            <a:avLst/>
          </a:prstGeom>
          <a:solidFill>
            <a:schemeClr val="bg1">
              <a:lumMod val="85000"/>
            </a:schemeClr>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tx2"/>
              </a:solidFill>
            </a:endParaRPr>
          </a:p>
        </p:txBody>
      </p:sp>
      <p:sp>
        <p:nvSpPr>
          <p:cNvPr id="252" name="Rectangle 251">
            <a:extLst>
              <a:ext uri="{FF2B5EF4-FFF2-40B4-BE49-F238E27FC236}">
                <a16:creationId xmlns:a16="http://schemas.microsoft.com/office/drawing/2014/main" id="{0D121A02-6BAC-44FD-8FC7-930885525117}"/>
              </a:ext>
            </a:extLst>
          </p:cNvPr>
          <p:cNvSpPr/>
          <p:nvPr/>
        </p:nvSpPr>
        <p:spPr>
          <a:xfrm>
            <a:off x="2259481" y="3305454"/>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Product Team B</a:t>
            </a:r>
          </a:p>
        </p:txBody>
      </p:sp>
      <p:sp>
        <p:nvSpPr>
          <p:cNvPr id="253" name="Rectangle 252">
            <a:extLst>
              <a:ext uri="{FF2B5EF4-FFF2-40B4-BE49-F238E27FC236}">
                <a16:creationId xmlns:a16="http://schemas.microsoft.com/office/drawing/2014/main" id="{9D4DC582-522C-498F-BE77-7419C832A3CA}"/>
              </a:ext>
            </a:extLst>
          </p:cNvPr>
          <p:cNvSpPr/>
          <p:nvPr/>
        </p:nvSpPr>
        <p:spPr>
          <a:xfrm>
            <a:off x="2236728" y="2969016"/>
            <a:ext cx="894596" cy="336035"/>
          </a:xfrm>
          <a:prstGeom prst="rect">
            <a:avLst/>
          </a:prstGeom>
        </p:spPr>
        <p:txBody>
          <a:bodyPr wrap="none">
            <a:noAutofit/>
          </a:bodyPr>
          <a:lstStyle/>
          <a:p>
            <a:pPr algn="ctr"/>
            <a:r>
              <a:rPr lang="en-US" sz="900" b="1" dirty="0">
                <a:solidFill>
                  <a:srgbClr val="00148C"/>
                </a:solidFill>
              </a:rPr>
              <a:t>Digital/Data </a:t>
            </a:r>
          </a:p>
          <a:p>
            <a:pPr algn="ctr"/>
            <a:r>
              <a:rPr lang="en-US" sz="900" b="1" dirty="0">
                <a:solidFill>
                  <a:srgbClr val="00148C"/>
                </a:solidFill>
              </a:rPr>
              <a:t>Product</a:t>
            </a:r>
          </a:p>
        </p:txBody>
      </p:sp>
      <p:sp>
        <p:nvSpPr>
          <p:cNvPr id="256" name="Oval 255">
            <a:extLst>
              <a:ext uri="{FF2B5EF4-FFF2-40B4-BE49-F238E27FC236}">
                <a16:creationId xmlns:a16="http://schemas.microsoft.com/office/drawing/2014/main" id="{E56B0FAD-DF61-4AC0-B750-5C47501B7C91}"/>
              </a:ext>
            </a:extLst>
          </p:cNvPr>
          <p:cNvSpPr/>
          <p:nvPr/>
        </p:nvSpPr>
        <p:spPr>
          <a:xfrm>
            <a:off x="3314018" y="1475836"/>
            <a:ext cx="1373904" cy="801621"/>
          </a:xfrm>
          <a:prstGeom prst="ellipse">
            <a:avLst/>
          </a:prstGeom>
          <a:solidFill>
            <a:schemeClr val="bg1">
              <a:lumMod val="85000"/>
            </a:schemeClr>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tx2"/>
              </a:solidFill>
            </a:endParaRPr>
          </a:p>
        </p:txBody>
      </p:sp>
      <p:sp>
        <p:nvSpPr>
          <p:cNvPr id="257" name="Rectangle 256">
            <a:extLst>
              <a:ext uri="{FF2B5EF4-FFF2-40B4-BE49-F238E27FC236}">
                <a16:creationId xmlns:a16="http://schemas.microsoft.com/office/drawing/2014/main" id="{421CBD58-B255-4533-8E86-FFBC8AD297DB}"/>
              </a:ext>
            </a:extLst>
          </p:cNvPr>
          <p:cNvSpPr/>
          <p:nvPr/>
        </p:nvSpPr>
        <p:spPr>
          <a:xfrm>
            <a:off x="3574840" y="1873319"/>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Product Team D</a:t>
            </a:r>
          </a:p>
        </p:txBody>
      </p:sp>
      <p:sp>
        <p:nvSpPr>
          <p:cNvPr id="301" name="Rectangle 300">
            <a:extLst>
              <a:ext uri="{FF2B5EF4-FFF2-40B4-BE49-F238E27FC236}">
                <a16:creationId xmlns:a16="http://schemas.microsoft.com/office/drawing/2014/main" id="{57FF9EF1-2051-4A5D-BBCA-4122626C5C86}"/>
              </a:ext>
            </a:extLst>
          </p:cNvPr>
          <p:cNvSpPr/>
          <p:nvPr/>
        </p:nvSpPr>
        <p:spPr>
          <a:xfrm>
            <a:off x="3552087" y="1536881"/>
            <a:ext cx="894596" cy="336035"/>
          </a:xfrm>
          <a:prstGeom prst="rect">
            <a:avLst/>
          </a:prstGeom>
        </p:spPr>
        <p:txBody>
          <a:bodyPr wrap="none">
            <a:noAutofit/>
          </a:bodyPr>
          <a:lstStyle/>
          <a:p>
            <a:pPr algn="ctr"/>
            <a:r>
              <a:rPr lang="en-US" sz="900" b="1" dirty="0">
                <a:solidFill>
                  <a:srgbClr val="00148C"/>
                </a:solidFill>
              </a:rPr>
              <a:t>Digital/Data </a:t>
            </a:r>
          </a:p>
          <a:p>
            <a:pPr algn="ctr"/>
            <a:r>
              <a:rPr lang="en-US" sz="900" b="1" dirty="0">
                <a:solidFill>
                  <a:srgbClr val="00148C"/>
                </a:solidFill>
              </a:rPr>
              <a:t>Product</a:t>
            </a:r>
          </a:p>
        </p:txBody>
      </p:sp>
      <p:sp>
        <p:nvSpPr>
          <p:cNvPr id="302" name="Oval 301">
            <a:extLst>
              <a:ext uri="{FF2B5EF4-FFF2-40B4-BE49-F238E27FC236}">
                <a16:creationId xmlns:a16="http://schemas.microsoft.com/office/drawing/2014/main" id="{FB874857-1CF6-49F8-9AE8-56FEC091716A}"/>
              </a:ext>
            </a:extLst>
          </p:cNvPr>
          <p:cNvSpPr/>
          <p:nvPr/>
        </p:nvSpPr>
        <p:spPr>
          <a:xfrm>
            <a:off x="1663827" y="1470286"/>
            <a:ext cx="1373904" cy="801621"/>
          </a:xfrm>
          <a:prstGeom prst="ellipse">
            <a:avLst/>
          </a:prstGeom>
          <a:solidFill>
            <a:schemeClr val="bg1">
              <a:lumMod val="85000"/>
            </a:schemeClr>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tx2"/>
              </a:solidFill>
            </a:endParaRPr>
          </a:p>
        </p:txBody>
      </p:sp>
      <p:sp>
        <p:nvSpPr>
          <p:cNvPr id="303" name="Rectangle 302">
            <a:extLst>
              <a:ext uri="{FF2B5EF4-FFF2-40B4-BE49-F238E27FC236}">
                <a16:creationId xmlns:a16="http://schemas.microsoft.com/office/drawing/2014/main" id="{B2F67620-6A73-44C2-B480-B89D74364FDE}"/>
              </a:ext>
            </a:extLst>
          </p:cNvPr>
          <p:cNvSpPr/>
          <p:nvPr/>
        </p:nvSpPr>
        <p:spPr>
          <a:xfrm>
            <a:off x="1924649" y="1867769"/>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Product Team C</a:t>
            </a:r>
          </a:p>
        </p:txBody>
      </p:sp>
      <p:sp>
        <p:nvSpPr>
          <p:cNvPr id="341" name="Rectangle 340">
            <a:extLst>
              <a:ext uri="{FF2B5EF4-FFF2-40B4-BE49-F238E27FC236}">
                <a16:creationId xmlns:a16="http://schemas.microsoft.com/office/drawing/2014/main" id="{7865E6B7-DD21-41FA-BCFF-AEEE5C462DAF}"/>
              </a:ext>
            </a:extLst>
          </p:cNvPr>
          <p:cNvSpPr/>
          <p:nvPr/>
        </p:nvSpPr>
        <p:spPr>
          <a:xfrm>
            <a:off x="1901896" y="1531331"/>
            <a:ext cx="894596" cy="336035"/>
          </a:xfrm>
          <a:prstGeom prst="rect">
            <a:avLst/>
          </a:prstGeom>
        </p:spPr>
        <p:txBody>
          <a:bodyPr wrap="none">
            <a:noAutofit/>
          </a:bodyPr>
          <a:lstStyle/>
          <a:p>
            <a:pPr algn="ctr"/>
            <a:r>
              <a:rPr lang="en-US" sz="900" b="1" dirty="0">
                <a:solidFill>
                  <a:srgbClr val="00148C"/>
                </a:solidFill>
              </a:rPr>
              <a:t>Digital/Data </a:t>
            </a:r>
          </a:p>
          <a:p>
            <a:pPr algn="ctr"/>
            <a:r>
              <a:rPr lang="en-US" sz="900" b="1" dirty="0">
                <a:solidFill>
                  <a:srgbClr val="00148C"/>
                </a:solidFill>
              </a:rPr>
              <a:t>Product</a:t>
            </a:r>
          </a:p>
        </p:txBody>
      </p:sp>
      <p:sp>
        <p:nvSpPr>
          <p:cNvPr id="370" name="Right Brace 369">
            <a:extLst>
              <a:ext uri="{FF2B5EF4-FFF2-40B4-BE49-F238E27FC236}">
                <a16:creationId xmlns:a16="http://schemas.microsoft.com/office/drawing/2014/main" id="{7F007BC6-0D4E-4028-B5C4-9E2B01E3C72E}"/>
              </a:ext>
            </a:extLst>
          </p:cNvPr>
          <p:cNvSpPr/>
          <p:nvPr/>
        </p:nvSpPr>
        <p:spPr>
          <a:xfrm rot="5400000">
            <a:off x="2732543" y="1889668"/>
            <a:ext cx="211954" cy="3696183"/>
          </a:xfrm>
          <a:prstGeom prst="rightBrace">
            <a:avLst>
              <a:gd name="adj1" fmla="val 19806"/>
              <a:gd name="adj2" fmla="val 50000"/>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1" name="TextBox 370">
            <a:extLst>
              <a:ext uri="{FF2B5EF4-FFF2-40B4-BE49-F238E27FC236}">
                <a16:creationId xmlns:a16="http://schemas.microsoft.com/office/drawing/2014/main" id="{84203839-C017-4E60-917B-DBED49F1DE11}"/>
              </a:ext>
            </a:extLst>
          </p:cNvPr>
          <p:cNvSpPr txBox="1"/>
          <p:nvPr/>
        </p:nvSpPr>
        <p:spPr>
          <a:xfrm>
            <a:off x="1659169" y="3733073"/>
            <a:ext cx="2140252" cy="406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i="1" dirty="0">
                <a:solidFill>
                  <a:srgbClr val="000000"/>
                </a:solidFill>
              </a:rPr>
              <a:t>Spoke</a:t>
            </a:r>
          </a:p>
        </p:txBody>
      </p:sp>
      <p:cxnSp>
        <p:nvCxnSpPr>
          <p:cNvPr id="372" name="Straight Arrow Connector 371">
            <a:extLst>
              <a:ext uri="{FF2B5EF4-FFF2-40B4-BE49-F238E27FC236}">
                <a16:creationId xmlns:a16="http://schemas.microsoft.com/office/drawing/2014/main" id="{075E883F-1780-4C53-9F03-FCCFCEE1F055}"/>
              </a:ext>
            </a:extLst>
          </p:cNvPr>
          <p:cNvCxnSpPr>
            <a:cxnSpLocks/>
            <a:stCxn id="3" idx="3"/>
          </p:cNvCxnSpPr>
          <p:nvPr/>
        </p:nvCxnSpPr>
        <p:spPr>
          <a:xfrm>
            <a:off x="6930760" y="3766933"/>
            <a:ext cx="1356626" cy="582665"/>
          </a:xfrm>
          <a:prstGeom prst="straightConnector1">
            <a:avLst/>
          </a:prstGeom>
          <a:ln w="25400"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3" name="Oval 372">
            <a:extLst>
              <a:ext uri="{FF2B5EF4-FFF2-40B4-BE49-F238E27FC236}">
                <a16:creationId xmlns:a16="http://schemas.microsoft.com/office/drawing/2014/main" id="{18CBF168-76C6-4F4A-9A44-7AA38586D2ED}"/>
              </a:ext>
            </a:extLst>
          </p:cNvPr>
          <p:cNvSpPr/>
          <p:nvPr/>
        </p:nvSpPr>
        <p:spPr>
          <a:xfrm>
            <a:off x="8299409" y="3891419"/>
            <a:ext cx="1946972" cy="990383"/>
          </a:xfrm>
          <a:prstGeom prst="ellipse">
            <a:avLst/>
          </a:prstGeom>
          <a:solidFill>
            <a:srgbClr val="CCEC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00148C"/>
                </a:solidFill>
              </a:rPr>
              <a:t>US Customer</a:t>
            </a:r>
          </a:p>
          <a:p>
            <a:pPr algn="ctr"/>
            <a:r>
              <a:rPr lang="en-US" sz="1200" b="1" dirty="0">
                <a:solidFill>
                  <a:schemeClr val="tx2"/>
                </a:solidFill>
              </a:rPr>
              <a:t> Data Cloud</a:t>
            </a:r>
          </a:p>
        </p:txBody>
      </p:sp>
      <p:sp>
        <p:nvSpPr>
          <p:cNvPr id="374" name="Oval 373">
            <a:extLst>
              <a:ext uri="{FF2B5EF4-FFF2-40B4-BE49-F238E27FC236}">
                <a16:creationId xmlns:a16="http://schemas.microsoft.com/office/drawing/2014/main" id="{FD4B100F-42D2-4BA1-B3C0-DF73BB87E975}"/>
              </a:ext>
            </a:extLst>
          </p:cNvPr>
          <p:cNvSpPr/>
          <p:nvPr/>
        </p:nvSpPr>
        <p:spPr>
          <a:xfrm>
            <a:off x="7220673" y="4326607"/>
            <a:ext cx="1373904" cy="801621"/>
          </a:xfrm>
          <a:prstGeom prst="ellipse">
            <a:avLst/>
          </a:prstGeom>
          <a:solidFill>
            <a:schemeClr val="bg1">
              <a:lumMod val="85000"/>
            </a:schemeClr>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tx2"/>
              </a:solidFill>
            </a:endParaRPr>
          </a:p>
        </p:txBody>
      </p:sp>
      <p:sp>
        <p:nvSpPr>
          <p:cNvPr id="375" name="Rectangle 374">
            <a:extLst>
              <a:ext uri="{FF2B5EF4-FFF2-40B4-BE49-F238E27FC236}">
                <a16:creationId xmlns:a16="http://schemas.microsoft.com/office/drawing/2014/main" id="{56A28472-2AE2-4F24-9D47-DB6C84328E96}"/>
              </a:ext>
            </a:extLst>
          </p:cNvPr>
          <p:cNvSpPr/>
          <p:nvPr/>
        </p:nvSpPr>
        <p:spPr>
          <a:xfrm>
            <a:off x="7481495" y="4724090"/>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Product Team A</a:t>
            </a:r>
          </a:p>
        </p:txBody>
      </p:sp>
      <p:sp>
        <p:nvSpPr>
          <p:cNvPr id="376" name="Rectangle 375">
            <a:extLst>
              <a:ext uri="{FF2B5EF4-FFF2-40B4-BE49-F238E27FC236}">
                <a16:creationId xmlns:a16="http://schemas.microsoft.com/office/drawing/2014/main" id="{821CC60C-5BA3-466E-96C0-0FE684F683B6}"/>
              </a:ext>
            </a:extLst>
          </p:cNvPr>
          <p:cNvSpPr/>
          <p:nvPr/>
        </p:nvSpPr>
        <p:spPr>
          <a:xfrm>
            <a:off x="7458742" y="4387652"/>
            <a:ext cx="894596" cy="400438"/>
          </a:xfrm>
          <a:prstGeom prst="rect">
            <a:avLst/>
          </a:prstGeom>
        </p:spPr>
        <p:txBody>
          <a:bodyPr wrap="none">
            <a:noAutofit/>
          </a:bodyPr>
          <a:lstStyle/>
          <a:p>
            <a:pPr algn="ctr"/>
            <a:r>
              <a:rPr lang="en-US" sz="900" b="1" dirty="0">
                <a:solidFill>
                  <a:srgbClr val="00148C"/>
                </a:solidFill>
              </a:rPr>
              <a:t>Digital/Data </a:t>
            </a:r>
          </a:p>
          <a:p>
            <a:pPr algn="ctr"/>
            <a:r>
              <a:rPr lang="en-US" sz="900" b="1" dirty="0">
                <a:solidFill>
                  <a:srgbClr val="00148C"/>
                </a:solidFill>
              </a:rPr>
              <a:t>Product</a:t>
            </a:r>
          </a:p>
          <a:p>
            <a:pPr algn="ctr"/>
            <a:endParaRPr lang="en-US" sz="900" b="1" dirty="0">
              <a:solidFill>
                <a:srgbClr val="00148C"/>
              </a:solidFill>
            </a:endParaRPr>
          </a:p>
        </p:txBody>
      </p:sp>
      <p:sp>
        <p:nvSpPr>
          <p:cNvPr id="377" name="Oval 376">
            <a:extLst>
              <a:ext uri="{FF2B5EF4-FFF2-40B4-BE49-F238E27FC236}">
                <a16:creationId xmlns:a16="http://schemas.microsoft.com/office/drawing/2014/main" id="{A2CFB3CA-A5AC-4B47-B1FB-B16479543078}"/>
              </a:ext>
            </a:extLst>
          </p:cNvPr>
          <p:cNvSpPr/>
          <p:nvPr/>
        </p:nvSpPr>
        <p:spPr>
          <a:xfrm>
            <a:off x="8147056" y="4793965"/>
            <a:ext cx="1373904" cy="801621"/>
          </a:xfrm>
          <a:prstGeom prst="ellipse">
            <a:avLst/>
          </a:prstGeom>
          <a:solidFill>
            <a:schemeClr val="bg1">
              <a:lumMod val="85000"/>
            </a:schemeClr>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tx2"/>
              </a:solidFill>
            </a:endParaRPr>
          </a:p>
        </p:txBody>
      </p:sp>
      <p:sp>
        <p:nvSpPr>
          <p:cNvPr id="378" name="Rectangle 377">
            <a:extLst>
              <a:ext uri="{FF2B5EF4-FFF2-40B4-BE49-F238E27FC236}">
                <a16:creationId xmlns:a16="http://schemas.microsoft.com/office/drawing/2014/main" id="{338CF857-216E-406F-83FB-9EBD9603F525}"/>
              </a:ext>
            </a:extLst>
          </p:cNvPr>
          <p:cNvSpPr/>
          <p:nvPr/>
        </p:nvSpPr>
        <p:spPr>
          <a:xfrm>
            <a:off x="8407878" y="5191448"/>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Product Team B</a:t>
            </a:r>
          </a:p>
        </p:txBody>
      </p:sp>
      <p:sp>
        <p:nvSpPr>
          <p:cNvPr id="379" name="Rectangle 378">
            <a:extLst>
              <a:ext uri="{FF2B5EF4-FFF2-40B4-BE49-F238E27FC236}">
                <a16:creationId xmlns:a16="http://schemas.microsoft.com/office/drawing/2014/main" id="{D1D480EF-ADED-422F-9123-53F4D2ECB09D}"/>
              </a:ext>
            </a:extLst>
          </p:cNvPr>
          <p:cNvSpPr/>
          <p:nvPr/>
        </p:nvSpPr>
        <p:spPr>
          <a:xfrm>
            <a:off x="8385125" y="4855010"/>
            <a:ext cx="894596" cy="336035"/>
          </a:xfrm>
          <a:prstGeom prst="rect">
            <a:avLst/>
          </a:prstGeom>
        </p:spPr>
        <p:txBody>
          <a:bodyPr wrap="none">
            <a:noAutofit/>
          </a:bodyPr>
          <a:lstStyle/>
          <a:p>
            <a:pPr algn="ctr"/>
            <a:r>
              <a:rPr lang="en-US" sz="900" b="1" dirty="0">
                <a:solidFill>
                  <a:srgbClr val="00148C"/>
                </a:solidFill>
              </a:rPr>
              <a:t>Digital/Data </a:t>
            </a:r>
          </a:p>
          <a:p>
            <a:pPr algn="ctr"/>
            <a:r>
              <a:rPr lang="en-US" sz="900" b="1" dirty="0">
                <a:solidFill>
                  <a:srgbClr val="00148C"/>
                </a:solidFill>
              </a:rPr>
              <a:t>Product</a:t>
            </a:r>
          </a:p>
        </p:txBody>
      </p:sp>
      <p:sp>
        <p:nvSpPr>
          <p:cNvPr id="380" name="Oval 379">
            <a:extLst>
              <a:ext uri="{FF2B5EF4-FFF2-40B4-BE49-F238E27FC236}">
                <a16:creationId xmlns:a16="http://schemas.microsoft.com/office/drawing/2014/main" id="{65393EDB-3723-4D14-8AE0-18630398AB22}"/>
              </a:ext>
            </a:extLst>
          </p:cNvPr>
          <p:cNvSpPr/>
          <p:nvPr/>
        </p:nvSpPr>
        <p:spPr>
          <a:xfrm>
            <a:off x="9462415" y="3361830"/>
            <a:ext cx="1373904" cy="801621"/>
          </a:xfrm>
          <a:prstGeom prst="ellipse">
            <a:avLst/>
          </a:prstGeom>
          <a:solidFill>
            <a:schemeClr val="bg1">
              <a:lumMod val="85000"/>
            </a:schemeClr>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tx2"/>
              </a:solidFill>
            </a:endParaRPr>
          </a:p>
        </p:txBody>
      </p:sp>
      <p:sp>
        <p:nvSpPr>
          <p:cNvPr id="381" name="Rectangle 380">
            <a:extLst>
              <a:ext uri="{FF2B5EF4-FFF2-40B4-BE49-F238E27FC236}">
                <a16:creationId xmlns:a16="http://schemas.microsoft.com/office/drawing/2014/main" id="{37554B2D-2B83-4968-8E34-3BE569841DE1}"/>
              </a:ext>
            </a:extLst>
          </p:cNvPr>
          <p:cNvSpPr/>
          <p:nvPr/>
        </p:nvSpPr>
        <p:spPr>
          <a:xfrm>
            <a:off x="9723237" y="3759313"/>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Product Team D</a:t>
            </a:r>
          </a:p>
        </p:txBody>
      </p:sp>
      <p:sp>
        <p:nvSpPr>
          <p:cNvPr id="382" name="Rectangle 381">
            <a:extLst>
              <a:ext uri="{FF2B5EF4-FFF2-40B4-BE49-F238E27FC236}">
                <a16:creationId xmlns:a16="http://schemas.microsoft.com/office/drawing/2014/main" id="{351FC79F-B0CD-401F-897A-66627CA5A7D2}"/>
              </a:ext>
            </a:extLst>
          </p:cNvPr>
          <p:cNvSpPr/>
          <p:nvPr/>
        </p:nvSpPr>
        <p:spPr>
          <a:xfrm>
            <a:off x="9700484" y="3422875"/>
            <a:ext cx="894596" cy="336035"/>
          </a:xfrm>
          <a:prstGeom prst="rect">
            <a:avLst/>
          </a:prstGeom>
        </p:spPr>
        <p:txBody>
          <a:bodyPr wrap="none">
            <a:noAutofit/>
          </a:bodyPr>
          <a:lstStyle/>
          <a:p>
            <a:pPr algn="ctr"/>
            <a:r>
              <a:rPr lang="en-US" sz="900" b="1" dirty="0">
                <a:solidFill>
                  <a:srgbClr val="00148C"/>
                </a:solidFill>
              </a:rPr>
              <a:t>Digital/Data </a:t>
            </a:r>
          </a:p>
          <a:p>
            <a:pPr algn="ctr"/>
            <a:r>
              <a:rPr lang="en-US" sz="900" b="1" dirty="0">
                <a:solidFill>
                  <a:srgbClr val="00148C"/>
                </a:solidFill>
              </a:rPr>
              <a:t>Product</a:t>
            </a:r>
          </a:p>
        </p:txBody>
      </p:sp>
      <p:sp>
        <p:nvSpPr>
          <p:cNvPr id="383" name="Oval 382">
            <a:extLst>
              <a:ext uri="{FF2B5EF4-FFF2-40B4-BE49-F238E27FC236}">
                <a16:creationId xmlns:a16="http://schemas.microsoft.com/office/drawing/2014/main" id="{48F26399-A153-4C0C-A06B-E650B370E2E8}"/>
              </a:ext>
            </a:extLst>
          </p:cNvPr>
          <p:cNvSpPr/>
          <p:nvPr/>
        </p:nvSpPr>
        <p:spPr>
          <a:xfrm>
            <a:off x="7812224" y="3356280"/>
            <a:ext cx="1373904" cy="801621"/>
          </a:xfrm>
          <a:prstGeom prst="ellipse">
            <a:avLst/>
          </a:prstGeom>
          <a:solidFill>
            <a:schemeClr val="bg1">
              <a:lumMod val="85000"/>
            </a:schemeClr>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tx2"/>
              </a:solidFill>
            </a:endParaRPr>
          </a:p>
        </p:txBody>
      </p:sp>
      <p:sp>
        <p:nvSpPr>
          <p:cNvPr id="384" name="Rectangle 383">
            <a:extLst>
              <a:ext uri="{FF2B5EF4-FFF2-40B4-BE49-F238E27FC236}">
                <a16:creationId xmlns:a16="http://schemas.microsoft.com/office/drawing/2014/main" id="{1649BF03-8C96-4FFA-9AB8-30E6816DFF6A}"/>
              </a:ext>
            </a:extLst>
          </p:cNvPr>
          <p:cNvSpPr/>
          <p:nvPr/>
        </p:nvSpPr>
        <p:spPr>
          <a:xfrm>
            <a:off x="8073046" y="3753763"/>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Product Team C</a:t>
            </a:r>
          </a:p>
        </p:txBody>
      </p:sp>
      <p:sp>
        <p:nvSpPr>
          <p:cNvPr id="385" name="Rectangle 384">
            <a:extLst>
              <a:ext uri="{FF2B5EF4-FFF2-40B4-BE49-F238E27FC236}">
                <a16:creationId xmlns:a16="http://schemas.microsoft.com/office/drawing/2014/main" id="{EF802DDA-96FC-4571-8B63-161069CF3B69}"/>
              </a:ext>
            </a:extLst>
          </p:cNvPr>
          <p:cNvSpPr/>
          <p:nvPr/>
        </p:nvSpPr>
        <p:spPr>
          <a:xfrm>
            <a:off x="8050293" y="3417325"/>
            <a:ext cx="894596" cy="336035"/>
          </a:xfrm>
          <a:prstGeom prst="rect">
            <a:avLst/>
          </a:prstGeom>
        </p:spPr>
        <p:txBody>
          <a:bodyPr wrap="none">
            <a:noAutofit/>
          </a:bodyPr>
          <a:lstStyle/>
          <a:p>
            <a:pPr algn="ctr"/>
            <a:r>
              <a:rPr lang="en-US" sz="900" b="1" dirty="0">
                <a:solidFill>
                  <a:srgbClr val="00148C"/>
                </a:solidFill>
              </a:rPr>
              <a:t>Digital/Data </a:t>
            </a:r>
          </a:p>
          <a:p>
            <a:pPr algn="ctr"/>
            <a:r>
              <a:rPr lang="en-US" sz="900" b="1" dirty="0">
                <a:solidFill>
                  <a:srgbClr val="00148C"/>
                </a:solidFill>
              </a:rPr>
              <a:t>Product</a:t>
            </a:r>
          </a:p>
        </p:txBody>
      </p:sp>
      <p:sp>
        <p:nvSpPr>
          <p:cNvPr id="386" name="Right Brace 385">
            <a:extLst>
              <a:ext uri="{FF2B5EF4-FFF2-40B4-BE49-F238E27FC236}">
                <a16:creationId xmlns:a16="http://schemas.microsoft.com/office/drawing/2014/main" id="{B3D7F589-6BD1-4853-AB25-42712AA47CD2}"/>
              </a:ext>
            </a:extLst>
          </p:cNvPr>
          <p:cNvSpPr/>
          <p:nvPr/>
        </p:nvSpPr>
        <p:spPr>
          <a:xfrm rot="5400000">
            <a:off x="8880940" y="3775662"/>
            <a:ext cx="211954" cy="3696183"/>
          </a:xfrm>
          <a:prstGeom prst="rightBrace">
            <a:avLst>
              <a:gd name="adj1" fmla="val 19806"/>
              <a:gd name="adj2" fmla="val 50000"/>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7" name="TextBox 386">
            <a:extLst>
              <a:ext uri="{FF2B5EF4-FFF2-40B4-BE49-F238E27FC236}">
                <a16:creationId xmlns:a16="http://schemas.microsoft.com/office/drawing/2014/main" id="{B8A1E036-9BD6-41BF-8FE1-6717F137ADE4}"/>
              </a:ext>
            </a:extLst>
          </p:cNvPr>
          <p:cNvSpPr txBox="1"/>
          <p:nvPr/>
        </p:nvSpPr>
        <p:spPr>
          <a:xfrm>
            <a:off x="7807566" y="5619067"/>
            <a:ext cx="2140252" cy="406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i="1" dirty="0">
                <a:solidFill>
                  <a:srgbClr val="000000"/>
                </a:solidFill>
              </a:rPr>
              <a:t>Spoke</a:t>
            </a:r>
          </a:p>
        </p:txBody>
      </p:sp>
      <p:sp>
        <p:nvSpPr>
          <p:cNvPr id="388" name="TextBox 387">
            <a:extLst>
              <a:ext uri="{FF2B5EF4-FFF2-40B4-BE49-F238E27FC236}">
                <a16:creationId xmlns:a16="http://schemas.microsoft.com/office/drawing/2014/main" id="{F74317F0-E306-41F2-9A90-E9F6A98218DC}"/>
              </a:ext>
            </a:extLst>
          </p:cNvPr>
          <p:cNvSpPr txBox="1"/>
          <p:nvPr/>
        </p:nvSpPr>
        <p:spPr>
          <a:xfrm>
            <a:off x="8407878" y="3040962"/>
            <a:ext cx="1838503" cy="406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000000"/>
                </a:solidFill>
              </a:rPr>
              <a:t>US Customer</a:t>
            </a:r>
          </a:p>
        </p:txBody>
      </p:sp>
      <p:sp>
        <p:nvSpPr>
          <p:cNvPr id="389" name="TextBox 388">
            <a:extLst>
              <a:ext uri="{FF2B5EF4-FFF2-40B4-BE49-F238E27FC236}">
                <a16:creationId xmlns:a16="http://schemas.microsoft.com/office/drawing/2014/main" id="{140DF516-4B02-4D86-B52C-C8660C223399}"/>
              </a:ext>
            </a:extLst>
          </p:cNvPr>
          <p:cNvSpPr txBox="1"/>
          <p:nvPr/>
        </p:nvSpPr>
        <p:spPr>
          <a:xfrm>
            <a:off x="2212072" y="1191251"/>
            <a:ext cx="1838503" cy="406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000000"/>
                </a:solidFill>
              </a:rPr>
              <a:t>UK ET</a:t>
            </a:r>
          </a:p>
        </p:txBody>
      </p:sp>
      <p:sp>
        <p:nvSpPr>
          <p:cNvPr id="390" name="Rectangle 389">
            <a:extLst>
              <a:ext uri="{FF2B5EF4-FFF2-40B4-BE49-F238E27FC236}">
                <a16:creationId xmlns:a16="http://schemas.microsoft.com/office/drawing/2014/main" id="{DBA1AA28-A21E-4FFE-B711-FA3CEA3FAB44}"/>
              </a:ext>
            </a:extLst>
          </p:cNvPr>
          <p:cNvSpPr/>
          <p:nvPr/>
        </p:nvSpPr>
        <p:spPr>
          <a:xfrm>
            <a:off x="2687223" y="2687058"/>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UK ET Data Platform Team</a:t>
            </a:r>
          </a:p>
        </p:txBody>
      </p:sp>
      <p:sp>
        <p:nvSpPr>
          <p:cNvPr id="391" name="Rectangle 390">
            <a:extLst>
              <a:ext uri="{FF2B5EF4-FFF2-40B4-BE49-F238E27FC236}">
                <a16:creationId xmlns:a16="http://schemas.microsoft.com/office/drawing/2014/main" id="{F27CCBE0-67E2-44A4-A1C9-B6022D9FA0F5}"/>
              </a:ext>
            </a:extLst>
          </p:cNvPr>
          <p:cNvSpPr/>
          <p:nvPr/>
        </p:nvSpPr>
        <p:spPr>
          <a:xfrm>
            <a:off x="5147470" y="3167529"/>
            <a:ext cx="1433587"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Central Data Technology Platform Team</a:t>
            </a:r>
          </a:p>
        </p:txBody>
      </p:sp>
      <p:sp>
        <p:nvSpPr>
          <p:cNvPr id="392" name="Rectangle 391">
            <a:extLst>
              <a:ext uri="{FF2B5EF4-FFF2-40B4-BE49-F238E27FC236}">
                <a16:creationId xmlns:a16="http://schemas.microsoft.com/office/drawing/2014/main" id="{7ADC2320-4260-481B-84B5-33BBB91DF630}"/>
              </a:ext>
            </a:extLst>
          </p:cNvPr>
          <p:cNvSpPr/>
          <p:nvPr/>
        </p:nvSpPr>
        <p:spPr>
          <a:xfrm>
            <a:off x="8877692" y="4595113"/>
            <a:ext cx="864864" cy="235432"/>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chemeClr val="bg1"/>
                </a:solidFill>
              </a:rPr>
              <a:t>US CBU Data Platform Team</a:t>
            </a:r>
          </a:p>
        </p:txBody>
      </p:sp>
    </p:spTree>
    <p:extLst>
      <p:ext uri="{BB962C8B-B14F-4D97-AF65-F5344CB8AC3E}">
        <p14:creationId xmlns:p14="http://schemas.microsoft.com/office/powerpoint/2010/main" val="3454107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228286428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5650" name="think-cell Slide" r:id="rId6" imgW="473" imgH="473" progId="TCLayout.ActiveDocument.1">
                  <p:embed/>
                </p:oleObj>
              </mc:Choice>
              <mc:Fallback>
                <p:oleObj name="think-cell Slide" r:id="rId6" imgW="473" imgH="473" progId="TCLayout.ActiveDocument.1">
                  <p:embed/>
                  <p:pic>
                    <p:nvPicPr>
                      <p:cNvPr id="20" name="Object 19"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4" name="Rectangle 3"/>
          <p:cNvSpPr/>
          <p:nvPr/>
        </p:nvSpPr>
        <p:spPr>
          <a:xfrm>
            <a:off x="7837280" y="2327373"/>
            <a:ext cx="3566488" cy="3683105"/>
          </a:xfrm>
          <a:prstGeom prst="rect">
            <a:avLst/>
          </a:prstGeom>
          <a:noFill/>
          <a:ln w="9525" cap="rnd" cmpd="sng" algn="ctr">
            <a:solidFill>
              <a:srgbClr val="295E7E"/>
            </a:solidFill>
            <a:prstDash val="lgDash"/>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endParaRPr>
          </a:p>
        </p:txBody>
      </p:sp>
      <p:sp>
        <p:nvSpPr>
          <p:cNvPr id="21" name="Rectangle 20"/>
          <p:cNvSpPr/>
          <p:nvPr/>
        </p:nvSpPr>
        <p:spPr>
          <a:xfrm>
            <a:off x="7654232" y="2671873"/>
            <a:ext cx="3566488" cy="3539186"/>
          </a:xfrm>
          <a:prstGeom prst="rect">
            <a:avLst/>
          </a:prstGeom>
          <a:solidFill>
            <a:schemeClr val="bg1"/>
          </a:solidFill>
          <a:ln w="9525" cap="rnd" cmpd="sng" algn="ctr">
            <a:solidFill>
              <a:srgbClr val="E71C57"/>
            </a:solidFill>
            <a:prstDash val="lg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endParaRPr>
          </a:p>
        </p:txBody>
      </p:sp>
      <p:sp>
        <p:nvSpPr>
          <p:cNvPr id="46" name="Rectangle 45">
            <a:extLst>
              <a:ext uri="{FF2B5EF4-FFF2-40B4-BE49-F238E27FC236}">
                <a16:creationId xmlns:a16="http://schemas.microsoft.com/office/drawing/2014/main" id="{37D5FD61-EBC5-44F4-987B-77667DAD6F38}"/>
              </a:ext>
            </a:extLst>
          </p:cNvPr>
          <p:cNvSpPr/>
          <p:nvPr/>
        </p:nvSpPr>
        <p:spPr>
          <a:xfrm>
            <a:off x="8080541" y="4144346"/>
            <a:ext cx="2851664" cy="1933784"/>
          </a:xfrm>
          <a:prstGeom prst="rect">
            <a:avLst/>
          </a:prstGeom>
          <a:solidFill>
            <a:srgbClr val="F2F2F2"/>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rgbClr val="E71C57"/>
              </a:solidFill>
              <a:latin typeface="+mj-lt"/>
            </a:endParaRPr>
          </a:p>
        </p:txBody>
      </p:sp>
      <p:sp>
        <p:nvSpPr>
          <p:cNvPr id="45" name="Rectangle 44">
            <a:extLst>
              <a:ext uri="{FF2B5EF4-FFF2-40B4-BE49-F238E27FC236}">
                <a16:creationId xmlns:a16="http://schemas.microsoft.com/office/drawing/2014/main" id="{E030CD03-A250-4BD1-B4DF-802629B626C3}"/>
              </a:ext>
            </a:extLst>
          </p:cNvPr>
          <p:cNvSpPr/>
          <p:nvPr/>
        </p:nvSpPr>
        <p:spPr>
          <a:xfrm>
            <a:off x="8019635" y="4059000"/>
            <a:ext cx="2851664" cy="1933784"/>
          </a:xfrm>
          <a:prstGeom prst="rect">
            <a:avLst/>
          </a:prstGeom>
          <a:solidFill>
            <a:srgbClr val="F2F2F2"/>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rgbClr val="E71C57"/>
              </a:solidFill>
              <a:latin typeface="+mj-lt"/>
            </a:endParaRPr>
          </a:p>
        </p:txBody>
      </p:sp>
      <p:sp>
        <p:nvSpPr>
          <p:cNvPr id="25" name="Rectangle 24"/>
          <p:cNvSpPr/>
          <p:nvPr/>
        </p:nvSpPr>
        <p:spPr>
          <a:xfrm>
            <a:off x="7970221" y="3998785"/>
            <a:ext cx="2851664" cy="1933784"/>
          </a:xfrm>
          <a:prstGeom prst="rect">
            <a:avLst/>
          </a:prstGeom>
          <a:solidFill>
            <a:srgbClr val="F2F2F2"/>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dirty="0">
                <a:solidFill>
                  <a:srgbClr val="E71C57"/>
                </a:solidFill>
                <a:latin typeface="+mj-lt"/>
              </a:rPr>
              <a:t>Products</a:t>
            </a:r>
          </a:p>
        </p:txBody>
      </p:sp>
      <p:sp>
        <p:nvSpPr>
          <p:cNvPr id="3" name="Rectangle 2" hidden="1"/>
          <p:cNvSpPr/>
          <p:nvPr>
            <p:custDataLst>
              <p:tags r:id="rId3"/>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1" y="622800"/>
            <a:ext cx="10933351" cy="609398"/>
          </a:xfrm>
        </p:spPr>
        <p:txBody>
          <a:bodyPr vert="horz">
            <a:spAutoFit/>
          </a:bodyPr>
          <a:lstStyle/>
          <a:p>
            <a:r>
              <a:rPr lang="en-US" dirty="0"/>
              <a:t>Key accountabilities across Hub and Spoke to scale digital</a:t>
            </a:r>
            <a:br>
              <a:rPr lang="en-US" dirty="0"/>
            </a:br>
            <a:endParaRPr lang="en-US" sz="1600" dirty="0">
              <a:solidFill>
                <a:srgbClr val="575757">
                  <a:lumMod val="100000"/>
                </a:srgbClr>
              </a:solidFill>
            </a:endParaRPr>
          </a:p>
        </p:txBody>
      </p:sp>
      <p:sp>
        <p:nvSpPr>
          <p:cNvPr id="8" name="Rectangle 7"/>
          <p:cNvSpPr/>
          <p:nvPr/>
        </p:nvSpPr>
        <p:spPr>
          <a:xfrm>
            <a:off x="8495414" y="2218044"/>
            <a:ext cx="2011680" cy="268356"/>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latin typeface="+mj-lt"/>
              </a:rPr>
              <a:t>Spoke (NY Gas)</a:t>
            </a:r>
          </a:p>
        </p:txBody>
      </p:sp>
      <p:sp>
        <p:nvSpPr>
          <p:cNvPr id="11" name="Rectangle 10"/>
          <p:cNvSpPr/>
          <p:nvPr/>
        </p:nvSpPr>
        <p:spPr>
          <a:xfrm>
            <a:off x="646048" y="2283635"/>
            <a:ext cx="5807004" cy="3796748"/>
          </a:xfrm>
          <a:prstGeom prst="rect">
            <a:avLst/>
          </a:prstGeom>
          <a:solidFill>
            <a:srgbClr val="FFFFFF"/>
          </a:solidFill>
          <a:ln w="9525" cap="rnd" cmpd="sng" algn="ctr">
            <a:solidFill>
              <a:schemeClr val="tx1"/>
            </a:solidFill>
            <a:prstDash val="lg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endParaRPr>
          </a:p>
        </p:txBody>
      </p:sp>
      <p:sp>
        <p:nvSpPr>
          <p:cNvPr id="14" name="Rectangle 13"/>
          <p:cNvSpPr/>
          <p:nvPr/>
        </p:nvSpPr>
        <p:spPr>
          <a:xfrm>
            <a:off x="861222" y="3120256"/>
            <a:ext cx="2474844" cy="1359739"/>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solidFill>
                  <a:srgbClr val="55555A"/>
                </a:solidFill>
                <a:latin typeface="+mj-lt"/>
              </a:rPr>
              <a:t>Platform products</a:t>
            </a:r>
          </a:p>
          <a:p>
            <a:pPr algn="ctr"/>
            <a:endParaRPr lang="en-US" sz="1400" b="1" dirty="0">
              <a:solidFill>
                <a:srgbClr val="55555A"/>
              </a:solidFill>
              <a:latin typeface="+mj-lt"/>
            </a:endParaRPr>
          </a:p>
          <a:p>
            <a:pPr algn="ctr"/>
            <a:r>
              <a:rPr lang="en-US" sz="1400" dirty="0">
                <a:solidFill>
                  <a:srgbClr val="55555A"/>
                </a:solidFill>
                <a:latin typeface="+mj-lt"/>
              </a:rPr>
              <a:t>Build reusable, modular components and services to be leveraged by the Spokes</a:t>
            </a:r>
          </a:p>
          <a:p>
            <a:pPr algn="ctr"/>
            <a:endParaRPr lang="en-US" sz="1400" dirty="0">
              <a:solidFill>
                <a:srgbClr val="55555A"/>
              </a:solidFill>
              <a:latin typeface="+mj-lt"/>
            </a:endParaRPr>
          </a:p>
        </p:txBody>
      </p:sp>
      <p:sp>
        <p:nvSpPr>
          <p:cNvPr id="13" name="Rectangle 12"/>
          <p:cNvSpPr/>
          <p:nvPr/>
        </p:nvSpPr>
        <p:spPr>
          <a:xfrm>
            <a:off x="3787209" y="3120256"/>
            <a:ext cx="2474844" cy="1359739"/>
          </a:xfrm>
          <a:prstGeom prst="rect">
            <a:avLst/>
          </a:prstGeom>
          <a:solidFill>
            <a:srgbClr val="C9E7CA"/>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solidFill>
                  <a:srgbClr val="55555A"/>
                </a:solidFill>
                <a:latin typeface="+mj-lt"/>
              </a:rPr>
              <a:t>Digital talent pool</a:t>
            </a:r>
            <a:r>
              <a:rPr lang="en-US" sz="1400" b="1" baseline="30000" dirty="0">
                <a:solidFill>
                  <a:srgbClr val="55555A"/>
                </a:solidFill>
                <a:latin typeface="+mj-lt"/>
              </a:rPr>
              <a:t>1</a:t>
            </a:r>
            <a:r>
              <a:rPr lang="en-US" sz="1400" b="1" dirty="0">
                <a:solidFill>
                  <a:srgbClr val="55555A"/>
                </a:solidFill>
                <a:latin typeface="+mj-lt"/>
              </a:rPr>
              <a:t> </a:t>
            </a:r>
          </a:p>
          <a:p>
            <a:pPr algn="ctr"/>
            <a:endParaRPr lang="en-US" sz="1400" dirty="0">
              <a:solidFill>
                <a:srgbClr val="55555A"/>
              </a:solidFill>
              <a:latin typeface="+mj-lt"/>
            </a:endParaRPr>
          </a:p>
          <a:p>
            <a:pPr algn="ctr"/>
            <a:r>
              <a:rPr lang="en-US" sz="1400" dirty="0">
                <a:solidFill>
                  <a:srgbClr val="55555A"/>
                </a:solidFill>
                <a:latin typeface="+mj-lt"/>
              </a:rPr>
              <a:t>Hiring, career management and allocation of digital resources (e.g., product management, user design)</a:t>
            </a:r>
          </a:p>
          <a:p>
            <a:pPr algn="ctr"/>
            <a:endParaRPr lang="en-US" sz="1400" dirty="0">
              <a:solidFill>
                <a:srgbClr val="55555A"/>
              </a:solidFill>
              <a:latin typeface="+mj-lt"/>
            </a:endParaRPr>
          </a:p>
        </p:txBody>
      </p:sp>
      <p:sp>
        <p:nvSpPr>
          <p:cNvPr id="15" name="Rectangle 14"/>
          <p:cNvSpPr/>
          <p:nvPr/>
        </p:nvSpPr>
        <p:spPr>
          <a:xfrm>
            <a:off x="861222" y="4589519"/>
            <a:ext cx="2474844" cy="1359739"/>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solidFill>
                  <a:srgbClr val="55555A"/>
                </a:solidFill>
                <a:latin typeface="+mj-lt"/>
              </a:rPr>
              <a:t>Shared services</a:t>
            </a:r>
          </a:p>
          <a:p>
            <a:pPr algn="ctr"/>
            <a:endParaRPr lang="en-US" sz="1400" dirty="0">
              <a:solidFill>
                <a:srgbClr val="55555A"/>
              </a:solidFill>
              <a:latin typeface="+mj-lt"/>
            </a:endParaRPr>
          </a:p>
          <a:p>
            <a:pPr algn="ctr"/>
            <a:r>
              <a:rPr lang="en-US" sz="1400" dirty="0">
                <a:solidFill>
                  <a:srgbClr val="55555A"/>
                </a:solidFill>
                <a:latin typeface="+mj-lt"/>
              </a:rPr>
              <a:t>On-demand services to help enable Spokes and test roadmaps and value cases (e.g. </a:t>
            </a:r>
            <a:r>
              <a:rPr lang="en-US" sz="1400" dirty="0" err="1">
                <a:solidFill>
                  <a:srgbClr val="55555A"/>
                </a:solidFill>
                <a:latin typeface="+mj-lt"/>
              </a:rPr>
              <a:t>L&amp;D</a:t>
            </a:r>
            <a:r>
              <a:rPr lang="en-US" sz="1400" dirty="0">
                <a:solidFill>
                  <a:srgbClr val="55555A"/>
                </a:solidFill>
                <a:latin typeface="+mj-lt"/>
              </a:rPr>
              <a:t>, coaching)</a:t>
            </a:r>
          </a:p>
          <a:p>
            <a:pPr algn="ctr"/>
            <a:endParaRPr lang="en-US" sz="1400" dirty="0">
              <a:solidFill>
                <a:srgbClr val="55555A"/>
              </a:solidFill>
              <a:latin typeface="+mj-lt"/>
            </a:endParaRPr>
          </a:p>
          <a:p>
            <a:pPr algn="ctr"/>
            <a:endParaRPr lang="en-US" sz="1400" dirty="0">
              <a:solidFill>
                <a:srgbClr val="55555A"/>
              </a:solidFill>
              <a:latin typeface="+mj-lt"/>
            </a:endParaRPr>
          </a:p>
        </p:txBody>
      </p:sp>
      <p:sp>
        <p:nvSpPr>
          <p:cNvPr id="16" name="Rectangle 15"/>
          <p:cNvSpPr/>
          <p:nvPr/>
        </p:nvSpPr>
        <p:spPr>
          <a:xfrm>
            <a:off x="3752439" y="4610370"/>
            <a:ext cx="2474844" cy="1359739"/>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solidFill>
                  <a:srgbClr val="55555A"/>
                </a:solidFill>
                <a:latin typeface="+mj-lt"/>
              </a:rPr>
              <a:t>Standards</a:t>
            </a:r>
          </a:p>
          <a:p>
            <a:pPr algn="ctr"/>
            <a:endParaRPr lang="en-US" sz="1400" dirty="0">
              <a:solidFill>
                <a:srgbClr val="55555A"/>
              </a:solidFill>
              <a:latin typeface="+mj-lt"/>
            </a:endParaRPr>
          </a:p>
          <a:p>
            <a:pPr algn="ctr"/>
            <a:r>
              <a:rPr lang="en-US" sz="1400" dirty="0">
                <a:solidFill>
                  <a:srgbClr val="55555A"/>
                </a:solidFill>
                <a:latin typeface="+mj-lt"/>
              </a:rPr>
              <a:t>Guidelines and methodology to ensure consistency across products and manage risk</a:t>
            </a:r>
          </a:p>
          <a:p>
            <a:pPr algn="ctr"/>
            <a:endParaRPr lang="en-US" sz="1400" dirty="0">
              <a:solidFill>
                <a:srgbClr val="55555A"/>
              </a:solidFill>
              <a:latin typeface="+mj-lt"/>
            </a:endParaRPr>
          </a:p>
        </p:txBody>
      </p:sp>
      <p:sp>
        <p:nvSpPr>
          <p:cNvPr id="19" name="Rectangle 18"/>
          <p:cNvSpPr/>
          <p:nvPr/>
        </p:nvSpPr>
        <p:spPr>
          <a:xfrm>
            <a:off x="2006463" y="2111625"/>
            <a:ext cx="2842591" cy="268356"/>
          </a:xfrm>
          <a:prstGeom prst="rect">
            <a:avLst/>
          </a:prstGeom>
          <a:solidFill>
            <a:schemeClr val="accent1">
              <a:lumMod val="10000"/>
              <a:lumOff val="9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lumMod val="50000"/>
                  </a:schemeClr>
                </a:solidFill>
                <a:latin typeface="+mj-lt"/>
              </a:rPr>
              <a:t>Digital Hub (Central)</a:t>
            </a:r>
          </a:p>
        </p:txBody>
      </p:sp>
      <p:sp>
        <p:nvSpPr>
          <p:cNvPr id="39" name="Rectangle 38">
            <a:extLst>
              <a:ext uri="{FF2B5EF4-FFF2-40B4-BE49-F238E27FC236}">
                <a16:creationId xmlns:a16="http://schemas.microsoft.com/office/drawing/2014/main" id="{F4ADCBEB-87C7-4065-ACE4-F2E4BFB6618E}"/>
              </a:ext>
            </a:extLst>
          </p:cNvPr>
          <p:cNvSpPr/>
          <p:nvPr/>
        </p:nvSpPr>
        <p:spPr>
          <a:xfrm>
            <a:off x="7822369" y="2960106"/>
            <a:ext cx="1446938" cy="715619"/>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E71C57"/>
                </a:solidFill>
                <a:latin typeface="+mj-lt"/>
              </a:rPr>
              <a:t>CIOs</a:t>
            </a:r>
          </a:p>
        </p:txBody>
      </p:sp>
      <p:sp>
        <p:nvSpPr>
          <p:cNvPr id="23" name="Rectangle 22"/>
          <p:cNvSpPr/>
          <p:nvPr/>
        </p:nvSpPr>
        <p:spPr>
          <a:xfrm>
            <a:off x="8073695" y="4713870"/>
            <a:ext cx="2604891" cy="577532"/>
          </a:xfrm>
          <a:prstGeom prst="rect">
            <a:avLst/>
          </a:prstGeom>
          <a:solidFill>
            <a:srgbClr val="C9E7CA"/>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E71C57"/>
                </a:solidFill>
                <a:latin typeface="+mj-lt"/>
              </a:rPr>
              <a:t>Dedicated digital talent that is managed day-to-day in Spokes</a:t>
            </a:r>
          </a:p>
        </p:txBody>
      </p:sp>
      <p:sp>
        <p:nvSpPr>
          <p:cNvPr id="27" name="Rectangle 26"/>
          <p:cNvSpPr/>
          <p:nvPr/>
        </p:nvSpPr>
        <p:spPr>
          <a:xfrm>
            <a:off x="8312368" y="2562544"/>
            <a:ext cx="2011680" cy="268356"/>
          </a:xfrm>
          <a:prstGeom prst="rect">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latin typeface="+mj-lt"/>
              </a:rPr>
              <a:t>Spoke (NE Elec)</a:t>
            </a:r>
          </a:p>
        </p:txBody>
      </p:sp>
      <p:cxnSp>
        <p:nvCxnSpPr>
          <p:cNvPr id="30" name="Straight Connector 29"/>
          <p:cNvCxnSpPr>
            <a:cxnSpLocks/>
            <a:stCxn id="11" idx="3"/>
          </p:cNvCxnSpPr>
          <p:nvPr/>
        </p:nvCxnSpPr>
        <p:spPr>
          <a:xfrm>
            <a:off x="6453052" y="4182009"/>
            <a:ext cx="1201180" cy="0"/>
          </a:xfrm>
          <a:prstGeom prst="line">
            <a:avLst/>
          </a:prstGeom>
          <a:ln w="9525" cap="rnd" cmpd="sng" algn="ctr">
            <a:solidFill>
              <a:srgbClr val="9A9A9A"/>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646048" y="1245127"/>
            <a:ext cx="5989884" cy="743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u="sng" dirty="0">
                <a:solidFill>
                  <a:srgbClr val="00148C"/>
                </a:solidFill>
                <a:latin typeface="+mj-lt"/>
              </a:rPr>
              <a:t>Digital Hub:</a:t>
            </a:r>
            <a:r>
              <a:rPr lang="en-US" sz="1600" dirty="0">
                <a:solidFill>
                  <a:srgbClr val="00148C"/>
                </a:solidFill>
                <a:latin typeface="+mj-lt"/>
              </a:rPr>
              <a:t> Centralized resources, capabilities and platform products that accelerate digital adoption, challenge roadmaps, test value cases, and maintain standards in the Business units</a:t>
            </a:r>
          </a:p>
        </p:txBody>
      </p:sp>
      <p:sp>
        <p:nvSpPr>
          <p:cNvPr id="34" name="TextBox 33"/>
          <p:cNvSpPr txBox="1"/>
          <p:nvPr/>
        </p:nvSpPr>
        <p:spPr>
          <a:xfrm>
            <a:off x="7596668" y="1245127"/>
            <a:ext cx="3879573" cy="6631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u="sng" dirty="0">
                <a:solidFill>
                  <a:srgbClr val="00148C"/>
                </a:solidFill>
                <a:latin typeface="+mj-lt"/>
              </a:rPr>
              <a:t>Digital Spoke:</a:t>
            </a:r>
            <a:r>
              <a:rPr lang="en-US" sz="1600" dirty="0">
                <a:solidFill>
                  <a:srgbClr val="00148C"/>
                </a:solidFill>
                <a:latin typeface="+mj-lt"/>
              </a:rPr>
              <a:t> BU-aligned IT product teams that manage their digital portfolio and drive realization of digital priorities</a:t>
            </a:r>
          </a:p>
        </p:txBody>
      </p:sp>
      <p:sp>
        <p:nvSpPr>
          <p:cNvPr id="38" name="ee4pFootnotes"/>
          <p:cNvSpPr>
            <a:spLocks noChangeArrowheads="1"/>
          </p:cNvSpPr>
          <p:nvPr/>
        </p:nvSpPr>
        <p:spPr bwMode="auto">
          <a:xfrm>
            <a:off x="629999" y="6193874"/>
            <a:ext cx="71820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594" indent="-228594">
              <a:lnSpc>
                <a:spcPct val="90000"/>
              </a:lnSpc>
              <a:buAutoNum type="arabicPeriod"/>
            </a:pPr>
            <a:r>
              <a:rPr lang="en-US" sz="1000" dirty="0">
                <a:solidFill>
                  <a:schemeClr val="tx1">
                    <a:lumMod val="50000"/>
                  </a:schemeClr>
                </a:solidFill>
                <a:latin typeface="+mj-lt"/>
                <a:cs typeface="Arial" pitchFamily="34" charset="0"/>
              </a:rPr>
              <a:t>Digital talent pool is forward deployed into the Spokes  </a:t>
            </a:r>
          </a:p>
        </p:txBody>
      </p:sp>
      <p:sp>
        <p:nvSpPr>
          <p:cNvPr id="22" name="Rectangle 21"/>
          <p:cNvSpPr/>
          <p:nvPr/>
        </p:nvSpPr>
        <p:spPr>
          <a:xfrm>
            <a:off x="9488159" y="2960106"/>
            <a:ext cx="1446938" cy="715619"/>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E71C57"/>
                </a:solidFill>
                <a:latin typeface="+mj-lt"/>
              </a:rPr>
              <a:t>Transformation Leads from business</a:t>
            </a:r>
          </a:p>
        </p:txBody>
      </p:sp>
      <p:sp>
        <p:nvSpPr>
          <p:cNvPr id="41" name="Rectangle 40">
            <a:extLst>
              <a:ext uri="{FF2B5EF4-FFF2-40B4-BE49-F238E27FC236}">
                <a16:creationId xmlns:a16="http://schemas.microsoft.com/office/drawing/2014/main" id="{3A3A0E79-81A6-40FD-A33B-FB14CBB83111}"/>
              </a:ext>
            </a:extLst>
          </p:cNvPr>
          <p:cNvSpPr/>
          <p:nvPr/>
        </p:nvSpPr>
        <p:spPr>
          <a:xfrm>
            <a:off x="8073695" y="5366133"/>
            <a:ext cx="1250571" cy="481322"/>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a:solidFill>
                  <a:srgbClr val="E71C57"/>
                </a:solidFill>
                <a:latin typeface="+mj-lt"/>
              </a:rPr>
              <a:t>Engineers and</a:t>
            </a:r>
          </a:p>
          <a:p>
            <a:pPr algn="ctr"/>
            <a:r>
              <a:rPr lang="en-US" sz="1200" dirty="0">
                <a:solidFill>
                  <a:srgbClr val="E71C57"/>
                </a:solidFill>
                <a:latin typeface="+mj-lt"/>
              </a:rPr>
              <a:t>Architects from IT </a:t>
            </a:r>
          </a:p>
        </p:txBody>
      </p:sp>
      <p:sp>
        <p:nvSpPr>
          <p:cNvPr id="40" name="Rectangle 39">
            <a:extLst>
              <a:ext uri="{FF2B5EF4-FFF2-40B4-BE49-F238E27FC236}">
                <a16:creationId xmlns:a16="http://schemas.microsoft.com/office/drawing/2014/main" id="{CC43B13F-83AD-44E8-AB9E-2E9125E80521}"/>
              </a:ext>
            </a:extLst>
          </p:cNvPr>
          <p:cNvSpPr/>
          <p:nvPr/>
        </p:nvSpPr>
        <p:spPr>
          <a:xfrm>
            <a:off x="9445467" y="5366133"/>
            <a:ext cx="1250571" cy="481322"/>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E71C57"/>
                </a:solidFill>
                <a:latin typeface="+mj-lt"/>
              </a:rPr>
              <a:t>Business SMEs</a:t>
            </a:r>
          </a:p>
        </p:txBody>
      </p:sp>
      <p:sp>
        <p:nvSpPr>
          <p:cNvPr id="44" name="Rectangle 43">
            <a:extLst>
              <a:ext uri="{FF2B5EF4-FFF2-40B4-BE49-F238E27FC236}">
                <a16:creationId xmlns:a16="http://schemas.microsoft.com/office/drawing/2014/main" id="{DA8E6490-7434-40DB-9CE1-0CCDB9A6F46B}"/>
              </a:ext>
            </a:extLst>
          </p:cNvPr>
          <p:cNvSpPr/>
          <p:nvPr/>
        </p:nvSpPr>
        <p:spPr>
          <a:xfrm>
            <a:off x="8073696" y="4381448"/>
            <a:ext cx="1233120" cy="268357"/>
          </a:xfrm>
          <a:prstGeom prst="rect">
            <a:avLst/>
          </a:prstGeom>
          <a:solidFill>
            <a:srgbClr val="C9E7CA"/>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E71C57"/>
                </a:solidFill>
                <a:latin typeface="+mj-lt"/>
              </a:rPr>
              <a:t>Product lead</a:t>
            </a:r>
          </a:p>
        </p:txBody>
      </p:sp>
      <p:sp>
        <p:nvSpPr>
          <p:cNvPr id="43" name="Rectangle 42">
            <a:extLst>
              <a:ext uri="{FF2B5EF4-FFF2-40B4-BE49-F238E27FC236}">
                <a16:creationId xmlns:a16="http://schemas.microsoft.com/office/drawing/2014/main" id="{AF0D0399-C098-496B-A903-EEB75EB82597}"/>
              </a:ext>
            </a:extLst>
          </p:cNvPr>
          <p:cNvSpPr/>
          <p:nvPr/>
        </p:nvSpPr>
        <p:spPr>
          <a:xfrm>
            <a:off x="9445468" y="4381448"/>
            <a:ext cx="1233120" cy="268357"/>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E71C57"/>
                </a:solidFill>
                <a:latin typeface="+mj-lt"/>
              </a:rPr>
              <a:t>Business lead</a:t>
            </a:r>
          </a:p>
        </p:txBody>
      </p:sp>
      <p:sp>
        <p:nvSpPr>
          <p:cNvPr id="28" name="Curved Right Arrow 27"/>
          <p:cNvSpPr/>
          <p:nvPr/>
        </p:nvSpPr>
        <p:spPr>
          <a:xfrm>
            <a:off x="9184652" y="4308364"/>
            <a:ext cx="188844" cy="223632"/>
          </a:xfrm>
          <a:prstGeom prst="curvedRightArrow">
            <a:avLst/>
          </a:prstGeom>
          <a:solidFill>
            <a:srgbClr val="E71C57"/>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endParaRPr>
          </a:p>
        </p:txBody>
      </p:sp>
      <p:sp>
        <p:nvSpPr>
          <p:cNvPr id="29" name="Curved Right Arrow 28"/>
          <p:cNvSpPr/>
          <p:nvPr/>
        </p:nvSpPr>
        <p:spPr>
          <a:xfrm rot="10800000">
            <a:off x="9398340" y="4303394"/>
            <a:ext cx="188844" cy="223632"/>
          </a:xfrm>
          <a:prstGeom prst="curvedRightArrow">
            <a:avLst/>
          </a:prstGeom>
          <a:solidFill>
            <a:srgbClr val="E71C57"/>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endParaRPr>
          </a:p>
        </p:txBody>
      </p:sp>
      <p:sp>
        <p:nvSpPr>
          <p:cNvPr id="12" name="Rectangle 11"/>
          <p:cNvSpPr/>
          <p:nvPr/>
        </p:nvSpPr>
        <p:spPr>
          <a:xfrm>
            <a:off x="861222" y="2511106"/>
            <a:ext cx="5400831" cy="498876"/>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buSzPct val="100000"/>
              <a:buFont typeface="Trebuchet MS" panose="020B0603020202020204" pitchFamily="34" charset="0"/>
              <a:buChar char="​"/>
            </a:pPr>
            <a:r>
              <a:rPr lang="en-US" sz="1400" b="1" dirty="0">
                <a:solidFill>
                  <a:srgbClr val="55555A"/>
                </a:solidFill>
                <a:latin typeface="+mj-lt"/>
              </a:rPr>
              <a:t>IT &amp; Digital Leadership Team</a:t>
            </a:r>
            <a:br>
              <a:rPr lang="en-US" sz="1400" dirty="0">
                <a:solidFill>
                  <a:srgbClr val="55555A"/>
                </a:solidFill>
                <a:latin typeface="+mj-lt"/>
              </a:rPr>
            </a:br>
            <a:r>
              <a:rPr lang="en-US" sz="1400" dirty="0">
                <a:solidFill>
                  <a:srgbClr val="55555A"/>
                </a:solidFill>
                <a:latin typeface="+mj-lt"/>
              </a:rPr>
              <a:t>Orchestrates and prioritizes support across Hub capabilities</a:t>
            </a:r>
          </a:p>
        </p:txBody>
      </p:sp>
      <p:sp>
        <p:nvSpPr>
          <p:cNvPr id="47" name="NavigationTriangle">
            <a:extLst>
              <a:ext uri="{FF2B5EF4-FFF2-40B4-BE49-F238E27FC236}">
                <a16:creationId xmlns:a16="http://schemas.microsoft.com/office/drawing/2014/main" id="{BAC93EA1-1CE4-4705-9DDB-6AA568901FDB}"/>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8" name="NavigationIcon">
            <a:extLst>
              <a:ext uri="{FF2B5EF4-FFF2-40B4-BE49-F238E27FC236}">
                <a16:creationId xmlns:a16="http://schemas.microsoft.com/office/drawing/2014/main" id="{B7E340AE-CC0D-4B89-91FE-96D75C4A8F4A}"/>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5</a:t>
            </a:r>
          </a:p>
        </p:txBody>
      </p:sp>
    </p:spTree>
    <p:extLst>
      <p:ext uri="{BB962C8B-B14F-4D97-AF65-F5344CB8AC3E}">
        <p14:creationId xmlns:p14="http://schemas.microsoft.com/office/powerpoint/2010/main" val="1479172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AB1351-53F1-4A39-A967-C052C8266F96}"/>
              </a:ext>
            </a:extLst>
          </p:cNvPr>
          <p:cNvGraphicFramePr>
            <a:graphicFrameLocks noChangeAspect="1"/>
          </p:cNvGraphicFramePr>
          <p:nvPr>
            <p:custDataLst>
              <p:tags r:id="rId3"/>
            </p:custDataLst>
            <p:extLst>
              <p:ext uri="{D42A27DB-BD31-4B8C-83A1-F6EECF244321}">
                <p14:modId xmlns:p14="http://schemas.microsoft.com/office/powerpoint/2010/main" val="3177426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4"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A9AB1351-53F1-4A39-A967-C052C8266F9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22862" cy="443198"/>
          </a:xfrm>
          <a:prstGeom prst="rect">
            <a:avLst/>
          </a:prstGeom>
        </p:spPr>
        <p:txBody>
          <a:bodyPr vert="horz" wrap="none">
            <a:spAutoFit/>
          </a:bodyPr>
          <a:lstStyle/>
          <a:p>
            <a:pPr>
              <a:buSzPts val="3200"/>
            </a:pPr>
            <a:r>
              <a:rPr lang="en-US" dirty="0"/>
              <a:t>Backup: Detailed Hub accountabilities to enable Spokes</a:t>
            </a:r>
          </a:p>
        </p:txBody>
      </p:sp>
      <p:sp>
        <p:nvSpPr>
          <p:cNvPr id="18" name="ee4pHeader1">
            <a:extLst>
              <a:ext uri="{FF2B5EF4-FFF2-40B4-BE49-F238E27FC236}">
                <a16:creationId xmlns:a16="http://schemas.microsoft.com/office/drawing/2014/main" id="{68837F98-74C1-4023-906D-CF4D214CC688}"/>
              </a:ext>
            </a:extLst>
          </p:cNvPr>
          <p:cNvSpPr txBox="1"/>
          <p:nvPr/>
        </p:nvSpPr>
        <p:spPr>
          <a:xfrm>
            <a:off x="640366" y="1759970"/>
            <a:ext cx="2653450" cy="297924"/>
          </a:xfrm>
          <a:prstGeom prst="rect">
            <a:avLst/>
          </a:prstGeom>
          <a:solidFill>
            <a:srgbClr val="00148C"/>
          </a:solidFill>
          <a:ln w="28575" cap="rnd" cmpd="sng" algn="ctr">
            <a:solidFill>
              <a:srgbClr val="640051"/>
            </a:solidFill>
            <a:prstDash val="solid"/>
            <a:round/>
            <a:headEnd type="none" w="med" len="med"/>
            <a:tailEnd type="none" w="med" len="med"/>
          </a:ln>
        </p:spPr>
        <p:txBody>
          <a:bodyPr vert="horz" wrap="square" lIns="0" tIns="0" rIns="0" bIns="0" rtlCol="0" anchor="ctr" anchorCtr="0">
            <a:noAutofit/>
          </a:bodyPr>
          <a:lstStyle/>
          <a:p>
            <a:pPr marL="0" lvl="3" algn="ctr"/>
            <a:r>
              <a:rPr lang="en-US" sz="1400" b="1" dirty="0">
                <a:solidFill>
                  <a:schemeClr val="bg1"/>
                </a:solidFill>
                <a:latin typeface="+mj-lt"/>
              </a:rPr>
              <a:t>Digital talent pool</a:t>
            </a:r>
          </a:p>
        </p:txBody>
      </p:sp>
      <p:sp>
        <p:nvSpPr>
          <p:cNvPr id="19" name="TextBox 18">
            <a:extLst>
              <a:ext uri="{FF2B5EF4-FFF2-40B4-BE49-F238E27FC236}">
                <a16:creationId xmlns:a16="http://schemas.microsoft.com/office/drawing/2014/main" id="{2BCF094B-2E23-48EB-A334-185BE7124478}"/>
              </a:ext>
            </a:extLst>
          </p:cNvPr>
          <p:cNvSpPr txBox="1"/>
          <p:nvPr/>
        </p:nvSpPr>
        <p:spPr>
          <a:xfrm>
            <a:off x="636119" y="3029482"/>
            <a:ext cx="2657697" cy="2181914"/>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9050" cap="rnd" cmpd="sng" algn="ctr">
                <a:solidFill>
                  <a:srgbClr val="64005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Attract, develop, retain key digital roles:</a:t>
            </a:r>
          </a:p>
          <a:p>
            <a:pPr marL="518400" lvl="2" indent="-172800">
              <a:buClr>
                <a:srgbClr val="00148C"/>
              </a:buClr>
              <a:buSzPct val="100000"/>
              <a:buFont typeface="Trebuchet MS" panose="020B0603020202020204" pitchFamily="34" charset="0"/>
              <a:buChar char="–"/>
            </a:pPr>
            <a:r>
              <a:rPr lang="en-US" sz="1400" b="1" dirty="0">
                <a:solidFill>
                  <a:srgbClr val="00148C"/>
                </a:solidFill>
                <a:latin typeface="+mj-lt"/>
              </a:rPr>
              <a:t>Product management</a:t>
            </a:r>
          </a:p>
          <a:p>
            <a:pPr marL="518400" lvl="2" indent="-172800">
              <a:buClr>
                <a:srgbClr val="00148C"/>
              </a:buClr>
              <a:buSzPct val="100000"/>
              <a:buFont typeface="Trebuchet MS" panose="020B0603020202020204" pitchFamily="34" charset="0"/>
              <a:buChar char="–"/>
            </a:pPr>
            <a:r>
              <a:rPr lang="en-US" sz="1400" b="1" dirty="0">
                <a:solidFill>
                  <a:srgbClr val="00148C"/>
                </a:solidFill>
                <a:latin typeface="+mj-lt"/>
              </a:rPr>
              <a:t>User-centered design</a:t>
            </a:r>
          </a:p>
          <a:p>
            <a:pPr marL="324000" lvl="1" indent="-216000">
              <a:buClr>
                <a:schemeClr val="tx2"/>
              </a:buClr>
              <a:buSzPct val="100000"/>
              <a:buFont typeface="Trebuchet MS" panose="020B0603020202020204" pitchFamily="34" charset="0"/>
              <a:buChar char="•"/>
            </a:pPr>
            <a:endParaRPr lang="en-US" sz="1400" b="1" dirty="0">
              <a:solidFill>
                <a:srgbClr val="00148C"/>
              </a:solidFill>
              <a:latin typeface="+mj-lt"/>
            </a:endParaRPr>
          </a:p>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Control Tower to manage resource allocation</a:t>
            </a:r>
          </a:p>
          <a:p>
            <a:pPr marL="108000" lvl="1">
              <a:buClr>
                <a:schemeClr val="tx2"/>
              </a:buClr>
              <a:buSzPct val="100000"/>
            </a:pPr>
            <a:endParaRPr lang="en-US" sz="1400" b="1" dirty="0">
              <a:solidFill>
                <a:srgbClr val="00148C"/>
              </a:solidFill>
              <a:latin typeface="+mj-lt"/>
            </a:endParaRPr>
          </a:p>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Performance management</a:t>
            </a:r>
          </a:p>
        </p:txBody>
      </p:sp>
      <p:sp>
        <p:nvSpPr>
          <p:cNvPr id="20" name="ee4pHeader1">
            <a:extLst>
              <a:ext uri="{FF2B5EF4-FFF2-40B4-BE49-F238E27FC236}">
                <a16:creationId xmlns:a16="http://schemas.microsoft.com/office/drawing/2014/main" id="{A3A76295-09B3-43F3-9614-268551579EBA}"/>
              </a:ext>
            </a:extLst>
          </p:cNvPr>
          <p:cNvSpPr txBox="1"/>
          <p:nvPr/>
        </p:nvSpPr>
        <p:spPr>
          <a:xfrm>
            <a:off x="3349060" y="1759970"/>
            <a:ext cx="2649209" cy="297924"/>
          </a:xfrm>
          <a:prstGeom prst="rect">
            <a:avLst/>
          </a:prstGeom>
          <a:solidFill>
            <a:srgbClr val="00148C"/>
          </a:solidFill>
          <a:ln w="28575" cap="rnd" cmpd="sng" algn="ctr">
            <a:solidFill>
              <a:srgbClr val="00148C"/>
            </a:solidFill>
            <a:prstDash val="solid"/>
            <a:round/>
            <a:headEnd type="none" w="med" len="med"/>
            <a:tailEnd type="none" w="med" len="med"/>
          </a:ln>
        </p:spPr>
        <p:txBody>
          <a:bodyPr vert="horz" wrap="square" lIns="0" tIns="0" rIns="0" bIns="0" rtlCol="0" anchor="ctr" anchorCtr="0">
            <a:noAutofit/>
          </a:bodyPr>
          <a:lstStyle/>
          <a:p>
            <a:pPr marL="0" lvl="3" algn="ctr"/>
            <a:r>
              <a:rPr lang="en-US" sz="1400" b="1" dirty="0">
                <a:solidFill>
                  <a:schemeClr val="bg1"/>
                </a:solidFill>
                <a:latin typeface="+mj-lt"/>
              </a:rPr>
              <a:t>Shared services</a:t>
            </a:r>
          </a:p>
        </p:txBody>
      </p:sp>
      <p:sp>
        <p:nvSpPr>
          <p:cNvPr id="21" name="TextBox 20">
            <a:extLst>
              <a:ext uri="{FF2B5EF4-FFF2-40B4-BE49-F238E27FC236}">
                <a16:creationId xmlns:a16="http://schemas.microsoft.com/office/drawing/2014/main" id="{4587F72F-CB67-4A35-BF3B-291B6FFFA99F}"/>
              </a:ext>
            </a:extLst>
          </p:cNvPr>
          <p:cNvSpPr txBox="1"/>
          <p:nvPr/>
        </p:nvSpPr>
        <p:spPr>
          <a:xfrm>
            <a:off x="3346939" y="3024764"/>
            <a:ext cx="2653450" cy="2181914"/>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9050"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Learning and Development</a:t>
            </a:r>
          </a:p>
          <a:p>
            <a:pPr marL="324000" lvl="1" indent="-216000">
              <a:buClr>
                <a:schemeClr val="tx2"/>
              </a:buClr>
              <a:buSzPct val="100000"/>
              <a:buFont typeface="Trebuchet MS" panose="020B0603020202020204" pitchFamily="34" charset="0"/>
              <a:buChar char="•"/>
            </a:pPr>
            <a:endParaRPr lang="en-US" sz="1400" b="1" dirty="0">
              <a:solidFill>
                <a:srgbClr val="00148C"/>
              </a:solidFill>
              <a:latin typeface="+mj-lt"/>
            </a:endParaRPr>
          </a:p>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Team-level coaching</a:t>
            </a:r>
          </a:p>
          <a:p>
            <a:pPr marL="324000" lvl="1" indent="-216000">
              <a:buClr>
                <a:schemeClr val="tx2"/>
              </a:buClr>
              <a:buSzPct val="100000"/>
              <a:buFont typeface="Trebuchet MS" panose="020B0603020202020204" pitchFamily="34" charset="0"/>
              <a:buChar char="•"/>
            </a:pPr>
            <a:endParaRPr lang="en-US" sz="1400" b="1" dirty="0">
              <a:solidFill>
                <a:srgbClr val="00148C"/>
              </a:solidFill>
              <a:latin typeface="+mj-lt"/>
            </a:endParaRPr>
          </a:p>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Process imagination and future-state design</a:t>
            </a:r>
          </a:p>
          <a:p>
            <a:pPr marL="324000" lvl="1" indent="-216000">
              <a:buClr>
                <a:schemeClr val="tx2"/>
              </a:buClr>
              <a:buSzPct val="100000"/>
              <a:buFont typeface="Trebuchet MS" panose="020B0603020202020204" pitchFamily="34" charset="0"/>
              <a:buChar char="•"/>
            </a:pPr>
            <a:endParaRPr lang="en-US" sz="1400" b="1" dirty="0">
              <a:solidFill>
                <a:srgbClr val="00148C"/>
              </a:solidFill>
              <a:latin typeface="+mj-lt"/>
            </a:endParaRPr>
          </a:p>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Change management and communication</a:t>
            </a:r>
          </a:p>
          <a:p>
            <a:pPr marL="324000" lvl="1" indent="-216000">
              <a:buClr>
                <a:schemeClr val="tx2"/>
              </a:buClr>
              <a:buSzPct val="100000"/>
              <a:buFont typeface="Trebuchet MS" panose="020B0603020202020204" pitchFamily="34" charset="0"/>
              <a:buChar char="•"/>
            </a:pPr>
            <a:endParaRPr lang="en-US" sz="1400" b="1" dirty="0">
              <a:solidFill>
                <a:srgbClr val="00148C"/>
              </a:solidFill>
              <a:latin typeface="+mj-lt"/>
            </a:endParaRPr>
          </a:p>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Product operations</a:t>
            </a:r>
          </a:p>
        </p:txBody>
      </p:sp>
      <p:sp>
        <p:nvSpPr>
          <p:cNvPr id="22" name="ee4pHeader1">
            <a:extLst>
              <a:ext uri="{FF2B5EF4-FFF2-40B4-BE49-F238E27FC236}">
                <a16:creationId xmlns:a16="http://schemas.microsoft.com/office/drawing/2014/main" id="{DC1B0B2F-4DC9-47AF-AC10-1EC566194842}"/>
              </a:ext>
            </a:extLst>
          </p:cNvPr>
          <p:cNvSpPr txBox="1"/>
          <p:nvPr/>
        </p:nvSpPr>
        <p:spPr>
          <a:xfrm>
            <a:off x="6081416" y="1759970"/>
            <a:ext cx="2649210" cy="297924"/>
          </a:xfrm>
          <a:prstGeom prst="rect">
            <a:avLst/>
          </a:prstGeom>
          <a:solidFill>
            <a:srgbClr val="00148C"/>
          </a:solidFill>
          <a:ln w="28575" cap="rnd" cmpd="sng" algn="ctr">
            <a:solidFill>
              <a:srgbClr val="00148C"/>
            </a:solidFill>
            <a:prstDash val="solid"/>
            <a:round/>
            <a:headEnd type="none" w="med" len="med"/>
            <a:tailEnd type="none" w="med" len="med"/>
          </a:ln>
        </p:spPr>
        <p:txBody>
          <a:bodyPr vert="horz" wrap="square" lIns="0" tIns="0" rIns="0" bIns="0" rtlCol="0" anchor="ctr" anchorCtr="0">
            <a:noAutofit/>
          </a:bodyPr>
          <a:lstStyle/>
          <a:p>
            <a:pPr marL="0" lvl="3" algn="ctr"/>
            <a:r>
              <a:rPr lang="en-US" sz="1400" b="1" dirty="0">
                <a:solidFill>
                  <a:schemeClr val="bg1"/>
                </a:solidFill>
                <a:latin typeface="+mj-lt"/>
              </a:rPr>
              <a:t>Standards</a:t>
            </a:r>
          </a:p>
        </p:txBody>
      </p:sp>
      <p:sp>
        <p:nvSpPr>
          <p:cNvPr id="23" name="TextBox 22">
            <a:extLst>
              <a:ext uri="{FF2B5EF4-FFF2-40B4-BE49-F238E27FC236}">
                <a16:creationId xmlns:a16="http://schemas.microsoft.com/office/drawing/2014/main" id="{305D1C89-7951-42E9-9DCB-1EEC558FFC2F}"/>
              </a:ext>
            </a:extLst>
          </p:cNvPr>
          <p:cNvSpPr txBox="1"/>
          <p:nvPr/>
        </p:nvSpPr>
        <p:spPr>
          <a:xfrm>
            <a:off x="6081416" y="3024763"/>
            <a:ext cx="2653450" cy="2181914"/>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19050"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Enterprise architecture</a:t>
            </a:r>
          </a:p>
          <a:p>
            <a:pPr marL="324000" lvl="1" indent="-216000">
              <a:buClr>
                <a:schemeClr val="tx2"/>
              </a:buClr>
              <a:buSzPct val="100000"/>
              <a:buFont typeface="Trebuchet MS" panose="020B0603020202020204" pitchFamily="34" charset="0"/>
              <a:buChar char="•"/>
            </a:pPr>
            <a:endParaRPr lang="en-US" sz="1400" b="1" dirty="0">
              <a:solidFill>
                <a:srgbClr val="00148C"/>
              </a:solidFill>
              <a:latin typeface="+mj-lt"/>
            </a:endParaRPr>
          </a:p>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Job architecture</a:t>
            </a:r>
          </a:p>
          <a:p>
            <a:pPr marL="324000" lvl="1" indent="-216000">
              <a:buClr>
                <a:schemeClr val="tx2"/>
              </a:buClr>
              <a:buSzPct val="100000"/>
              <a:buFont typeface="Trebuchet MS" panose="020B0603020202020204" pitchFamily="34" charset="0"/>
              <a:buChar char="•"/>
            </a:pPr>
            <a:endParaRPr lang="en-US" sz="1400" b="1" dirty="0">
              <a:solidFill>
                <a:srgbClr val="00148C"/>
              </a:solidFill>
              <a:latin typeface="+mj-lt"/>
            </a:endParaRPr>
          </a:p>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Product model methodology</a:t>
            </a:r>
          </a:p>
          <a:p>
            <a:pPr marL="324000" lvl="1" indent="-216000">
              <a:buClr>
                <a:schemeClr val="tx2"/>
              </a:buClr>
              <a:buSzPct val="100000"/>
              <a:buFont typeface="Trebuchet MS" panose="020B0603020202020204" pitchFamily="34" charset="0"/>
              <a:buChar char="•"/>
            </a:pPr>
            <a:endParaRPr lang="en-US" sz="1400" b="1" dirty="0">
              <a:solidFill>
                <a:srgbClr val="00148C"/>
              </a:solidFill>
              <a:latin typeface="+mj-lt"/>
            </a:endParaRPr>
          </a:p>
          <a:p>
            <a:pPr marL="324000" lvl="1" indent="-216000">
              <a:buClr>
                <a:schemeClr val="tx2"/>
              </a:buClr>
              <a:buSzPct val="100000"/>
              <a:buFont typeface="Trebuchet MS" panose="020B0603020202020204" pitchFamily="34" charset="0"/>
              <a:buChar char="•"/>
            </a:pPr>
            <a:r>
              <a:rPr lang="en-US" sz="1400" b="1" dirty="0">
                <a:solidFill>
                  <a:srgbClr val="00148C"/>
                </a:solidFill>
                <a:latin typeface="+mj-lt"/>
              </a:rPr>
              <a:t>Product catalog</a:t>
            </a:r>
          </a:p>
        </p:txBody>
      </p:sp>
      <p:sp>
        <p:nvSpPr>
          <p:cNvPr id="24" name="ee4pHeader1">
            <a:extLst>
              <a:ext uri="{FF2B5EF4-FFF2-40B4-BE49-F238E27FC236}">
                <a16:creationId xmlns:a16="http://schemas.microsoft.com/office/drawing/2014/main" id="{B52C7D0E-12DA-4EB2-B1BA-CE1BD575AD27}"/>
              </a:ext>
            </a:extLst>
          </p:cNvPr>
          <p:cNvSpPr txBox="1"/>
          <p:nvPr/>
        </p:nvSpPr>
        <p:spPr>
          <a:xfrm>
            <a:off x="8811089" y="1759970"/>
            <a:ext cx="2649210" cy="297924"/>
          </a:xfrm>
          <a:prstGeom prst="rect">
            <a:avLst/>
          </a:prstGeom>
          <a:solidFill>
            <a:srgbClr val="00148C"/>
          </a:solidFill>
          <a:ln w="28575" cap="rnd" cmpd="sng" algn="ctr">
            <a:solidFill>
              <a:srgbClr val="00148C"/>
            </a:solidFill>
            <a:prstDash val="solid"/>
            <a:round/>
            <a:headEnd type="none" w="med" len="med"/>
            <a:tailEnd type="none" w="med" len="med"/>
          </a:ln>
        </p:spPr>
        <p:txBody>
          <a:bodyPr vert="horz" wrap="square" lIns="0" tIns="0" rIns="0" bIns="0" rtlCol="0" anchor="ctr" anchorCtr="0">
            <a:noAutofit/>
          </a:bodyPr>
          <a:lstStyle/>
          <a:p>
            <a:pPr marL="0" lvl="3" algn="ctr"/>
            <a:r>
              <a:rPr lang="en-US" sz="1400" b="1" dirty="0">
                <a:solidFill>
                  <a:schemeClr val="bg1"/>
                </a:solidFill>
                <a:latin typeface="+mj-lt"/>
              </a:rPr>
              <a:t>Platform product teams</a:t>
            </a:r>
          </a:p>
        </p:txBody>
      </p:sp>
      <p:grpSp>
        <p:nvGrpSpPr>
          <p:cNvPr id="26" name="Group 25">
            <a:extLst>
              <a:ext uri="{FF2B5EF4-FFF2-40B4-BE49-F238E27FC236}">
                <a16:creationId xmlns:a16="http://schemas.microsoft.com/office/drawing/2014/main" id="{E278EB6F-8390-47C4-AB4B-00A094FA2270}"/>
              </a:ext>
            </a:extLst>
          </p:cNvPr>
          <p:cNvGrpSpPr/>
          <p:nvPr/>
        </p:nvGrpSpPr>
        <p:grpSpPr>
          <a:xfrm>
            <a:off x="865738" y="2582890"/>
            <a:ext cx="2198458" cy="306171"/>
            <a:chOff x="4368475" y="6914342"/>
            <a:chExt cx="2198458" cy="306171"/>
          </a:xfrm>
        </p:grpSpPr>
        <p:cxnSp>
          <p:nvCxnSpPr>
            <p:cNvPr id="27" name="Straight Connector 26">
              <a:extLst>
                <a:ext uri="{FF2B5EF4-FFF2-40B4-BE49-F238E27FC236}">
                  <a16:creationId xmlns:a16="http://schemas.microsoft.com/office/drawing/2014/main" id="{88298E4E-7454-4345-8A35-13089BC47871}"/>
                </a:ext>
              </a:extLst>
            </p:cNvPr>
            <p:cNvCxnSpPr/>
            <p:nvPr/>
          </p:nvCxnSpPr>
          <p:spPr>
            <a:xfrm rot="5400000">
              <a:off x="5467704" y="5968200"/>
              <a:ext cx="0" cy="219845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30FE3C2B-45B6-4C11-ACAD-FC3E44BC55DC}"/>
                </a:ext>
              </a:extLst>
            </p:cNvPr>
            <p:cNvGrpSpPr/>
            <p:nvPr/>
          </p:nvGrpSpPr>
          <p:grpSpPr>
            <a:xfrm rot="5400000">
              <a:off x="5314618" y="6913973"/>
              <a:ext cx="306171" cy="306910"/>
              <a:chOff x="5937564" y="3833745"/>
              <a:chExt cx="306171" cy="306910"/>
            </a:xfrm>
          </p:grpSpPr>
          <p:sp>
            <p:nvSpPr>
              <p:cNvPr id="29" name="Freeform 94">
                <a:extLst>
                  <a:ext uri="{FF2B5EF4-FFF2-40B4-BE49-F238E27FC236}">
                    <a16:creationId xmlns:a16="http://schemas.microsoft.com/office/drawing/2014/main" id="{45D43CD0-D0C5-4EB9-B85B-2E45789EFEA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148C"/>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latin typeface="+mj-lt"/>
                </a:endParaRPr>
              </a:p>
            </p:txBody>
          </p:sp>
          <p:sp>
            <p:nvSpPr>
              <p:cNvPr id="30" name="Freeform 95">
                <a:extLst>
                  <a:ext uri="{FF2B5EF4-FFF2-40B4-BE49-F238E27FC236}">
                    <a16:creationId xmlns:a16="http://schemas.microsoft.com/office/drawing/2014/main" id="{7796A838-AF02-48DF-9EB3-08757DBBB33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latin typeface="+mj-lt"/>
                </a:endParaRPr>
              </a:p>
            </p:txBody>
          </p:sp>
        </p:grpSp>
      </p:grpSp>
      <p:grpSp>
        <p:nvGrpSpPr>
          <p:cNvPr id="37" name="Group 36">
            <a:extLst>
              <a:ext uri="{FF2B5EF4-FFF2-40B4-BE49-F238E27FC236}">
                <a16:creationId xmlns:a16="http://schemas.microsoft.com/office/drawing/2014/main" id="{29CE2122-B55A-4833-858D-0EC77EF5BC1C}"/>
              </a:ext>
            </a:extLst>
          </p:cNvPr>
          <p:cNvGrpSpPr/>
          <p:nvPr/>
        </p:nvGrpSpPr>
        <p:grpSpPr>
          <a:xfrm>
            <a:off x="3574435" y="2582890"/>
            <a:ext cx="2198458" cy="306171"/>
            <a:chOff x="4368475" y="6914342"/>
            <a:chExt cx="2198458" cy="306171"/>
          </a:xfrm>
        </p:grpSpPr>
        <p:cxnSp>
          <p:nvCxnSpPr>
            <p:cNvPr id="38" name="Straight Connector 37">
              <a:extLst>
                <a:ext uri="{FF2B5EF4-FFF2-40B4-BE49-F238E27FC236}">
                  <a16:creationId xmlns:a16="http://schemas.microsoft.com/office/drawing/2014/main" id="{9885D52B-FD71-4AAE-9F06-7040DD7ED53B}"/>
                </a:ext>
              </a:extLst>
            </p:cNvPr>
            <p:cNvCxnSpPr/>
            <p:nvPr/>
          </p:nvCxnSpPr>
          <p:spPr>
            <a:xfrm rot="5400000">
              <a:off x="5467704" y="5968200"/>
              <a:ext cx="0" cy="219845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0283121A-035A-4753-8AA0-998559E45BA8}"/>
                </a:ext>
              </a:extLst>
            </p:cNvPr>
            <p:cNvGrpSpPr/>
            <p:nvPr/>
          </p:nvGrpSpPr>
          <p:grpSpPr>
            <a:xfrm rot="5400000">
              <a:off x="5314618" y="6913973"/>
              <a:ext cx="306171" cy="306910"/>
              <a:chOff x="5937564" y="3833745"/>
              <a:chExt cx="306171" cy="306910"/>
            </a:xfrm>
          </p:grpSpPr>
          <p:sp>
            <p:nvSpPr>
              <p:cNvPr id="40" name="Freeform 94">
                <a:extLst>
                  <a:ext uri="{FF2B5EF4-FFF2-40B4-BE49-F238E27FC236}">
                    <a16:creationId xmlns:a16="http://schemas.microsoft.com/office/drawing/2014/main" id="{5AA9A6BB-3F89-4788-8D00-31B343269103}"/>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latin typeface="+mj-lt"/>
                </a:endParaRPr>
              </a:p>
            </p:txBody>
          </p:sp>
          <p:sp>
            <p:nvSpPr>
              <p:cNvPr id="41" name="Freeform 95">
                <a:extLst>
                  <a:ext uri="{FF2B5EF4-FFF2-40B4-BE49-F238E27FC236}">
                    <a16:creationId xmlns:a16="http://schemas.microsoft.com/office/drawing/2014/main" id="{A7945363-6048-4363-A247-7AA657FE86C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latin typeface="+mj-lt"/>
                </a:endParaRPr>
              </a:p>
            </p:txBody>
          </p:sp>
        </p:grpSp>
      </p:grpSp>
      <p:grpSp>
        <p:nvGrpSpPr>
          <p:cNvPr id="42" name="Group 41">
            <a:extLst>
              <a:ext uri="{FF2B5EF4-FFF2-40B4-BE49-F238E27FC236}">
                <a16:creationId xmlns:a16="http://schemas.microsoft.com/office/drawing/2014/main" id="{0C21EFE6-8399-4F27-BA35-4D193B121BDC}"/>
              </a:ext>
            </a:extLst>
          </p:cNvPr>
          <p:cNvGrpSpPr/>
          <p:nvPr/>
        </p:nvGrpSpPr>
        <p:grpSpPr>
          <a:xfrm>
            <a:off x="6306792" y="2582890"/>
            <a:ext cx="2198458" cy="306171"/>
            <a:chOff x="4368475" y="6914342"/>
            <a:chExt cx="2198458" cy="306171"/>
          </a:xfrm>
        </p:grpSpPr>
        <p:cxnSp>
          <p:nvCxnSpPr>
            <p:cNvPr id="43" name="Straight Connector 42">
              <a:extLst>
                <a:ext uri="{FF2B5EF4-FFF2-40B4-BE49-F238E27FC236}">
                  <a16:creationId xmlns:a16="http://schemas.microsoft.com/office/drawing/2014/main" id="{69535649-F026-4A04-A76D-5AA684E9782C}"/>
                </a:ext>
              </a:extLst>
            </p:cNvPr>
            <p:cNvCxnSpPr/>
            <p:nvPr/>
          </p:nvCxnSpPr>
          <p:spPr>
            <a:xfrm rot="5400000">
              <a:off x="5467704" y="5968200"/>
              <a:ext cx="0" cy="219845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7F6E4A74-21FD-4419-9B33-F2E8C80BB4C7}"/>
                </a:ext>
              </a:extLst>
            </p:cNvPr>
            <p:cNvGrpSpPr/>
            <p:nvPr/>
          </p:nvGrpSpPr>
          <p:grpSpPr>
            <a:xfrm rot="5400000">
              <a:off x="5314618" y="6913973"/>
              <a:ext cx="306171" cy="306910"/>
              <a:chOff x="5937564" y="3833745"/>
              <a:chExt cx="306171" cy="306910"/>
            </a:xfrm>
          </p:grpSpPr>
          <p:sp>
            <p:nvSpPr>
              <p:cNvPr id="45" name="Freeform 94">
                <a:extLst>
                  <a:ext uri="{FF2B5EF4-FFF2-40B4-BE49-F238E27FC236}">
                    <a16:creationId xmlns:a16="http://schemas.microsoft.com/office/drawing/2014/main" id="{B66FD8F2-3A40-4DC0-8B5F-CA7111DCB4D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latin typeface="+mj-lt"/>
                </a:endParaRPr>
              </a:p>
            </p:txBody>
          </p:sp>
          <p:sp>
            <p:nvSpPr>
              <p:cNvPr id="46" name="Freeform 95">
                <a:extLst>
                  <a:ext uri="{FF2B5EF4-FFF2-40B4-BE49-F238E27FC236}">
                    <a16:creationId xmlns:a16="http://schemas.microsoft.com/office/drawing/2014/main" id="{C3536CC5-44DE-4AB0-9223-AF472541861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latin typeface="+mj-lt"/>
                </a:endParaRPr>
              </a:p>
            </p:txBody>
          </p:sp>
        </p:grpSp>
      </p:grpSp>
      <p:grpSp>
        <p:nvGrpSpPr>
          <p:cNvPr id="47" name="Group 46">
            <a:extLst>
              <a:ext uri="{FF2B5EF4-FFF2-40B4-BE49-F238E27FC236}">
                <a16:creationId xmlns:a16="http://schemas.microsoft.com/office/drawing/2014/main" id="{5955F216-FE63-4016-A1B1-AE9E75E447D7}"/>
              </a:ext>
            </a:extLst>
          </p:cNvPr>
          <p:cNvGrpSpPr/>
          <p:nvPr/>
        </p:nvGrpSpPr>
        <p:grpSpPr>
          <a:xfrm>
            <a:off x="9036465" y="2582890"/>
            <a:ext cx="2198458" cy="306171"/>
            <a:chOff x="4368475" y="6914342"/>
            <a:chExt cx="2198458" cy="306171"/>
          </a:xfrm>
        </p:grpSpPr>
        <p:cxnSp>
          <p:nvCxnSpPr>
            <p:cNvPr id="48" name="Straight Connector 47">
              <a:extLst>
                <a:ext uri="{FF2B5EF4-FFF2-40B4-BE49-F238E27FC236}">
                  <a16:creationId xmlns:a16="http://schemas.microsoft.com/office/drawing/2014/main" id="{E5981FE0-B630-4134-B13D-760B010BB211}"/>
                </a:ext>
              </a:extLst>
            </p:cNvPr>
            <p:cNvCxnSpPr/>
            <p:nvPr/>
          </p:nvCxnSpPr>
          <p:spPr>
            <a:xfrm rot="5400000">
              <a:off x="5467704" y="5968200"/>
              <a:ext cx="0" cy="219845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C15FAD13-C710-4EF1-8A31-F8D00FEAC5BE}"/>
                </a:ext>
              </a:extLst>
            </p:cNvPr>
            <p:cNvGrpSpPr/>
            <p:nvPr/>
          </p:nvGrpSpPr>
          <p:grpSpPr>
            <a:xfrm rot="5400000">
              <a:off x="5314618" y="6913973"/>
              <a:ext cx="306171" cy="306910"/>
              <a:chOff x="5937564" y="3833745"/>
              <a:chExt cx="306171" cy="306910"/>
            </a:xfrm>
          </p:grpSpPr>
          <p:sp>
            <p:nvSpPr>
              <p:cNvPr id="50" name="Freeform 94">
                <a:extLst>
                  <a:ext uri="{FF2B5EF4-FFF2-40B4-BE49-F238E27FC236}">
                    <a16:creationId xmlns:a16="http://schemas.microsoft.com/office/drawing/2014/main" id="{9A761A3B-6AF3-4F16-8F19-23DA5E13A3B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latin typeface="+mj-lt"/>
                </a:endParaRPr>
              </a:p>
            </p:txBody>
          </p:sp>
          <p:sp>
            <p:nvSpPr>
              <p:cNvPr id="51" name="Freeform 95">
                <a:extLst>
                  <a:ext uri="{FF2B5EF4-FFF2-40B4-BE49-F238E27FC236}">
                    <a16:creationId xmlns:a16="http://schemas.microsoft.com/office/drawing/2014/main" id="{1692A876-8190-451F-8293-52CB620ECBD3}"/>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latin typeface="+mj-lt"/>
                </a:endParaRPr>
              </a:p>
            </p:txBody>
          </p:sp>
        </p:grpSp>
      </p:grpSp>
      <p:sp>
        <p:nvSpPr>
          <p:cNvPr id="57" name="object 5">
            <a:extLst>
              <a:ext uri="{FF2B5EF4-FFF2-40B4-BE49-F238E27FC236}">
                <a16:creationId xmlns:a16="http://schemas.microsoft.com/office/drawing/2014/main" id="{D2D13A9F-6D15-4C52-A066-E1D6484E2DAE}"/>
              </a:ext>
            </a:extLst>
          </p:cNvPr>
          <p:cNvSpPr txBox="1"/>
          <p:nvPr/>
        </p:nvSpPr>
        <p:spPr>
          <a:xfrm>
            <a:off x="636118" y="2133919"/>
            <a:ext cx="2653449" cy="382156"/>
          </a:xfrm>
          <a:prstGeom prst="rect">
            <a:avLst/>
          </a:prstGeom>
        </p:spPr>
        <p:txBody>
          <a:bodyPr vert="horz" wrap="square" lIns="0" tIns="12700" rIns="0" bIns="0" rtlCol="0">
            <a:spAutoFit/>
          </a:bodyPr>
          <a:lstStyle/>
          <a:p>
            <a:pPr marL="12700"/>
            <a:r>
              <a:rPr lang="en-US" sz="1200" b="1" dirty="0">
                <a:solidFill>
                  <a:schemeClr val="tx1">
                    <a:lumMod val="100000"/>
                  </a:schemeClr>
                </a:solidFill>
                <a:latin typeface="+mj-lt"/>
                <a:cs typeface="Trebuchet MS"/>
              </a:rPr>
              <a:t>Hiring, management and allocation of digital resources to Spokes</a:t>
            </a:r>
            <a:endParaRPr sz="1200" b="1" dirty="0">
              <a:solidFill>
                <a:schemeClr val="tx1">
                  <a:lumMod val="100000"/>
                </a:schemeClr>
              </a:solidFill>
              <a:latin typeface="+mj-lt"/>
              <a:cs typeface="Trebuchet MS"/>
            </a:endParaRPr>
          </a:p>
        </p:txBody>
      </p:sp>
      <p:sp>
        <p:nvSpPr>
          <p:cNvPr id="58" name="object 5">
            <a:extLst>
              <a:ext uri="{FF2B5EF4-FFF2-40B4-BE49-F238E27FC236}">
                <a16:creationId xmlns:a16="http://schemas.microsoft.com/office/drawing/2014/main" id="{B4898E65-B8D4-4C92-9B15-C70BB1BACDD6}"/>
              </a:ext>
            </a:extLst>
          </p:cNvPr>
          <p:cNvSpPr txBox="1"/>
          <p:nvPr/>
        </p:nvSpPr>
        <p:spPr>
          <a:xfrm>
            <a:off x="3346939" y="2133919"/>
            <a:ext cx="2653449" cy="382156"/>
          </a:xfrm>
          <a:prstGeom prst="rect">
            <a:avLst/>
          </a:prstGeom>
        </p:spPr>
        <p:txBody>
          <a:bodyPr vert="horz" wrap="square" lIns="0" tIns="12700" rIns="0" bIns="0" rtlCol="0">
            <a:spAutoFit/>
          </a:bodyPr>
          <a:lstStyle/>
          <a:p>
            <a:pPr marL="12700"/>
            <a:r>
              <a:rPr lang="en-US" sz="1200" b="1" dirty="0">
                <a:solidFill>
                  <a:schemeClr val="tx1">
                    <a:lumMod val="100000"/>
                  </a:schemeClr>
                </a:solidFill>
                <a:latin typeface="+mj-lt"/>
                <a:cs typeface="Trebuchet MS"/>
              </a:rPr>
              <a:t>Services provided to Spoke needs to help enable and accelerate</a:t>
            </a:r>
            <a:endParaRPr sz="1200" b="1" dirty="0">
              <a:solidFill>
                <a:schemeClr val="tx1">
                  <a:lumMod val="100000"/>
                </a:schemeClr>
              </a:solidFill>
              <a:latin typeface="+mj-lt"/>
              <a:cs typeface="Trebuchet MS"/>
            </a:endParaRPr>
          </a:p>
        </p:txBody>
      </p:sp>
      <p:sp>
        <p:nvSpPr>
          <p:cNvPr id="59" name="object 5">
            <a:extLst>
              <a:ext uri="{FF2B5EF4-FFF2-40B4-BE49-F238E27FC236}">
                <a16:creationId xmlns:a16="http://schemas.microsoft.com/office/drawing/2014/main" id="{97176384-19C7-4517-BA33-5C7BFA87FAB2}"/>
              </a:ext>
            </a:extLst>
          </p:cNvPr>
          <p:cNvSpPr txBox="1"/>
          <p:nvPr/>
        </p:nvSpPr>
        <p:spPr>
          <a:xfrm>
            <a:off x="6081416" y="2133919"/>
            <a:ext cx="2653449" cy="382156"/>
          </a:xfrm>
          <a:prstGeom prst="rect">
            <a:avLst/>
          </a:prstGeom>
        </p:spPr>
        <p:txBody>
          <a:bodyPr vert="horz" wrap="square" lIns="0" tIns="12700" rIns="0" bIns="0" rtlCol="0">
            <a:spAutoFit/>
          </a:bodyPr>
          <a:lstStyle/>
          <a:p>
            <a:pPr marL="12700"/>
            <a:r>
              <a:rPr lang="en-US" sz="1200" b="1" dirty="0">
                <a:solidFill>
                  <a:schemeClr val="tx1">
                    <a:lumMod val="100000"/>
                  </a:schemeClr>
                </a:solidFill>
                <a:latin typeface="+mj-lt"/>
                <a:cs typeface="Trebuchet MS"/>
              </a:rPr>
              <a:t>Guidelines to ensure consistency across products and manage risk</a:t>
            </a:r>
            <a:endParaRPr sz="1200" b="1" dirty="0">
              <a:solidFill>
                <a:schemeClr val="tx1">
                  <a:lumMod val="100000"/>
                </a:schemeClr>
              </a:solidFill>
              <a:latin typeface="+mj-lt"/>
              <a:cs typeface="Trebuchet MS"/>
            </a:endParaRPr>
          </a:p>
        </p:txBody>
      </p:sp>
      <p:sp>
        <p:nvSpPr>
          <p:cNvPr id="60" name="object 5">
            <a:extLst>
              <a:ext uri="{FF2B5EF4-FFF2-40B4-BE49-F238E27FC236}">
                <a16:creationId xmlns:a16="http://schemas.microsoft.com/office/drawing/2014/main" id="{E43A5DAF-6DCA-40FC-993E-3D4E1BAAA459}"/>
              </a:ext>
            </a:extLst>
          </p:cNvPr>
          <p:cNvSpPr txBox="1"/>
          <p:nvPr/>
        </p:nvSpPr>
        <p:spPr>
          <a:xfrm>
            <a:off x="8811089" y="2133919"/>
            <a:ext cx="2653449" cy="382156"/>
          </a:xfrm>
          <a:prstGeom prst="rect">
            <a:avLst/>
          </a:prstGeom>
        </p:spPr>
        <p:txBody>
          <a:bodyPr vert="horz" wrap="square" lIns="0" tIns="12700" rIns="0" bIns="0" rtlCol="0">
            <a:spAutoFit/>
          </a:bodyPr>
          <a:lstStyle/>
          <a:p>
            <a:pPr marL="12700"/>
            <a:r>
              <a:rPr lang="en-US" sz="1200" b="1" dirty="0">
                <a:solidFill>
                  <a:schemeClr val="tx1">
                    <a:lumMod val="100000"/>
                  </a:schemeClr>
                </a:solidFill>
                <a:latin typeface="+mj-lt"/>
                <a:cs typeface="Trebuchet MS"/>
              </a:rPr>
              <a:t>Build reusable, modular components and services</a:t>
            </a:r>
            <a:endParaRPr sz="1200" b="1" dirty="0">
              <a:solidFill>
                <a:schemeClr val="tx1">
                  <a:lumMod val="100000"/>
                </a:schemeClr>
              </a:solidFill>
              <a:latin typeface="+mj-lt"/>
              <a:cs typeface="Trebuchet MS"/>
            </a:endParaRPr>
          </a:p>
        </p:txBody>
      </p:sp>
      <p:grpSp>
        <p:nvGrpSpPr>
          <p:cNvPr id="34" name="Group 33">
            <a:extLst>
              <a:ext uri="{FF2B5EF4-FFF2-40B4-BE49-F238E27FC236}">
                <a16:creationId xmlns:a16="http://schemas.microsoft.com/office/drawing/2014/main" id="{EB20BD9D-84D5-4715-8682-4CAD6225EDD3}"/>
              </a:ext>
            </a:extLst>
          </p:cNvPr>
          <p:cNvGrpSpPr/>
          <p:nvPr/>
        </p:nvGrpSpPr>
        <p:grpSpPr>
          <a:xfrm>
            <a:off x="636118" y="3033151"/>
            <a:ext cx="294338" cy="1863053"/>
            <a:chOff x="427115" y="3425040"/>
            <a:chExt cx="294338" cy="1863053"/>
          </a:xfrm>
        </p:grpSpPr>
        <p:cxnSp>
          <p:nvCxnSpPr>
            <p:cNvPr id="13" name="Straight Connector 12">
              <a:extLst>
                <a:ext uri="{FF2B5EF4-FFF2-40B4-BE49-F238E27FC236}">
                  <a16:creationId xmlns:a16="http://schemas.microsoft.com/office/drawing/2014/main" id="{A7771A38-7BD8-49BC-ADC1-450D795E5339}"/>
                </a:ext>
              </a:extLst>
            </p:cNvPr>
            <p:cNvCxnSpPr>
              <a:cxnSpLocks/>
            </p:cNvCxnSpPr>
            <p:nvPr/>
          </p:nvCxnSpPr>
          <p:spPr>
            <a:xfrm>
              <a:off x="427115" y="3425040"/>
              <a:ext cx="0" cy="1863053"/>
            </a:xfrm>
            <a:prstGeom prst="line">
              <a:avLst/>
            </a:prstGeom>
            <a:ln w="2857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DFA1BA6-B95A-4527-81C2-3E7188DA94A8}"/>
                </a:ext>
              </a:extLst>
            </p:cNvPr>
            <p:cNvCxnSpPr>
              <a:cxnSpLocks/>
            </p:cNvCxnSpPr>
            <p:nvPr/>
          </p:nvCxnSpPr>
          <p:spPr>
            <a:xfrm>
              <a:off x="427115" y="3581459"/>
              <a:ext cx="294338" cy="0"/>
            </a:xfrm>
            <a:prstGeom prst="line">
              <a:avLst/>
            </a:prstGeom>
            <a:ln w="2857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E11EB2C-5515-4BF2-83E2-840C0E8F0B39}"/>
                </a:ext>
              </a:extLst>
            </p:cNvPr>
            <p:cNvCxnSpPr>
              <a:cxnSpLocks/>
            </p:cNvCxnSpPr>
            <p:nvPr/>
          </p:nvCxnSpPr>
          <p:spPr>
            <a:xfrm>
              <a:off x="427115" y="4631162"/>
              <a:ext cx="294338" cy="0"/>
            </a:xfrm>
            <a:prstGeom prst="line">
              <a:avLst/>
            </a:prstGeom>
            <a:ln w="2857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3BD9E11-ABB6-46D4-921B-583DAD56909F}"/>
                </a:ext>
              </a:extLst>
            </p:cNvPr>
            <p:cNvCxnSpPr>
              <a:cxnSpLocks/>
            </p:cNvCxnSpPr>
            <p:nvPr/>
          </p:nvCxnSpPr>
          <p:spPr>
            <a:xfrm>
              <a:off x="427115" y="5288093"/>
              <a:ext cx="294338" cy="0"/>
            </a:xfrm>
            <a:prstGeom prst="line">
              <a:avLst/>
            </a:prstGeom>
            <a:ln w="2857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6DD332F-E779-442C-9F23-785AEFBA8702}"/>
              </a:ext>
            </a:extLst>
          </p:cNvPr>
          <p:cNvGrpSpPr/>
          <p:nvPr/>
        </p:nvGrpSpPr>
        <p:grpSpPr>
          <a:xfrm>
            <a:off x="3346939" y="3033151"/>
            <a:ext cx="294338" cy="2487270"/>
            <a:chOff x="427115" y="3425040"/>
            <a:chExt cx="294338" cy="2487270"/>
          </a:xfrm>
        </p:grpSpPr>
        <p:cxnSp>
          <p:nvCxnSpPr>
            <p:cNvPr id="66" name="Straight Connector 65">
              <a:extLst>
                <a:ext uri="{FF2B5EF4-FFF2-40B4-BE49-F238E27FC236}">
                  <a16:creationId xmlns:a16="http://schemas.microsoft.com/office/drawing/2014/main" id="{E5BF890A-B66B-4606-9625-A852D3937E7D}"/>
                </a:ext>
              </a:extLst>
            </p:cNvPr>
            <p:cNvCxnSpPr>
              <a:cxnSpLocks/>
            </p:cNvCxnSpPr>
            <p:nvPr/>
          </p:nvCxnSpPr>
          <p:spPr>
            <a:xfrm>
              <a:off x="427115" y="3425040"/>
              <a:ext cx="0" cy="2487270"/>
            </a:xfrm>
            <a:prstGeom prst="line">
              <a:avLst/>
            </a:prstGeom>
            <a:ln w="222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37F2E98-501D-4E88-A9C9-EECA48D029E4}"/>
                </a:ext>
              </a:extLst>
            </p:cNvPr>
            <p:cNvCxnSpPr>
              <a:cxnSpLocks/>
            </p:cNvCxnSpPr>
            <p:nvPr/>
          </p:nvCxnSpPr>
          <p:spPr>
            <a:xfrm>
              <a:off x="427115" y="3581459"/>
              <a:ext cx="294338" cy="0"/>
            </a:xfrm>
            <a:prstGeom prst="line">
              <a:avLst/>
            </a:prstGeom>
            <a:ln w="2222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AF10ED01-9ACB-46B0-8A81-DE594D8DA37E}"/>
                </a:ext>
              </a:extLst>
            </p:cNvPr>
            <p:cNvCxnSpPr>
              <a:cxnSpLocks/>
            </p:cNvCxnSpPr>
            <p:nvPr/>
          </p:nvCxnSpPr>
          <p:spPr>
            <a:xfrm>
              <a:off x="427115" y="5294001"/>
              <a:ext cx="294338" cy="0"/>
            </a:xfrm>
            <a:prstGeom prst="line">
              <a:avLst/>
            </a:prstGeom>
            <a:ln w="2222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36E545F-EFEC-44F7-9438-CA2D7E98473A}"/>
                </a:ext>
              </a:extLst>
            </p:cNvPr>
            <p:cNvCxnSpPr>
              <a:cxnSpLocks/>
            </p:cNvCxnSpPr>
            <p:nvPr/>
          </p:nvCxnSpPr>
          <p:spPr>
            <a:xfrm>
              <a:off x="427115" y="4221825"/>
              <a:ext cx="294338" cy="0"/>
            </a:xfrm>
            <a:prstGeom prst="line">
              <a:avLst/>
            </a:prstGeom>
            <a:ln w="2222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CE95877-3093-46C6-9467-165F832BE755}"/>
                </a:ext>
              </a:extLst>
            </p:cNvPr>
            <p:cNvCxnSpPr>
              <a:cxnSpLocks/>
            </p:cNvCxnSpPr>
            <p:nvPr/>
          </p:nvCxnSpPr>
          <p:spPr>
            <a:xfrm>
              <a:off x="427115" y="4637634"/>
              <a:ext cx="294338" cy="0"/>
            </a:xfrm>
            <a:prstGeom prst="line">
              <a:avLst/>
            </a:prstGeom>
            <a:ln w="2222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9A030DC-700E-4426-A3D0-3E859EBE4155}"/>
                </a:ext>
              </a:extLst>
            </p:cNvPr>
            <p:cNvCxnSpPr>
              <a:cxnSpLocks/>
            </p:cNvCxnSpPr>
            <p:nvPr/>
          </p:nvCxnSpPr>
          <p:spPr>
            <a:xfrm>
              <a:off x="427115" y="5912310"/>
              <a:ext cx="294338" cy="0"/>
            </a:xfrm>
            <a:prstGeom prst="line">
              <a:avLst/>
            </a:prstGeom>
            <a:ln w="2222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CC5BB6C6-770C-4164-8E78-52515548AB93}"/>
              </a:ext>
            </a:extLst>
          </p:cNvPr>
          <p:cNvGrpSpPr/>
          <p:nvPr/>
        </p:nvGrpSpPr>
        <p:grpSpPr>
          <a:xfrm>
            <a:off x="6089804" y="3033151"/>
            <a:ext cx="294338" cy="1633496"/>
            <a:chOff x="427115" y="3425040"/>
            <a:chExt cx="294338" cy="1633496"/>
          </a:xfrm>
        </p:grpSpPr>
        <p:cxnSp>
          <p:nvCxnSpPr>
            <p:cNvPr id="77" name="Straight Connector 76">
              <a:extLst>
                <a:ext uri="{FF2B5EF4-FFF2-40B4-BE49-F238E27FC236}">
                  <a16:creationId xmlns:a16="http://schemas.microsoft.com/office/drawing/2014/main" id="{C0AE5EC0-1A8A-4CFE-A973-665C6DA1F243}"/>
                </a:ext>
              </a:extLst>
            </p:cNvPr>
            <p:cNvCxnSpPr>
              <a:cxnSpLocks/>
            </p:cNvCxnSpPr>
            <p:nvPr/>
          </p:nvCxnSpPr>
          <p:spPr>
            <a:xfrm>
              <a:off x="427115" y="3425040"/>
              <a:ext cx="0" cy="1616078"/>
            </a:xfrm>
            <a:prstGeom prst="line">
              <a:avLst/>
            </a:prstGeom>
            <a:ln w="222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14ADE9D-B4CF-467C-BDA3-F894D2D1A80B}"/>
                </a:ext>
              </a:extLst>
            </p:cNvPr>
            <p:cNvCxnSpPr>
              <a:cxnSpLocks/>
            </p:cNvCxnSpPr>
            <p:nvPr/>
          </p:nvCxnSpPr>
          <p:spPr>
            <a:xfrm>
              <a:off x="427115" y="3581459"/>
              <a:ext cx="294338" cy="0"/>
            </a:xfrm>
            <a:prstGeom prst="line">
              <a:avLst/>
            </a:prstGeom>
            <a:ln w="2222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C5A2F4-D52D-40C6-ABA8-C371AC02CECF}"/>
                </a:ext>
              </a:extLst>
            </p:cNvPr>
            <p:cNvCxnSpPr>
              <a:cxnSpLocks/>
            </p:cNvCxnSpPr>
            <p:nvPr/>
          </p:nvCxnSpPr>
          <p:spPr>
            <a:xfrm>
              <a:off x="427115" y="5058536"/>
              <a:ext cx="294338" cy="0"/>
            </a:xfrm>
            <a:prstGeom prst="line">
              <a:avLst/>
            </a:prstGeom>
            <a:ln w="2222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37D61E09-B38C-4B74-8F21-C5EFDDB16398}"/>
                </a:ext>
              </a:extLst>
            </p:cNvPr>
            <p:cNvCxnSpPr>
              <a:cxnSpLocks/>
            </p:cNvCxnSpPr>
            <p:nvPr/>
          </p:nvCxnSpPr>
          <p:spPr>
            <a:xfrm>
              <a:off x="427115" y="4003149"/>
              <a:ext cx="294338" cy="0"/>
            </a:xfrm>
            <a:prstGeom prst="line">
              <a:avLst/>
            </a:prstGeom>
            <a:ln w="2222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66A7239-35F2-4B78-A7C9-B13A6D56E6D9}"/>
                </a:ext>
              </a:extLst>
            </p:cNvPr>
            <p:cNvCxnSpPr>
              <a:cxnSpLocks/>
            </p:cNvCxnSpPr>
            <p:nvPr/>
          </p:nvCxnSpPr>
          <p:spPr>
            <a:xfrm>
              <a:off x="427115" y="4435039"/>
              <a:ext cx="294338" cy="0"/>
            </a:xfrm>
            <a:prstGeom prst="line">
              <a:avLst/>
            </a:prstGeom>
            <a:ln w="22225" cap="rnd" cmpd="sng" algn="ctr">
              <a:solidFill>
                <a:srgbClr val="00148C"/>
              </a:solidFill>
              <a:prstDash val="solid"/>
              <a:round/>
              <a:headEnd type="none" w="med" len="med"/>
              <a:tailEnd type="oval" w="lg" len="lg"/>
            </a:ln>
          </p:spPr>
          <p:style>
            <a:lnRef idx="1">
              <a:schemeClr val="accent1"/>
            </a:lnRef>
            <a:fillRef idx="0">
              <a:schemeClr val="accent1"/>
            </a:fillRef>
            <a:effectRef idx="0">
              <a:schemeClr val="accent1"/>
            </a:effectRef>
            <a:fontRef idx="minor">
              <a:schemeClr val="tx1"/>
            </a:fontRef>
          </p:style>
        </p:cxnSp>
      </p:grpSp>
      <p:pic>
        <p:nvPicPr>
          <p:cNvPr id="87" name="Picture 86">
            <a:extLst>
              <a:ext uri="{FF2B5EF4-FFF2-40B4-BE49-F238E27FC236}">
                <a16:creationId xmlns:a16="http://schemas.microsoft.com/office/drawing/2014/main" id="{D6C06DA9-E0F2-480B-B4AA-A1896C6803B8}"/>
              </a:ext>
            </a:extLst>
          </p:cNvPr>
          <p:cNvPicPr>
            <a:picLocks noChangeAspect="1"/>
          </p:cNvPicPr>
          <p:nvPr/>
        </p:nvPicPr>
        <p:blipFill>
          <a:blip r:embed="rId9"/>
          <a:stretch>
            <a:fillRect/>
          </a:stretch>
        </p:blipFill>
        <p:spPr>
          <a:xfrm>
            <a:off x="5228443" y="0"/>
            <a:ext cx="1735115" cy="336322"/>
          </a:xfrm>
          <a:prstGeom prst="rect">
            <a:avLst/>
          </a:prstGeom>
        </p:spPr>
      </p:pic>
      <p:grpSp>
        <p:nvGrpSpPr>
          <p:cNvPr id="16" name="Group 15">
            <a:extLst>
              <a:ext uri="{FF2B5EF4-FFF2-40B4-BE49-F238E27FC236}">
                <a16:creationId xmlns:a16="http://schemas.microsoft.com/office/drawing/2014/main" id="{F4305275-1AC1-40C8-BA8E-AA1278E7056A}"/>
              </a:ext>
            </a:extLst>
          </p:cNvPr>
          <p:cNvGrpSpPr>
            <a:grpSpLocks/>
          </p:cNvGrpSpPr>
          <p:nvPr/>
        </p:nvGrpSpPr>
        <p:grpSpPr>
          <a:xfrm>
            <a:off x="8743168" y="3194462"/>
            <a:ext cx="2782709" cy="1396227"/>
            <a:chOff x="11991514" y="1221096"/>
            <a:chExt cx="9275696" cy="4654089"/>
          </a:xfrm>
        </p:grpSpPr>
        <p:sp>
          <p:nvSpPr>
            <p:cNvPr id="96" name="Rectangle 95">
              <a:extLst>
                <a:ext uri="{FF2B5EF4-FFF2-40B4-BE49-F238E27FC236}">
                  <a16:creationId xmlns:a16="http://schemas.microsoft.com/office/drawing/2014/main" id="{BD3E6F1E-D064-47CC-8875-D5741E23AA02}"/>
                </a:ext>
              </a:extLst>
            </p:cNvPr>
            <p:cNvSpPr/>
            <p:nvPr/>
          </p:nvSpPr>
          <p:spPr>
            <a:xfrm>
              <a:off x="12142630" y="1381994"/>
              <a:ext cx="6488615" cy="1043752"/>
            </a:xfrm>
            <a:prstGeom prst="rect">
              <a:avLst/>
            </a:prstGeom>
            <a:solidFill>
              <a:srgbClr val="C800A1"/>
            </a:solidFill>
            <a:ln w="2858" cap="rnd" cmpd="sng" algn="ctr">
              <a:solidFill>
                <a:schemeClr val="bg1"/>
              </a:solidFill>
              <a:prstDash val="solid"/>
              <a:round/>
              <a:headEnd type="none" w="med" len="med"/>
              <a:tailEnd type="none" w="med" len="med"/>
            </a:ln>
            <a:effectLst/>
          </p:spPr>
          <p:txBody>
            <a:bodyPr rot="0" spcFirstLastPara="0" vertOverflow="overflow" horzOverflow="overflow" vert="horz" wrap="square" lIns="27432" tIns="13716" rIns="324000" bIns="13716" numCol="1" spcCol="0" rtlCol="0" fromWordArt="0" anchor="ctr" anchorCtr="0" forceAA="0" compatLnSpc="1">
              <a:prstTxWarp prst="textNoShape">
                <a:avLst/>
              </a:prstTxWarp>
              <a:noAutofit/>
            </a:bodyPr>
            <a:lstStyle/>
            <a:p>
              <a:pPr marL="246888" marR="0" lvl="0" defTabSz="914400" eaLnBrk="1" fontAlgn="auto" latinLnBrk="0" hangingPunct="1">
                <a:lnSpc>
                  <a:spcPct val="100000"/>
                </a:lnSpc>
                <a:spcBef>
                  <a:spcPts val="0"/>
                </a:spcBef>
                <a:spcAft>
                  <a:spcPts val="0"/>
                </a:spcAft>
                <a:buClrTx/>
                <a:buSzTx/>
                <a:buFontTx/>
                <a:buNone/>
                <a:tabLst/>
                <a:defRPr/>
              </a:pPr>
              <a:r>
                <a:rPr kumimoji="0" lang="en-US" sz="720" b="1" i="0" u="none" strike="noStrike" kern="0" cap="none" spc="0" normalizeH="0" baseline="0" noProof="0" dirty="0">
                  <a:ln>
                    <a:noFill/>
                  </a:ln>
                  <a:solidFill>
                    <a:srgbClr val="FFFFFF"/>
                  </a:solidFill>
                  <a:effectLst/>
                  <a:uLnTx/>
                  <a:uFillTx/>
                  <a:ea typeface="+mn-ea"/>
                  <a:cs typeface="+mn-cs"/>
                </a:rPr>
                <a:t>Digital products &amp; services layer products: </a:t>
              </a:r>
            </a:p>
          </p:txBody>
        </p:sp>
        <p:sp>
          <p:nvSpPr>
            <p:cNvPr id="97" name="Rectangle 96">
              <a:extLst>
                <a:ext uri="{FF2B5EF4-FFF2-40B4-BE49-F238E27FC236}">
                  <a16:creationId xmlns:a16="http://schemas.microsoft.com/office/drawing/2014/main" id="{2A447D68-DA64-4DA0-8734-CBA8877776F6}"/>
                </a:ext>
              </a:extLst>
            </p:cNvPr>
            <p:cNvSpPr/>
            <p:nvPr/>
          </p:nvSpPr>
          <p:spPr>
            <a:xfrm>
              <a:off x="12142630" y="2531807"/>
              <a:ext cx="6484124" cy="1043752"/>
            </a:xfrm>
            <a:prstGeom prst="rect">
              <a:avLst/>
            </a:prstGeom>
            <a:solidFill>
              <a:srgbClr val="6B80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27432" tIns="13716" rIns="324000" bIns="13716" numCol="1" spcCol="0" rtlCol="0" fromWordArt="0" anchor="ctr" anchorCtr="0" forceAA="0" compatLnSpc="1">
              <a:prstTxWarp prst="textNoShape">
                <a:avLst/>
              </a:prstTxWarp>
              <a:noAutofit/>
            </a:bodyPr>
            <a:lstStyle/>
            <a:p>
              <a:pPr marL="246888" marR="0" lvl="0" defTabSz="914400" eaLnBrk="1" fontAlgn="auto" latinLnBrk="0" hangingPunct="1">
                <a:lnSpc>
                  <a:spcPct val="100000"/>
                </a:lnSpc>
                <a:spcBef>
                  <a:spcPts val="0"/>
                </a:spcBef>
                <a:spcAft>
                  <a:spcPts val="0"/>
                </a:spcAft>
                <a:buClrTx/>
                <a:buSzTx/>
                <a:buFontTx/>
                <a:buNone/>
                <a:tabLst/>
                <a:defRPr/>
              </a:pPr>
              <a:r>
                <a:rPr kumimoji="0" lang="en-US" sz="720" b="1" i="0" u="none" strike="noStrike" kern="0" cap="none" spc="0" normalizeH="0" baseline="0" noProof="0" dirty="0">
                  <a:ln>
                    <a:noFill/>
                  </a:ln>
                  <a:solidFill>
                    <a:srgbClr val="FFFFFF"/>
                  </a:solidFill>
                  <a:effectLst/>
                  <a:uLnTx/>
                  <a:uFillTx/>
                  <a:ea typeface="+mn-ea"/>
                  <a:cs typeface="+mn-cs"/>
                </a:rPr>
                <a:t>Data &amp; analytics layer products:</a:t>
              </a:r>
            </a:p>
          </p:txBody>
        </p:sp>
        <p:sp>
          <p:nvSpPr>
            <p:cNvPr id="98" name="Rectangle 97">
              <a:extLst>
                <a:ext uri="{FF2B5EF4-FFF2-40B4-BE49-F238E27FC236}">
                  <a16:creationId xmlns:a16="http://schemas.microsoft.com/office/drawing/2014/main" id="{1DE4DFDB-C39F-4359-BFBB-E54A1C2665C9}"/>
                </a:ext>
              </a:extLst>
            </p:cNvPr>
            <p:cNvSpPr/>
            <p:nvPr/>
          </p:nvSpPr>
          <p:spPr>
            <a:xfrm>
              <a:off x="12142375" y="3681620"/>
              <a:ext cx="6484124" cy="1043752"/>
            </a:xfrm>
            <a:prstGeom prst="rect">
              <a:avLst/>
            </a:prstGeom>
            <a:solidFill>
              <a:srgbClr val="00AFF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27432" tIns="13716" rIns="324000" bIns="13716" numCol="1" spcCol="0" rtlCol="0" fromWordArt="0" anchor="ctr" anchorCtr="0" forceAA="0" compatLnSpc="1">
              <a:prstTxWarp prst="textNoShape">
                <a:avLst/>
              </a:prstTxWarp>
              <a:noAutofit/>
            </a:bodyPr>
            <a:lstStyle/>
            <a:p>
              <a:pPr marL="246888" marR="0" lvl="0" defTabSz="914400" eaLnBrk="1" fontAlgn="auto" latinLnBrk="0" hangingPunct="1">
                <a:lnSpc>
                  <a:spcPct val="100000"/>
                </a:lnSpc>
                <a:spcBef>
                  <a:spcPts val="0"/>
                </a:spcBef>
                <a:spcAft>
                  <a:spcPts val="0"/>
                </a:spcAft>
                <a:buClrTx/>
                <a:buSzTx/>
                <a:buFontTx/>
                <a:buNone/>
                <a:tabLst/>
                <a:defRPr/>
              </a:pPr>
              <a:r>
                <a:rPr kumimoji="0" lang="en-US" sz="720" b="1" i="0" u="none" strike="noStrike" kern="0" cap="none" spc="0" normalizeH="0" baseline="0" noProof="0" dirty="0">
                  <a:ln>
                    <a:noFill/>
                  </a:ln>
                  <a:solidFill>
                    <a:srgbClr val="FFFFFF"/>
                  </a:solidFill>
                  <a:effectLst/>
                  <a:uLnTx/>
                  <a:uFillTx/>
                  <a:ea typeface="+mn-ea"/>
                  <a:cs typeface="+mn-cs"/>
                </a:rPr>
                <a:t>Core systems products:</a:t>
              </a:r>
            </a:p>
          </p:txBody>
        </p:sp>
        <p:sp>
          <p:nvSpPr>
            <p:cNvPr id="99" name="Rectangle 98">
              <a:extLst>
                <a:ext uri="{FF2B5EF4-FFF2-40B4-BE49-F238E27FC236}">
                  <a16:creationId xmlns:a16="http://schemas.microsoft.com/office/drawing/2014/main" id="{8B2B9B00-2AC7-439D-B225-6A2B20AC2F64}"/>
                </a:ext>
              </a:extLst>
            </p:cNvPr>
            <p:cNvSpPr/>
            <p:nvPr/>
          </p:nvSpPr>
          <p:spPr>
            <a:xfrm>
              <a:off x="12142630" y="4831433"/>
              <a:ext cx="6484124" cy="1043752"/>
            </a:xfrm>
            <a:prstGeom prst="rect">
              <a:avLst/>
            </a:prstGeom>
            <a:solidFill>
              <a:srgbClr val="0073C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27432" tIns="13716" rIns="324000" bIns="13716" numCol="1" spcCol="0" rtlCol="0" fromWordArt="0" anchor="ctr" anchorCtr="0" forceAA="0" compatLnSpc="1">
              <a:prstTxWarp prst="textNoShape">
                <a:avLst/>
              </a:prstTxWarp>
              <a:noAutofit/>
            </a:bodyPr>
            <a:lstStyle/>
            <a:p>
              <a:pPr marL="246888" marR="0" lvl="0" defTabSz="914400" eaLnBrk="1" fontAlgn="auto" latinLnBrk="0" hangingPunct="1">
                <a:lnSpc>
                  <a:spcPct val="100000"/>
                </a:lnSpc>
                <a:spcBef>
                  <a:spcPts val="0"/>
                </a:spcBef>
                <a:spcAft>
                  <a:spcPts val="0"/>
                </a:spcAft>
                <a:buClrTx/>
                <a:buSzTx/>
                <a:buFontTx/>
                <a:buNone/>
                <a:tabLst/>
                <a:defRPr/>
              </a:pPr>
              <a:r>
                <a:rPr kumimoji="0" lang="en-US" sz="720" b="1" i="0" u="none" strike="noStrike" kern="0" cap="none" spc="0" normalizeH="0" baseline="0" noProof="0" dirty="0">
                  <a:ln>
                    <a:noFill/>
                  </a:ln>
                  <a:solidFill>
                    <a:srgbClr val="FFFFFF"/>
                  </a:solidFill>
                  <a:effectLst/>
                  <a:uLnTx/>
                  <a:uFillTx/>
                  <a:ea typeface="+mn-ea"/>
                  <a:cs typeface="+mn-cs"/>
                </a:rPr>
                <a:t>Infrastructure products:</a:t>
              </a:r>
            </a:p>
          </p:txBody>
        </p:sp>
        <p:sp>
          <p:nvSpPr>
            <p:cNvPr id="100" name="Rectangle 99">
              <a:extLst>
                <a:ext uri="{FF2B5EF4-FFF2-40B4-BE49-F238E27FC236}">
                  <a16:creationId xmlns:a16="http://schemas.microsoft.com/office/drawing/2014/main" id="{D5D998AF-1E80-4641-81FF-0D3B5B58C31F}"/>
                </a:ext>
              </a:extLst>
            </p:cNvPr>
            <p:cNvSpPr/>
            <p:nvPr/>
          </p:nvSpPr>
          <p:spPr>
            <a:xfrm>
              <a:off x="18752679" y="1381994"/>
              <a:ext cx="1194303" cy="4493191"/>
            </a:xfrm>
            <a:prstGeom prst="rect">
              <a:avLst/>
            </a:prstGeom>
            <a:solidFill>
              <a:srgbClr val="00148C"/>
            </a:solidFill>
            <a:ln w="9525" cap="rnd" cmpd="sng" algn="ctr">
              <a:noFill/>
              <a:prstDash val="solid"/>
              <a:round/>
              <a:headEnd type="none" w="med" len="med"/>
              <a:tailEnd type="none" w="med" len="med"/>
            </a:ln>
            <a:effectLst/>
          </p:spPr>
          <p:txBody>
            <a:bodyPr rot="0" spcFirstLastPara="0" vertOverflow="overflow" horzOverflow="overflow" vert="horz" wrap="square" lIns="27432" tIns="13716" rIns="27432" bIns="13716" numCol="1" spcCol="0" rtlCol="0" fromWordArt="0" anchor="t" anchorCtr="0" forceAA="0" compatLnSpc="1">
              <a:prstTxWarp prst="textNoShape">
                <a:avLst/>
              </a:prstTxWarp>
              <a:noAutofit/>
            </a:bodyPr>
            <a:lstStyle/>
            <a:p>
              <a:pPr marR="0" lvl="0" defTabSz="914400" eaLnBrk="1" fontAlgn="auto" latinLnBrk="0" hangingPunct="1">
                <a:lnSpc>
                  <a:spcPct val="100000"/>
                </a:lnSpc>
                <a:spcBef>
                  <a:spcPts val="0"/>
                </a:spcBef>
                <a:spcAft>
                  <a:spcPts val="0"/>
                </a:spcAft>
                <a:buClrTx/>
                <a:buSzTx/>
                <a:buFontTx/>
                <a:buNone/>
                <a:tabLst/>
                <a:defRPr/>
              </a:pPr>
              <a:endParaRPr kumimoji="0" lang="en-US" sz="72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72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72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72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r>
                <a:rPr kumimoji="0" lang="en-US" sz="720" b="1" i="0" u="none" strike="noStrike" kern="0" cap="none" spc="0" normalizeH="0" baseline="0" noProof="0" dirty="0">
                  <a:ln>
                    <a:noFill/>
                  </a:ln>
                  <a:solidFill>
                    <a:srgbClr val="FFFFFF"/>
                  </a:solidFill>
                  <a:effectLst/>
                  <a:uLnTx/>
                  <a:uFillTx/>
                  <a:ea typeface="+mn-ea"/>
                  <a:cs typeface="+mn-cs"/>
                </a:rPr>
                <a:t>Integration Products </a:t>
              </a:r>
            </a:p>
          </p:txBody>
        </p:sp>
        <p:sp>
          <p:nvSpPr>
            <p:cNvPr id="101" name="Rectangle 100">
              <a:extLst>
                <a:ext uri="{FF2B5EF4-FFF2-40B4-BE49-F238E27FC236}">
                  <a16:creationId xmlns:a16="http://schemas.microsoft.com/office/drawing/2014/main" id="{3C878995-739B-4F5A-8DC5-19B07CE8E354}"/>
                </a:ext>
              </a:extLst>
            </p:cNvPr>
            <p:cNvSpPr/>
            <p:nvPr/>
          </p:nvSpPr>
          <p:spPr>
            <a:xfrm>
              <a:off x="20072907" y="1381994"/>
              <a:ext cx="1194303" cy="4493191"/>
            </a:xfrm>
            <a:prstGeom prst="rect">
              <a:avLst/>
            </a:prstGeom>
            <a:solidFill>
              <a:srgbClr val="000F69"/>
            </a:solidFill>
            <a:ln w="9525" cap="rnd" cmpd="sng" algn="ctr">
              <a:noFill/>
              <a:prstDash val="solid"/>
              <a:round/>
              <a:headEnd type="none" w="med" len="med"/>
              <a:tailEnd type="none" w="med" len="med"/>
            </a:ln>
            <a:effectLst/>
          </p:spPr>
          <p:txBody>
            <a:bodyPr rot="0" spcFirstLastPara="0" vertOverflow="overflow" horzOverflow="overflow" vert="horz" wrap="square" lIns="27432" tIns="13716" rIns="27432" bIns="13716" numCol="1" spcCol="0" rtlCol="0" fromWordArt="0" anchor="t" anchorCtr="0" forceAA="0" compatLnSpc="1">
              <a:prstTxWarp prst="textNoShape">
                <a:avLst/>
              </a:prstTxWarp>
              <a:noAutofit/>
            </a:bodyPr>
            <a:lstStyle/>
            <a:p>
              <a:pPr marR="0" lvl="0" defTabSz="914400" eaLnBrk="1" fontAlgn="auto" latinLnBrk="0" hangingPunct="1">
                <a:lnSpc>
                  <a:spcPct val="100000"/>
                </a:lnSpc>
                <a:spcBef>
                  <a:spcPts val="0"/>
                </a:spcBef>
                <a:spcAft>
                  <a:spcPts val="0"/>
                </a:spcAft>
                <a:buClrTx/>
                <a:buSzTx/>
                <a:buFontTx/>
                <a:buNone/>
                <a:tabLst/>
                <a:defRPr/>
              </a:pPr>
              <a:endParaRPr kumimoji="0" lang="en-US" sz="72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72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72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72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r>
                <a:rPr kumimoji="0" lang="en-US" sz="720" b="1" i="0" u="none" strike="noStrike" kern="0" cap="none" spc="0" normalizeH="0" baseline="0" noProof="0" dirty="0">
                  <a:ln>
                    <a:noFill/>
                  </a:ln>
                  <a:solidFill>
                    <a:srgbClr val="FFFFFF"/>
                  </a:solidFill>
                  <a:effectLst/>
                  <a:uLnTx/>
                  <a:uFillTx/>
                  <a:ea typeface="+mn-ea"/>
                  <a:cs typeface="+mn-cs"/>
                </a:rPr>
                <a:t>Security Products </a:t>
              </a:r>
            </a:p>
          </p:txBody>
        </p:sp>
        <p:grpSp>
          <p:nvGrpSpPr>
            <p:cNvPr id="102" name="Group 101">
              <a:extLst>
                <a:ext uri="{FF2B5EF4-FFF2-40B4-BE49-F238E27FC236}">
                  <a16:creationId xmlns:a16="http://schemas.microsoft.com/office/drawing/2014/main" id="{05FF9FF2-8765-4E27-A734-3875C45F209D}"/>
                </a:ext>
              </a:extLst>
            </p:cNvPr>
            <p:cNvGrpSpPr>
              <a:grpSpLocks noChangeAspect="1"/>
            </p:cNvGrpSpPr>
            <p:nvPr/>
          </p:nvGrpSpPr>
          <p:grpSpPr>
            <a:xfrm>
              <a:off x="12308776" y="1576251"/>
              <a:ext cx="655239" cy="655239"/>
              <a:chOff x="5273675" y="2606675"/>
              <a:chExt cx="1644650" cy="1644650"/>
            </a:xfrm>
          </p:grpSpPr>
          <p:sp>
            <p:nvSpPr>
              <p:cNvPr id="229" name="AutoShape 3">
                <a:extLst>
                  <a:ext uri="{FF2B5EF4-FFF2-40B4-BE49-F238E27FC236}">
                    <a16:creationId xmlns:a16="http://schemas.microsoft.com/office/drawing/2014/main" id="{C6FEEF24-7545-437B-B1F2-A5C4713F7D9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7432" tIns="13716" rIns="27432" bIns="13716" numCol="1" anchor="t" anchorCtr="0" compatLnSpc="1">
                <a:prstTxWarp prst="textNoShape">
                  <a:avLst/>
                </a:prstTxWarp>
              </a:bodyPr>
              <a:lstStyle/>
              <a:p>
                <a:endParaRPr lang="en-US" dirty="0">
                  <a:solidFill>
                    <a:srgbClr val="575757"/>
                  </a:solidFill>
                </a:endParaRPr>
              </a:p>
            </p:txBody>
          </p:sp>
          <p:sp>
            <p:nvSpPr>
              <p:cNvPr id="230" name="Freeform 20">
                <a:extLst>
                  <a:ext uri="{FF2B5EF4-FFF2-40B4-BE49-F238E27FC236}">
                    <a16:creationId xmlns:a16="http://schemas.microsoft.com/office/drawing/2014/main" id="{055EAFB5-A314-4EE1-9470-06EBCC8787D3}"/>
                  </a:ext>
                </a:extLst>
              </p:cNvPr>
              <p:cNvSpPr>
                <a:spLocks/>
              </p:cNvSpPr>
              <p:nvPr/>
            </p:nvSpPr>
            <p:spPr bwMode="auto">
              <a:xfrm>
                <a:off x="5613400" y="2882899"/>
                <a:ext cx="1123951" cy="1092200"/>
              </a:xfrm>
              <a:custGeom>
                <a:avLst/>
                <a:gdLst>
                  <a:gd name="connsiteX0" fmla="*/ 287338 w 1123951"/>
                  <a:gd name="connsiteY0" fmla="*/ 947738 h 1092200"/>
                  <a:gd name="connsiteX1" fmla="*/ 328613 w 1123951"/>
                  <a:gd name="connsiteY1" fmla="*/ 989013 h 1092200"/>
                  <a:gd name="connsiteX2" fmla="*/ 287338 w 1123951"/>
                  <a:gd name="connsiteY2" fmla="*/ 1030288 h 1092200"/>
                  <a:gd name="connsiteX3" fmla="*/ 246063 w 1123951"/>
                  <a:gd name="connsiteY3" fmla="*/ 989013 h 1092200"/>
                  <a:gd name="connsiteX4" fmla="*/ 287338 w 1123951"/>
                  <a:gd name="connsiteY4" fmla="*/ 947738 h 1092200"/>
                  <a:gd name="connsiteX5" fmla="*/ 31750 w 1123951"/>
                  <a:gd name="connsiteY5" fmla="*/ 925513 h 1092200"/>
                  <a:gd name="connsiteX6" fmla="*/ 31750 w 1123951"/>
                  <a:gd name="connsiteY6" fmla="*/ 1060451 h 1092200"/>
                  <a:gd name="connsiteX7" fmla="*/ 542925 w 1123951"/>
                  <a:gd name="connsiteY7" fmla="*/ 1060451 h 1092200"/>
                  <a:gd name="connsiteX8" fmla="*/ 542925 w 1123951"/>
                  <a:gd name="connsiteY8" fmla="*/ 925513 h 1092200"/>
                  <a:gd name="connsiteX9" fmla="*/ 31750 w 1123951"/>
                  <a:gd name="connsiteY9" fmla="*/ 925513 h 1092200"/>
                  <a:gd name="connsiteX10" fmla="*/ 336369 w 1123951"/>
                  <a:gd name="connsiteY10" fmla="*/ 476250 h 1092200"/>
                  <a:gd name="connsiteX11" fmla="*/ 417694 w 1123951"/>
                  <a:gd name="connsiteY11" fmla="*/ 476250 h 1092200"/>
                  <a:gd name="connsiteX12" fmla="*/ 433388 w 1123951"/>
                  <a:gd name="connsiteY12" fmla="*/ 492065 h 1092200"/>
                  <a:gd name="connsiteX13" fmla="*/ 433388 w 1123951"/>
                  <a:gd name="connsiteY13" fmla="*/ 574735 h 1092200"/>
                  <a:gd name="connsiteX14" fmla="*/ 417694 w 1123951"/>
                  <a:gd name="connsiteY14" fmla="*/ 590550 h 1092200"/>
                  <a:gd name="connsiteX15" fmla="*/ 336369 w 1123951"/>
                  <a:gd name="connsiteY15" fmla="*/ 590550 h 1092200"/>
                  <a:gd name="connsiteX16" fmla="*/ 320675 w 1123951"/>
                  <a:gd name="connsiteY16" fmla="*/ 574735 h 1092200"/>
                  <a:gd name="connsiteX17" fmla="*/ 320675 w 1123951"/>
                  <a:gd name="connsiteY17" fmla="*/ 492065 h 1092200"/>
                  <a:gd name="connsiteX18" fmla="*/ 336369 w 1123951"/>
                  <a:gd name="connsiteY18" fmla="*/ 476250 h 1092200"/>
                  <a:gd name="connsiteX19" fmla="*/ 671411 w 1123951"/>
                  <a:gd name="connsiteY19" fmla="*/ 366713 h 1092200"/>
                  <a:gd name="connsiteX20" fmla="*/ 839891 w 1123951"/>
                  <a:gd name="connsiteY20" fmla="*/ 366713 h 1092200"/>
                  <a:gd name="connsiteX21" fmla="*/ 855663 w 1123951"/>
                  <a:gd name="connsiteY21" fmla="*/ 382429 h 1092200"/>
                  <a:gd name="connsiteX22" fmla="*/ 855663 w 1123951"/>
                  <a:gd name="connsiteY22" fmla="*/ 551022 h 1092200"/>
                  <a:gd name="connsiteX23" fmla="*/ 839891 w 1123951"/>
                  <a:gd name="connsiteY23" fmla="*/ 566738 h 1092200"/>
                  <a:gd name="connsiteX24" fmla="*/ 671411 w 1123951"/>
                  <a:gd name="connsiteY24" fmla="*/ 566738 h 1092200"/>
                  <a:gd name="connsiteX25" fmla="*/ 655638 w 1123951"/>
                  <a:gd name="connsiteY25" fmla="*/ 551022 h 1092200"/>
                  <a:gd name="connsiteX26" fmla="*/ 655638 w 1123951"/>
                  <a:gd name="connsiteY26" fmla="*/ 382429 h 1092200"/>
                  <a:gd name="connsiteX27" fmla="*/ 671411 w 1123951"/>
                  <a:gd name="connsiteY27" fmla="*/ 366713 h 1092200"/>
                  <a:gd name="connsiteX28" fmla="*/ 485633 w 1123951"/>
                  <a:gd name="connsiteY28" fmla="*/ 322263 h 1092200"/>
                  <a:gd name="connsiteX29" fmla="*/ 598629 w 1123951"/>
                  <a:gd name="connsiteY29" fmla="*/ 322263 h 1092200"/>
                  <a:gd name="connsiteX30" fmla="*/ 614363 w 1123951"/>
                  <a:gd name="connsiteY30" fmla="*/ 337996 h 1092200"/>
                  <a:gd name="connsiteX31" fmla="*/ 614363 w 1123951"/>
                  <a:gd name="connsiteY31" fmla="*/ 450993 h 1092200"/>
                  <a:gd name="connsiteX32" fmla="*/ 598629 w 1123951"/>
                  <a:gd name="connsiteY32" fmla="*/ 466726 h 1092200"/>
                  <a:gd name="connsiteX33" fmla="*/ 485633 w 1123951"/>
                  <a:gd name="connsiteY33" fmla="*/ 466726 h 1092200"/>
                  <a:gd name="connsiteX34" fmla="*/ 469900 w 1123951"/>
                  <a:gd name="connsiteY34" fmla="*/ 450993 h 1092200"/>
                  <a:gd name="connsiteX35" fmla="*/ 469900 w 1123951"/>
                  <a:gd name="connsiteY35" fmla="*/ 337996 h 1092200"/>
                  <a:gd name="connsiteX36" fmla="*/ 485633 w 1123951"/>
                  <a:gd name="connsiteY36" fmla="*/ 322263 h 1092200"/>
                  <a:gd name="connsiteX37" fmla="*/ 912644 w 1123951"/>
                  <a:gd name="connsiteY37" fmla="*/ 217488 h 1092200"/>
                  <a:gd name="connsiteX38" fmla="*/ 1108246 w 1123951"/>
                  <a:gd name="connsiteY38" fmla="*/ 217488 h 1092200"/>
                  <a:gd name="connsiteX39" fmla="*/ 1123951 w 1123951"/>
                  <a:gd name="connsiteY39" fmla="*/ 233193 h 1092200"/>
                  <a:gd name="connsiteX40" fmla="*/ 1123951 w 1123951"/>
                  <a:gd name="connsiteY40" fmla="*/ 428796 h 1092200"/>
                  <a:gd name="connsiteX41" fmla="*/ 1108246 w 1123951"/>
                  <a:gd name="connsiteY41" fmla="*/ 444501 h 1092200"/>
                  <a:gd name="connsiteX42" fmla="*/ 912644 w 1123951"/>
                  <a:gd name="connsiteY42" fmla="*/ 444501 h 1092200"/>
                  <a:gd name="connsiteX43" fmla="*/ 896938 w 1123951"/>
                  <a:gd name="connsiteY43" fmla="*/ 428796 h 1092200"/>
                  <a:gd name="connsiteX44" fmla="*/ 896938 w 1123951"/>
                  <a:gd name="connsiteY44" fmla="*/ 233193 h 1092200"/>
                  <a:gd name="connsiteX45" fmla="*/ 912644 w 1123951"/>
                  <a:gd name="connsiteY45" fmla="*/ 217488 h 1092200"/>
                  <a:gd name="connsiteX46" fmla="*/ 696848 w 1123951"/>
                  <a:gd name="connsiteY46" fmla="*/ 149225 h 1092200"/>
                  <a:gd name="connsiteX47" fmla="*/ 839854 w 1123951"/>
                  <a:gd name="connsiteY47" fmla="*/ 149225 h 1092200"/>
                  <a:gd name="connsiteX48" fmla="*/ 855663 w 1123951"/>
                  <a:gd name="connsiteY48" fmla="*/ 164891 h 1092200"/>
                  <a:gd name="connsiteX49" fmla="*/ 855663 w 1123951"/>
                  <a:gd name="connsiteY49" fmla="*/ 306597 h 1092200"/>
                  <a:gd name="connsiteX50" fmla="*/ 839854 w 1123951"/>
                  <a:gd name="connsiteY50" fmla="*/ 322263 h 1092200"/>
                  <a:gd name="connsiteX51" fmla="*/ 696848 w 1123951"/>
                  <a:gd name="connsiteY51" fmla="*/ 322263 h 1092200"/>
                  <a:gd name="connsiteX52" fmla="*/ 681038 w 1123951"/>
                  <a:gd name="connsiteY52" fmla="*/ 306597 h 1092200"/>
                  <a:gd name="connsiteX53" fmla="*/ 681038 w 1123951"/>
                  <a:gd name="connsiteY53" fmla="*/ 164891 h 1092200"/>
                  <a:gd name="connsiteX54" fmla="*/ 696848 w 1123951"/>
                  <a:gd name="connsiteY54" fmla="*/ 149225 h 1092200"/>
                  <a:gd name="connsiteX55" fmla="*/ 64302 w 1123951"/>
                  <a:gd name="connsiteY55" fmla="*/ 149225 h 1092200"/>
                  <a:gd name="connsiteX56" fmla="*/ 505610 w 1123951"/>
                  <a:gd name="connsiteY56" fmla="*/ 149225 h 1092200"/>
                  <a:gd name="connsiteX57" fmla="*/ 512763 w 1123951"/>
                  <a:gd name="connsiteY57" fmla="*/ 156365 h 1092200"/>
                  <a:gd name="connsiteX58" fmla="*/ 512763 w 1123951"/>
                  <a:gd name="connsiteY58" fmla="*/ 290608 h 1092200"/>
                  <a:gd name="connsiteX59" fmla="*/ 485583 w 1123951"/>
                  <a:gd name="connsiteY59" fmla="*/ 290608 h 1092200"/>
                  <a:gd name="connsiteX60" fmla="*/ 438377 w 1123951"/>
                  <a:gd name="connsiteY60" fmla="*/ 337736 h 1092200"/>
                  <a:gd name="connsiteX61" fmla="*/ 438377 w 1123951"/>
                  <a:gd name="connsiteY61" fmla="*/ 450557 h 1092200"/>
                  <a:gd name="connsiteX62" fmla="*/ 438377 w 1123951"/>
                  <a:gd name="connsiteY62" fmla="*/ 451271 h 1092200"/>
                  <a:gd name="connsiteX63" fmla="*/ 416920 w 1123951"/>
                  <a:gd name="connsiteY63" fmla="*/ 445558 h 1092200"/>
                  <a:gd name="connsiteX64" fmla="*/ 335381 w 1123951"/>
                  <a:gd name="connsiteY64" fmla="*/ 445558 h 1092200"/>
                  <a:gd name="connsiteX65" fmla="*/ 288175 w 1123951"/>
                  <a:gd name="connsiteY65" fmla="*/ 492686 h 1092200"/>
                  <a:gd name="connsiteX66" fmla="*/ 288175 w 1123951"/>
                  <a:gd name="connsiteY66" fmla="*/ 574803 h 1092200"/>
                  <a:gd name="connsiteX67" fmla="*/ 335381 w 1123951"/>
                  <a:gd name="connsiteY67" fmla="*/ 621930 h 1092200"/>
                  <a:gd name="connsiteX68" fmla="*/ 416920 w 1123951"/>
                  <a:gd name="connsiteY68" fmla="*/ 621930 h 1092200"/>
                  <a:gd name="connsiteX69" fmla="*/ 464126 w 1123951"/>
                  <a:gd name="connsiteY69" fmla="*/ 574803 h 1092200"/>
                  <a:gd name="connsiteX70" fmla="*/ 464126 w 1123951"/>
                  <a:gd name="connsiteY70" fmla="*/ 492686 h 1092200"/>
                  <a:gd name="connsiteX71" fmla="*/ 485583 w 1123951"/>
                  <a:gd name="connsiteY71" fmla="*/ 497685 h 1092200"/>
                  <a:gd name="connsiteX72" fmla="*/ 512763 w 1123951"/>
                  <a:gd name="connsiteY72" fmla="*/ 497685 h 1092200"/>
                  <a:gd name="connsiteX73" fmla="*/ 512763 w 1123951"/>
                  <a:gd name="connsiteY73" fmla="*/ 853285 h 1092200"/>
                  <a:gd name="connsiteX74" fmla="*/ 505610 w 1123951"/>
                  <a:gd name="connsiteY74" fmla="*/ 860425 h 1092200"/>
                  <a:gd name="connsiteX75" fmla="*/ 64302 w 1123951"/>
                  <a:gd name="connsiteY75" fmla="*/ 860425 h 1092200"/>
                  <a:gd name="connsiteX76" fmla="*/ 57150 w 1123951"/>
                  <a:gd name="connsiteY76" fmla="*/ 853285 h 1092200"/>
                  <a:gd name="connsiteX77" fmla="*/ 57150 w 1123951"/>
                  <a:gd name="connsiteY77" fmla="*/ 156365 h 1092200"/>
                  <a:gd name="connsiteX78" fmla="*/ 64302 w 1123951"/>
                  <a:gd name="connsiteY78" fmla="*/ 149225 h 1092200"/>
                  <a:gd name="connsiteX79" fmla="*/ 196721 w 1123951"/>
                  <a:gd name="connsiteY79" fmla="*/ 74613 h 1092200"/>
                  <a:gd name="connsiteX80" fmla="*/ 376367 w 1123951"/>
                  <a:gd name="connsiteY80" fmla="*/ 74613 h 1092200"/>
                  <a:gd name="connsiteX81" fmla="*/ 392113 w 1123951"/>
                  <a:gd name="connsiteY81" fmla="*/ 90488 h 1092200"/>
                  <a:gd name="connsiteX82" fmla="*/ 376367 w 1123951"/>
                  <a:gd name="connsiteY82" fmla="*/ 106363 h 1092200"/>
                  <a:gd name="connsiteX83" fmla="*/ 196721 w 1123951"/>
                  <a:gd name="connsiteY83" fmla="*/ 106363 h 1092200"/>
                  <a:gd name="connsiteX84" fmla="*/ 180975 w 1123951"/>
                  <a:gd name="connsiteY84" fmla="*/ 90488 h 1092200"/>
                  <a:gd name="connsiteX85" fmla="*/ 196721 w 1123951"/>
                  <a:gd name="connsiteY85" fmla="*/ 74613 h 1092200"/>
                  <a:gd name="connsiteX86" fmla="*/ 15725 w 1123951"/>
                  <a:gd name="connsiteY86" fmla="*/ 0 h 1092200"/>
                  <a:gd name="connsiteX87" fmla="*/ 558950 w 1123951"/>
                  <a:gd name="connsiteY87" fmla="*/ 0 h 1092200"/>
                  <a:gd name="connsiteX88" fmla="*/ 574675 w 1123951"/>
                  <a:gd name="connsiteY88" fmla="*/ 15726 h 1092200"/>
                  <a:gd name="connsiteX89" fmla="*/ 574675 w 1123951"/>
                  <a:gd name="connsiteY89" fmla="*/ 289490 h 1092200"/>
                  <a:gd name="connsiteX90" fmla="*/ 543225 w 1123951"/>
                  <a:gd name="connsiteY90" fmla="*/ 289490 h 1092200"/>
                  <a:gd name="connsiteX91" fmla="*/ 543225 w 1123951"/>
                  <a:gd name="connsiteY91" fmla="*/ 31451 h 1092200"/>
                  <a:gd name="connsiteX92" fmla="*/ 31450 w 1123951"/>
                  <a:gd name="connsiteY92" fmla="*/ 31451 h 1092200"/>
                  <a:gd name="connsiteX93" fmla="*/ 31450 w 1123951"/>
                  <a:gd name="connsiteY93" fmla="*/ 894918 h 1092200"/>
                  <a:gd name="connsiteX94" fmla="*/ 543225 w 1123951"/>
                  <a:gd name="connsiteY94" fmla="*/ 894918 h 1092200"/>
                  <a:gd name="connsiteX95" fmla="*/ 543225 w 1123951"/>
                  <a:gd name="connsiteY95" fmla="*/ 496780 h 1092200"/>
                  <a:gd name="connsiteX96" fmla="*/ 574675 w 1123951"/>
                  <a:gd name="connsiteY96" fmla="*/ 496780 h 1092200"/>
                  <a:gd name="connsiteX97" fmla="*/ 574675 w 1123951"/>
                  <a:gd name="connsiteY97" fmla="*/ 894918 h 1092200"/>
                  <a:gd name="connsiteX98" fmla="*/ 574675 w 1123951"/>
                  <a:gd name="connsiteY98" fmla="*/ 926369 h 1092200"/>
                  <a:gd name="connsiteX99" fmla="*/ 574675 w 1123951"/>
                  <a:gd name="connsiteY99" fmla="*/ 1076475 h 1092200"/>
                  <a:gd name="connsiteX100" fmla="*/ 558950 w 1123951"/>
                  <a:gd name="connsiteY100" fmla="*/ 1092200 h 1092200"/>
                  <a:gd name="connsiteX101" fmla="*/ 15725 w 1123951"/>
                  <a:gd name="connsiteY101" fmla="*/ 1092200 h 1092200"/>
                  <a:gd name="connsiteX102" fmla="*/ 0 w 1123951"/>
                  <a:gd name="connsiteY102" fmla="*/ 1076475 h 1092200"/>
                  <a:gd name="connsiteX103" fmla="*/ 0 w 1123951"/>
                  <a:gd name="connsiteY103" fmla="*/ 926369 h 1092200"/>
                  <a:gd name="connsiteX104" fmla="*/ 0 w 1123951"/>
                  <a:gd name="connsiteY104" fmla="*/ 894918 h 1092200"/>
                  <a:gd name="connsiteX105" fmla="*/ 0 w 1123951"/>
                  <a:gd name="connsiteY105" fmla="*/ 15726 h 1092200"/>
                  <a:gd name="connsiteX106" fmla="*/ 15725 w 1123951"/>
                  <a:gd name="connsiteY106"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23951" h="1092200">
                    <a:moveTo>
                      <a:pt x="287338" y="947738"/>
                    </a:moveTo>
                    <a:cubicBezTo>
                      <a:pt x="310134" y="947738"/>
                      <a:pt x="328613" y="966217"/>
                      <a:pt x="328613" y="989013"/>
                    </a:cubicBezTo>
                    <a:cubicBezTo>
                      <a:pt x="328613" y="1011809"/>
                      <a:pt x="310134" y="1030288"/>
                      <a:pt x="287338" y="1030288"/>
                    </a:cubicBezTo>
                    <a:cubicBezTo>
                      <a:pt x="264542" y="1030288"/>
                      <a:pt x="246063" y="1011809"/>
                      <a:pt x="246063" y="989013"/>
                    </a:cubicBezTo>
                    <a:cubicBezTo>
                      <a:pt x="246063" y="966217"/>
                      <a:pt x="264542" y="947738"/>
                      <a:pt x="287338" y="947738"/>
                    </a:cubicBezTo>
                    <a:close/>
                    <a:moveTo>
                      <a:pt x="31750" y="925513"/>
                    </a:moveTo>
                    <a:cubicBezTo>
                      <a:pt x="31750" y="925513"/>
                      <a:pt x="31750" y="925513"/>
                      <a:pt x="31750" y="1060451"/>
                    </a:cubicBezTo>
                    <a:cubicBezTo>
                      <a:pt x="31750" y="1060451"/>
                      <a:pt x="31750" y="1060451"/>
                      <a:pt x="542925" y="1060451"/>
                    </a:cubicBezTo>
                    <a:cubicBezTo>
                      <a:pt x="542925" y="1060451"/>
                      <a:pt x="542925" y="1060451"/>
                      <a:pt x="542925" y="925513"/>
                    </a:cubicBezTo>
                    <a:cubicBezTo>
                      <a:pt x="542925" y="925513"/>
                      <a:pt x="542925" y="925513"/>
                      <a:pt x="31750" y="925513"/>
                    </a:cubicBezTo>
                    <a:close/>
                    <a:moveTo>
                      <a:pt x="336369" y="476250"/>
                    </a:moveTo>
                    <a:cubicBezTo>
                      <a:pt x="336369" y="476250"/>
                      <a:pt x="336369" y="476250"/>
                      <a:pt x="417694" y="476250"/>
                    </a:cubicBezTo>
                    <a:cubicBezTo>
                      <a:pt x="426254" y="476250"/>
                      <a:pt x="433388" y="483439"/>
                      <a:pt x="433388" y="492065"/>
                    </a:cubicBezTo>
                    <a:cubicBezTo>
                      <a:pt x="433388" y="492065"/>
                      <a:pt x="433388" y="492065"/>
                      <a:pt x="433388" y="574735"/>
                    </a:cubicBezTo>
                    <a:cubicBezTo>
                      <a:pt x="433388" y="583361"/>
                      <a:pt x="426254" y="590550"/>
                      <a:pt x="417694" y="590550"/>
                    </a:cubicBezTo>
                    <a:cubicBezTo>
                      <a:pt x="417694" y="590550"/>
                      <a:pt x="417694" y="590550"/>
                      <a:pt x="336369" y="590550"/>
                    </a:cubicBezTo>
                    <a:cubicBezTo>
                      <a:pt x="327095" y="590550"/>
                      <a:pt x="320675" y="583361"/>
                      <a:pt x="320675" y="574735"/>
                    </a:cubicBezTo>
                    <a:cubicBezTo>
                      <a:pt x="320675" y="574735"/>
                      <a:pt x="320675" y="574735"/>
                      <a:pt x="320675" y="492065"/>
                    </a:cubicBezTo>
                    <a:cubicBezTo>
                      <a:pt x="320675" y="483439"/>
                      <a:pt x="327095" y="476250"/>
                      <a:pt x="336369" y="476250"/>
                    </a:cubicBezTo>
                    <a:close/>
                    <a:moveTo>
                      <a:pt x="671411" y="366713"/>
                    </a:moveTo>
                    <a:cubicBezTo>
                      <a:pt x="671411" y="366713"/>
                      <a:pt x="671411" y="366713"/>
                      <a:pt x="839891" y="366713"/>
                    </a:cubicBezTo>
                    <a:cubicBezTo>
                      <a:pt x="848494" y="366713"/>
                      <a:pt x="855663" y="373857"/>
                      <a:pt x="855663" y="382429"/>
                    </a:cubicBezTo>
                    <a:cubicBezTo>
                      <a:pt x="855663" y="382429"/>
                      <a:pt x="855663" y="382429"/>
                      <a:pt x="855663" y="551022"/>
                    </a:cubicBezTo>
                    <a:cubicBezTo>
                      <a:pt x="855663" y="559594"/>
                      <a:pt x="848494" y="566738"/>
                      <a:pt x="839891" y="566738"/>
                    </a:cubicBezTo>
                    <a:cubicBezTo>
                      <a:pt x="839891" y="566738"/>
                      <a:pt x="839891" y="566738"/>
                      <a:pt x="671411" y="566738"/>
                    </a:cubicBezTo>
                    <a:cubicBezTo>
                      <a:pt x="662808" y="566738"/>
                      <a:pt x="655638" y="559594"/>
                      <a:pt x="655638" y="551022"/>
                    </a:cubicBezTo>
                    <a:cubicBezTo>
                      <a:pt x="655638" y="551022"/>
                      <a:pt x="655638" y="551022"/>
                      <a:pt x="655638" y="382429"/>
                    </a:cubicBezTo>
                    <a:cubicBezTo>
                      <a:pt x="655638" y="373857"/>
                      <a:pt x="662808" y="366713"/>
                      <a:pt x="671411" y="366713"/>
                    </a:cubicBezTo>
                    <a:close/>
                    <a:moveTo>
                      <a:pt x="485633" y="322263"/>
                    </a:moveTo>
                    <a:cubicBezTo>
                      <a:pt x="485633" y="322263"/>
                      <a:pt x="485633" y="322263"/>
                      <a:pt x="598629" y="322263"/>
                    </a:cubicBezTo>
                    <a:cubicBezTo>
                      <a:pt x="607211" y="322263"/>
                      <a:pt x="614363" y="329415"/>
                      <a:pt x="614363" y="337996"/>
                    </a:cubicBezTo>
                    <a:cubicBezTo>
                      <a:pt x="614363" y="337996"/>
                      <a:pt x="614363" y="337996"/>
                      <a:pt x="614363" y="450993"/>
                    </a:cubicBezTo>
                    <a:cubicBezTo>
                      <a:pt x="614363" y="459574"/>
                      <a:pt x="607211" y="466726"/>
                      <a:pt x="598629" y="466726"/>
                    </a:cubicBezTo>
                    <a:cubicBezTo>
                      <a:pt x="598629" y="466726"/>
                      <a:pt x="598629" y="466726"/>
                      <a:pt x="485633" y="466726"/>
                    </a:cubicBezTo>
                    <a:cubicBezTo>
                      <a:pt x="477051" y="466726"/>
                      <a:pt x="469900" y="459574"/>
                      <a:pt x="469900" y="450993"/>
                    </a:cubicBezTo>
                    <a:cubicBezTo>
                      <a:pt x="469900" y="450993"/>
                      <a:pt x="469900" y="450993"/>
                      <a:pt x="469900" y="337996"/>
                    </a:cubicBezTo>
                    <a:cubicBezTo>
                      <a:pt x="469900" y="329415"/>
                      <a:pt x="477051" y="322263"/>
                      <a:pt x="485633" y="322263"/>
                    </a:cubicBezTo>
                    <a:close/>
                    <a:moveTo>
                      <a:pt x="912644" y="217488"/>
                    </a:moveTo>
                    <a:cubicBezTo>
                      <a:pt x="912644" y="217488"/>
                      <a:pt x="912644" y="217488"/>
                      <a:pt x="1108246" y="217488"/>
                    </a:cubicBezTo>
                    <a:cubicBezTo>
                      <a:pt x="1116812" y="217488"/>
                      <a:pt x="1123951" y="224627"/>
                      <a:pt x="1123951" y="233193"/>
                    </a:cubicBezTo>
                    <a:cubicBezTo>
                      <a:pt x="1123951" y="233193"/>
                      <a:pt x="1123951" y="233193"/>
                      <a:pt x="1123951" y="428796"/>
                    </a:cubicBezTo>
                    <a:cubicBezTo>
                      <a:pt x="1123951" y="437362"/>
                      <a:pt x="1116812" y="444501"/>
                      <a:pt x="1108246" y="444501"/>
                    </a:cubicBezTo>
                    <a:cubicBezTo>
                      <a:pt x="1108246" y="444501"/>
                      <a:pt x="1108246" y="444501"/>
                      <a:pt x="912644" y="444501"/>
                    </a:cubicBezTo>
                    <a:cubicBezTo>
                      <a:pt x="904077" y="444501"/>
                      <a:pt x="896938" y="437362"/>
                      <a:pt x="896938" y="428796"/>
                    </a:cubicBezTo>
                    <a:cubicBezTo>
                      <a:pt x="896938" y="428796"/>
                      <a:pt x="896938" y="428796"/>
                      <a:pt x="896938" y="233193"/>
                    </a:cubicBezTo>
                    <a:cubicBezTo>
                      <a:pt x="896938" y="224627"/>
                      <a:pt x="904077" y="217488"/>
                      <a:pt x="912644" y="217488"/>
                    </a:cubicBezTo>
                    <a:close/>
                    <a:moveTo>
                      <a:pt x="696848" y="149225"/>
                    </a:moveTo>
                    <a:cubicBezTo>
                      <a:pt x="696848" y="149225"/>
                      <a:pt x="696848" y="149225"/>
                      <a:pt x="839854" y="149225"/>
                    </a:cubicBezTo>
                    <a:cubicBezTo>
                      <a:pt x="848477" y="149225"/>
                      <a:pt x="855663" y="156346"/>
                      <a:pt x="855663" y="164891"/>
                    </a:cubicBezTo>
                    <a:cubicBezTo>
                      <a:pt x="855663" y="164891"/>
                      <a:pt x="855663" y="164891"/>
                      <a:pt x="855663" y="306597"/>
                    </a:cubicBezTo>
                    <a:cubicBezTo>
                      <a:pt x="855663" y="315142"/>
                      <a:pt x="848477" y="322263"/>
                      <a:pt x="839854" y="322263"/>
                    </a:cubicBezTo>
                    <a:cubicBezTo>
                      <a:pt x="839854" y="322263"/>
                      <a:pt x="839854" y="322263"/>
                      <a:pt x="696848" y="322263"/>
                    </a:cubicBezTo>
                    <a:cubicBezTo>
                      <a:pt x="688224" y="322263"/>
                      <a:pt x="681038" y="315142"/>
                      <a:pt x="681038" y="306597"/>
                    </a:cubicBezTo>
                    <a:cubicBezTo>
                      <a:pt x="681038" y="306597"/>
                      <a:pt x="681038" y="306597"/>
                      <a:pt x="681038" y="164891"/>
                    </a:cubicBezTo>
                    <a:cubicBezTo>
                      <a:pt x="681038" y="156346"/>
                      <a:pt x="688224" y="149225"/>
                      <a:pt x="696848" y="149225"/>
                    </a:cubicBezTo>
                    <a:close/>
                    <a:moveTo>
                      <a:pt x="64302" y="149225"/>
                    </a:moveTo>
                    <a:cubicBezTo>
                      <a:pt x="64302" y="149225"/>
                      <a:pt x="64302" y="149225"/>
                      <a:pt x="505610" y="149225"/>
                    </a:cubicBezTo>
                    <a:cubicBezTo>
                      <a:pt x="509902" y="149225"/>
                      <a:pt x="512763" y="152795"/>
                      <a:pt x="512763" y="156365"/>
                    </a:cubicBezTo>
                    <a:cubicBezTo>
                      <a:pt x="512763" y="156365"/>
                      <a:pt x="512763" y="156365"/>
                      <a:pt x="512763" y="290608"/>
                    </a:cubicBezTo>
                    <a:cubicBezTo>
                      <a:pt x="512763" y="290608"/>
                      <a:pt x="512763" y="290608"/>
                      <a:pt x="485583" y="290608"/>
                    </a:cubicBezTo>
                    <a:cubicBezTo>
                      <a:pt x="459834" y="290608"/>
                      <a:pt x="438377" y="312030"/>
                      <a:pt x="438377" y="337736"/>
                    </a:cubicBezTo>
                    <a:cubicBezTo>
                      <a:pt x="438377" y="337736"/>
                      <a:pt x="438377" y="337736"/>
                      <a:pt x="438377" y="450557"/>
                    </a:cubicBezTo>
                    <a:cubicBezTo>
                      <a:pt x="438377" y="450557"/>
                      <a:pt x="438377" y="450557"/>
                      <a:pt x="438377" y="451271"/>
                    </a:cubicBezTo>
                    <a:cubicBezTo>
                      <a:pt x="431940" y="447701"/>
                      <a:pt x="424787" y="445558"/>
                      <a:pt x="416920" y="445558"/>
                    </a:cubicBezTo>
                    <a:cubicBezTo>
                      <a:pt x="416920" y="445558"/>
                      <a:pt x="416920" y="445558"/>
                      <a:pt x="335381" y="445558"/>
                    </a:cubicBezTo>
                    <a:cubicBezTo>
                      <a:pt x="308917" y="445558"/>
                      <a:pt x="288175" y="466980"/>
                      <a:pt x="288175" y="492686"/>
                    </a:cubicBezTo>
                    <a:cubicBezTo>
                      <a:pt x="288175" y="492686"/>
                      <a:pt x="288175" y="492686"/>
                      <a:pt x="288175" y="574803"/>
                    </a:cubicBezTo>
                    <a:cubicBezTo>
                      <a:pt x="288175" y="600509"/>
                      <a:pt x="308917" y="621930"/>
                      <a:pt x="335381" y="621930"/>
                    </a:cubicBezTo>
                    <a:cubicBezTo>
                      <a:pt x="335381" y="621930"/>
                      <a:pt x="335381" y="621930"/>
                      <a:pt x="416920" y="621930"/>
                    </a:cubicBezTo>
                    <a:cubicBezTo>
                      <a:pt x="443384" y="621930"/>
                      <a:pt x="464126" y="600509"/>
                      <a:pt x="464126" y="574803"/>
                    </a:cubicBezTo>
                    <a:cubicBezTo>
                      <a:pt x="464126" y="574803"/>
                      <a:pt x="464126" y="574803"/>
                      <a:pt x="464126" y="492686"/>
                    </a:cubicBezTo>
                    <a:cubicBezTo>
                      <a:pt x="470563" y="495542"/>
                      <a:pt x="477716" y="497685"/>
                      <a:pt x="485583" y="497685"/>
                    </a:cubicBezTo>
                    <a:cubicBezTo>
                      <a:pt x="485583" y="497685"/>
                      <a:pt x="485583" y="497685"/>
                      <a:pt x="512763" y="497685"/>
                    </a:cubicBezTo>
                    <a:cubicBezTo>
                      <a:pt x="512763" y="497685"/>
                      <a:pt x="512763" y="497685"/>
                      <a:pt x="512763" y="853285"/>
                    </a:cubicBezTo>
                    <a:cubicBezTo>
                      <a:pt x="512763" y="857569"/>
                      <a:pt x="509902" y="860425"/>
                      <a:pt x="505610" y="860425"/>
                    </a:cubicBezTo>
                    <a:cubicBezTo>
                      <a:pt x="505610" y="860425"/>
                      <a:pt x="505610" y="860425"/>
                      <a:pt x="64302" y="860425"/>
                    </a:cubicBezTo>
                    <a:cubicBezTo>
                      <a:pt x="60011" y="860425"/>
                      <a:pt x="57150" y="857569"/>
                      <a:pt x="57150" y="853285"/>
                    </a:cubicBezTo>
                    <a:cubicBezTo>
                      <a:pt x="57150" y="853285"/>
                      <a:pt x="57150" y="853285"/>
                      <a:pt x="57150" y="156365"/>
                    </a:cubicBezTo>
                    <a:cubicBezTo>
                      <a:pt x="57150" y="152795"/>
                      <a:pt x="60011" y="149225"/>
                      <a:pt x="64302" y="149225"/>
                    </a:cubicBezTo>
                    <a:close/>
                    <a:moveTo>
                      <a:pt x="196721" y="74613"/>
                    </a:moveTo>
                    <a:cubicBezTo>
                      <a:pt x="196721" y="74613"/>
                      <a:pt x="196721" y="74613"/>
                      <a:pt x="376367" y="74613"/>
                    </a:cubicBezTo>
                    <a:cubicBezTo>
                      <a:pt x="384956" y="74613"/>
                      <a:pt x="392113" y="81829"/>
                      <a:pt x="392113" y="90488"/>
                    </a:cubicBezTo>
                    <a:cubicBezTo>
                      <a:pt x="392113" y="99147"/>
                      <a:pt x="384956" y="106363"/>
                      <a:pt x="376367" y="106363"/>
                    </a:cubicBezTo>
                    <a:cubicBezTo>
                      <a:pt x="376367" y="106363"/>
                      <a:pt x="376367" y="106363"/>
                      <a:pt x="196721" y="106363"/>
                    </a:cubicBezTo>
                    <a:cubicBezTo>
                      <a:pt x="188132" y="106363"/>
                      <a:pt x="180975" y="99147"/>
                      <a:pt x="180975" y="90488"/>
                    </a:cubicBezTo>
                    <a:cubicBezTo>
                      <a:pt x="180975" y="81829"/>
                      <a:pt x="188132" y="74613"/>
                      <a:pt x="196721" y="74613"/>
                    </a:cubicBezTo>
                    <a:close/>
                    <a:moveTo>
                      <a:pt x="15725" y="0"/>
                    </a:moveTo>
                    <a:cubicBezTo>
                      <a:pt x="15725" y="0"/>
                      <a:pt x="15725" y="0"/>
                      <a:pt x="558950" y="0"/>
                    </a:cubicBezTo>
                    <a:cubicBezTo>
                      <a:pt x="567528" y="0"/>
                      <a:pt x="574675" y="7148"/>
                      <a:pt x="574675" y="15726"/>
                    </a:cubicBezTo>
                    <a:cubicBezTo>
                      <a:pt x="574675" y="15726"/>
                      <a:pt x="574675" y="15726"/>
                      <a:pt x="574675" y="289490"/>
                    </a:cubicBezTo>
                    <a:cubicBezTo>
                      <a:pt x="574675" y="289490"/>
                      <a:pt x="574675" y="289490"/>
                      <a:pt x="543225" y="289490"/>
                    </a:cubicBezTo>
                    <a:cubicBezTo>
                      <a:pt x="543225" y="289490"/>
                      <a:pt x="543225" y="289490"/>
                      <a:pt x="543225" y="31451"/>
                    </a:cubicBezTo>
                    <a:cubicBezTo>
                      <a:pt x="543225" y="31451"/>
                      <a:pt x="543225" y="31451"/>
                      <a:pt x="31450" y="31451"/>
                    </a:cubicBezTo>
                    <a:cubicBezTo>
                      <a:pt x="31450" y="31451"/>
                      <a:pt x="31450" y="31451"/>
                      <a:pt x="31450" y="894918"/>
                    </a:cubicBezTo>
                    <a:cubicBezTo>
                      <a:pt x="31450" y="894918"/>
                      <a:pt x="31450" y="894918"/>
                      <a:pt x="543225" y="894918"/>
                    </a:cubicBezTo>
                    <a:cubicBezTo>
                      <a:pt x="543225" y="894918"/>
                      <a:pt x="543225" y="894918"/>
                      <a:pt x="543225" y="496780"/>
                    </a:cubicBezTo>
                    <a:cubicBezTo>
                      <a:pt x="543225" y="496780"/>
                      <a:pt x="543225" y="496780"/>
                      <a:pt x="574675" y="496780"/>
                    </a:cubicBezTo>
                    <a:cubicBezTo>
                      <a:pt x="574675" y="496780"/>
                      <a:pt x="574675" y="496780"/>
                      <a:pt x="574675" y="894918"/>
                    </a:cubicBezTo>
                    <a:cubicBezTo>
                      <a:pt x="574675" y="894918"/>
                      <a:pt x="574675" y="894918"/>
                      <a:pt x="574675" y="926369"/>
                    </a:cubicBezTo>
                    <a:cubicBezTo>
                      <a:pt x="574675" y="926369"/>
                      <a:pt x="574675" y="926369"/>
                      <a:pt x="574675" y="1076475"/>
                    </a:cubicBezTo>
                    <a:cubicBezTo>
                      <a:pt x="574675" y="1085052"/>
                      <a:pt x="567528" y="1092200"/>
                      <a:pt x="558950" y="1092200"/>
                    </a:cubicBezTo>
                    <a:cubicBezTo>
                      <a:pt x="558950" y="1092200"/>
                      <a:pt x="558950" y="1092200"/>
                      <a:pt x="15725" y="1092200"/>
                    </a:cubicBezTo>
                    <a:cubicBezTo>
                      <a:pt x="7148" y="1092200"/>
                      <a:pt x="0" y="1085052"/>
                      <a:pt x="0" y="1076475"/>
                    </a:cubicBezTo>
                    <a:cubicBezTo>
                      <a:pt x="0" y="1076475"/>
                      <a:pt x="0" y="1076475"/>
                      <a:pt x="0" y="926369"/>
                    </a:cubicBezTo>
                    <a:cubicBezTo>
                      <a:pt x="0" y="926369"/>
                      <a:pt x="0" y="926369"/>
                      <a:pt x="0" y="894918"/>
                    </a:cubicBezTo>
                    <a:cubicBezTo>
                      <a:pt x="0" y="894918"/>
                      <a:pt x="0" y="894918"/>
                      <a:pt x="0" y="15726"/>
                    </a:cubicBezTo>
                    <a:cubicBezTo>
                      <a:pt x="0" y="7148"/>
                      <a:pt x="7148" y="0"/>
                      <a:pt x="15725" y="0"/>
                    </a:cubicBezTo>
                    <a:close/>
                  </a:path>
                </a:pathLst>
              </a:custGeom>
              <a:solidFill>
                <a:srgbClr val="FFFFFF"/>
              </a:solidFill>
              <a:ln>
                <a:noFill/>
              </a:ln>
            </p:spPr>
            <p:txBody>
              <a:bodyPr vert="horz" wrap="square" lIns="27432" tIns="13716" rIns="27432" bIns="13716" numCol="1" anchor="t" anchorCtr="0" compatLnSpc="1">
                <a:prstTxWarp prst="textNoShape">
                  <a:avLst/>
                </a:prstTxWarp>
                <a:noAutofit/>
              </a:bodyPr>
              <a:lstStyle/>
              <a:p>
                <a:endParaRPr lang="en-US" dirty="0">
                  <a:solidFill>
                    <a:srgbClr val="575757"/>
                  </a:solidFill>
                </a:endParaRPr>
              </a:p>
            </p:txBody>
          </p:sp>
        </p:grpSp>
        <p:grpSp>
          <p:nvGrpSpPr>
            <p:cNvPr id="103" name="Group 102">
              <a:extLst>
                <a:ext uri="{FF2B5EF4-FFF2-40B4-BE49-F238E27FC236}">
                  <a16:creationId xmlns:a16="http://schemas.microsoft.com/office/drawing/2014/main" id="{136C96C2-6AF6-4213-A74F-023CD2DD5331}"/>
                </a:ext>
              </a:extLst>
            </p:cNvPr>
            <p:cNvGrpSpPr>
              <a:grpSpLocks noChangeAspect="1"/>
            </p:cNvGrpSpPr>
            <p:nvPr/>
          </p:nvGrpSpPr>
          <p:grpSpPr>
            <a:xfrm>
              <a:off x="12308459" y="2726064"/>
              <a:ext cx="655872" cy="655239"/>
              <a:chOff x="5273675" y="2606675"/>
              <a:chExt cx="1646238" cy="1644650"/>
            </a:xfrm>
          </p:grpSpPr>
          <p:sp>
            <p:nvSpPr>
              <p:cNvPr id="227" name="AutoShape 3">
                <a:extLst>
                  <a:ext uri="{FF2B5EF4-FFF2-40B4-BE49-F238E27FC236}">
                    <a16:creationId xmlns:a16="http://schemas.microsoft.com/office/drawing/2014/main" id="{62ACABFE-6711-43A4-B3A2-056D974174A0}"/>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7432" tIns="13716" rIns="27432" bIns="13716" numCol="1" anchor="t" anchorCtr="0" compatLnSpc="1">
                <a:prstTxWarp prst="textNoShape">
                  <a:avLst/>
                </a:prstTxWarp>
              </a:bodyPr>
              <a:lstStyle/>
              <a:p>
                <a:endParaRPr lang="en-US" dirty="0">
                  <a:solidFill>
                    <a:srgbClr val="575757"/>
                  </a:solidFill>
                </a:endParaRPr>
              </a:p>
            </p:txBody>
          </p:sp>
          <p:sp>
            <p:nvSpPr>
              <p:cNvPr id="228" name="Freeform 76">
                <a:extLst>
                  <a:ext uri="{FF2B5EF4-FFF2-40B4-BE49-F238E27FC236}">
                    <a16:creationId xmlns:a16="http://schemas.microsoft.com/office/drawing/2014/main" id="{D45BFD31-19D8-4F48-BDEE-2E27C4D9013F}"/>
                  </a:ext>
                </a:extLst>
              </p:cNvPr>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27432" tIns="13716" rIns="27432" bIns="13716" numCol="1" anchor="t" anchorCtr="0" compatLnSpc="1">
                <a:prstTxWarp prst="textNoShape">
                  <a:avLst/>
                </a:prstTxWarp>
                <a:noAutofit/>
              </a:bodyPr>
              <a:lstStyle/>
              <a:p>
                <a:endParaRPr lang="en-US" dirty="0">
                  <a:solidFill>
                    <a:srgbClr val="575757"/>
                  </a:solidFill>
                </a:endParaRPr>
              </a:p>
            </p:txBody>
          </p:sp>
        </p:grpSp>
        <p:grpSp>
          <p:nvGrpSpPr>
            <p:cNvPr id="104" name="Group 103">
              <a:extLst>
                <a:ext uri="{FF2B5EF4-FFF2-40B4-BE49-F238E27FC236}">
                  <a16:creationId xmlns:a16="http://schemas.microsoft.com/office/drawing/2014/main" id="{17529962-D12E-4B3B-A82D-BABAEACA9FAC}"/>
                </a:ext>
              </a:extLst>
            </p:cNvPr>
            <p:cNvGrpSpPr>
              <a:grpSpLocks noChangeAspect="1"/>
            </p:cNvGrpSpPr>
            <p:nvPr/>
          </p:nvGrpSpPr>
          <p:grpSpPr>
            <a:xfrm>
              <a:off x="12308776" y="3875877"/>
              <a:ext cx="655239" cy="655239"/>
              <a:chOff x="5273675" y="2606675"/>
              <a:chExt cx="1644650" cy="1644650"/>
            </a:xfrm>
          </p:grpSpPr>
          <p:sp>
            <p:nvSpPr>
              <p:cNvPr id="225" name="AutoShape 3">
                <a:extLst>
                  <a:ext uri="{FF2B5EF4-FFF2-40B4-BE49-F238E27FC236}">
                    <a16:creationId xmlns:a16="http://schemas.microsoft.com/office/drawing/2014/main" id="{1DCCF6F2-F679-4E1B-B812-9D9F418ADFB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7432" tIns="13716" rIns="27432" bIns="13716" numCol="1" anchor="t" anchorCtr="0" compatLnSpc="1">
                <a:prstTxWarp prst="textNoShape">
                  <a:avLst/>
                </a:prstTxWarp>
              </a:bodyPr>
              <a:lstStyle/>
              <a:p>
                <a:endParaRPr lang="en-US" dirty="0">
                  <a:solidFill>
                    <a:srgbClr val="575757"/>
                  </a:solidFill>
                </a:endParaRPr>
              </a:p>
            </p:txBody>
          </p:sp>
          <p:sp>
            <p:nvSpPr>
              <p:cNvPr id="226" name="Freeform 16">
                <a:extLst>
                  <a:ext uri="{FF2B5EF4-FFF2-40B4-BE49-F238E27FC236}">
                    <a16:creationId xmlns:a16="http://schemas.microsoft.com/office/drawing/2014/main" id="{EF2DBB99-813E-4485-9429-E23E469F1A7B}"/>
                  </a:ext>
                </a:extLst>
              </p:cNvPr>
              <p:cNvSpPr>
                <a:spLocks noChangeArrowheads="1"/>
              </p:cNvSpPr>
              <p:nvPr/>
            </p:nvSpPr>
            <p:spPr bwMode="auto">
              <a:xfrm>
                <a:off x="5408453" y="2741454"/>
                <a:ext cx="1375091" cy="1374934"/>
              </a:xfrm>
              <a:custGeom>
                <a:avLst/>
                <a:gdLst>
                  <a:gd name="connsiteX0" fmla="*/ 1278799 w 1375091"/>
                  <a:gd name="connsiteY0" fmla="*/ 801689 h 1374934"/>
                  <a:gd name="connsiteX1" fmla="*/ 1290240 w 1375091"/>
                  <a:gd name="connsiteY1" fmla="*/ 820273 h 1374934"/>
                  <a:gd name="connsiteX2" fmla="*/ 1076433 w 1375091"/>
                  <a:gd name="connsiteY2" fmla="*/ 1166936 h 1374934"/>
                  <a:gd name="connsiteX3" fmla="*/ 698873 w 1375091"/>
                  <a:gd name="connsiteY3" fmla="*/ 1305601 h 1374934"/>
                  <a:gd name="connsiteX4" fmla="*/ 741063 w 1375091"/>
                  <a:gd name="connsiteY4" fmla="*/ 1348488 h 1374934"/>
                  <a:gd name="connsiteX5" fmla="*/ 740347 w 1375091"/>
                  <a:gd name="connsiteY5" fmla="*/ 1370646 h 1374934"/>
                  <a:gd name="connsiteX6" fmla="*/ 729621 w 1375091"/>
                  <a:gd name="connsiteY6" fmla="*/ 1374934 h 1374934"/>
                  <a:gd name="connsiteX7" fmla="*/ 718180 w 1375091"/>
                  <a:gd name="connsiteY7" fmla="*/ 1370646 h 1374934"/>
                  <a:gd name="connsiteX8" fmla="*/ 649533 w 1375091"/>
                  <a:gd name="connsiteY8" fmla="*/ 1299883 h 1374934"/>
                  <a:gd name="connsiteX9" fmla="*/ 649533 w 1375091"/>
                  <a:gd name="connsiteY9" fmla="*/ 1277011 h 1374934"/>
                  <a:gd name="connsiteX10" fmla="*/ 720325 w 1375091"/>
                  <a:gd name="connsiteY10" fmla="*/ 1208393 h 1374934"/>
                  <a:gd name="connsiteX11" fmla="*/ 742493 w 1375091"/>
                  <a:gd name="connsiteY11" fmla="*/ 1208393 h 1374934"/>
                  <a:gd name="connsiteX12" fmla="*/ 742493 w 1375091"/>
                  <a:gd name="connsiteY12" fmla="*/ 1230551 h 1374934"/>
                  <a:gd name="connsiteX13" fmla="*/ 698158 w 1375091"/>
                  <a:gd name="connsiteY13" fmla="*/ 1274152 h 1374934"/>
                  <a:gd name="connsiteX14" fmla="*/ 1259492 w 1375091"/>
                  <a:gd name="connsiteY14" fmla="*/ 813840 h 1374934"/>
                  <a:gd name="connsiteX15" fmla="*/ 1278799 w 1375091"/>
                  <a:gd name="connsiteY15" fmla="*/ 801689 h 1374934"/>
                  <a:gd name="connsiteX16" fmla="*/ 86379 w 1375091"/>
                  <a:gd name="connsiteY16" fmla="*/ 646287 h 1374934"/>
                  <a:gd name="connsiteX17" fmla="*/ 97801 w 1375091"/>
                  <a:gd name="connsiteY17" fmla="*/ 651095 h 1374934"/>
                  <a:gd name="connsiteX18" fmla="*/ 165620 w 1375091"/>
                  <a:gd name="connsiteY18" fmla="*/ 721619 h 1374934"/>
                  <a:gd name="connsiteX19" fmla="*/ 165620 w 1375091"/>
                  <a:gd name="connsiteY19" fmla="*/ 743703 h 1374934"/>
                  <a:gd name="connsiteX20" fmla="*/ 154912 w 1375091"/>
                  <a:gd name="connsiteY20" fmla="*/ 747977 h 1374934"/>
                  <a:gd name="connsiteX21" fmla="*/ 144204 w 1375091"/>
                  <a:gd name="connsiteY21" fmla="*/ 743703 h 1374934"/>
                  <a:gd name="connsiteX22" fmla="*/ 100657 w 1375091"/>
                  <a:gd name="connsiteY22" fmla="*/ 699536 h 1374934"/>
                  <a:gd name="connsiteX23" fmla="*/ 559683 w 1375091"/>
                  <a:gd name="connsiteY23" fmla="*/ 1260166 h 1374934"/>
                  <a:gd name="connsiteX24" fmla="*/ 571819 w 1375091"/>
                  <a:gd name="connsiteY24" fmla="*/ 1278687 h 1374934"/>
                  <a:gd name="connsiteX25" fmla="*/ 556114 w 1375091"/>
                  <a:gd name="connsiteY25" fmla="*/ 1290797 h 1374934"/>
                  <a:gd name="connsiteX26" fmla="*/ 553259 w 1375091"/>
                  <a:gd name="connsiteY26" fmla="*/ 1290085 h 1374934"/>
                  <a:gd name="connsiteX27" fmla="*/ 207025 w 1375091"/>
                  <a:gd name="connsiteY27" fmla="*/ 1077088 h 1374934"/>
                  <a:gd name="connsiteX28" fmla="*/ 69246 w 1375091"/>
                  <a:gd name="connsiteY28" fmla="*/ 700248 h 1374934"/>
                  <a:gd name="connsiteX29" fmla="*/ 26413 w 1375091"/>
                  <a:gd name="connsiteY29" fmla="*/ 742278 h 1374934"/>
                  <a:gd name="connsiteX30" fmla="*/ 4283 w 1375091"/>
                  <a:gd name="connsiteY30" fmla="*/ 741565 h 1374934"/>
                  <a:gd name="connsiteX31" fmla="*/ 4283 w 1375091"/>
                  <a:gd name="connsiteY31" fmla="*/ 719482 h 1374934"/>
                  <a:gd name="connsiteX32" fmla="*/ 74957 w 1375091"/>
                  <a:gd name="connsiteY32" fmla="*/ 651095 h 1374934"/>
                  <a:gd name="connsiteX33" fmla="*/ 86379 w 1375091"/>
                  <a:gd name="connsiteY33" fmla="*/ 646287 h 1374934"/>
                  <a:gd name="connsiteX34" fmla="*/ 907925 w 1375091"/>
                  <a:gd name="connsiteY34" fmla="*/ 533493 h 1374934"/>
                  <a:gd name="connsiteX35" fmla="*/ 897134 w 1375091"/>
                  <a:gd name="connsiteY35" fmla="*/ 538418 h 1374934"/>
                  <a:gd name="connsiteX36" fmla="*/ 655986 w 1375091"/>
                  <a:gd name="connsiteY36" fmla="*/ 787695 h 1374934"/>
                  <a:gd name="connsiteX37" fmla="*/ 523284 w 1375091"/>
                  <a:gd name="connsiteY37" fmla="*/ 666638 h 1374934"/>
                  <a:gd name="connsiteX38" fmla="*/ 501167 w 1375091"/>
                  <a:gd name="connsiteY38" fmla="*/ 667354 h 1374934"/>
                  <a:gd name="connsiteX39" fmla="*/ 501880 w 1375091"/>
                  <a:gd name="connsiteY39" fmla="*/ 689560 h 1374934"/>
                  <a:gd name="connsiteX40" fmla="*/ 645998 w 1375091"/>
                  <a:gd name="connsiteY40" fmla="*/ 821361 h 1374934"/>
                  <a:gd name="connsiteX41" fmla="*/ 656700 w 1375091"/>
                  <a:gd name="connsiteY41" fmla="*/ 825659 h 1374934"/>
                  <a:gd name="connsiteX42" fmla="*/ 667402 w 1375091"/>
                  <a:gd name="connsiteY42" fmla="*/ 820645 h 1374934"/>
                  <a:gd name="connsiteX43" fmla="*/ 919251 w 1375091"/>
                  <a:gd name="connsiteY43" fmla="*/ 560624 h 1374934"/>
                  <a:gd name="connsiteX44" fmla="*/ 919251 w 1375091"/>
                  <a:gd name="connsiteY44" fmla="*/ 537702 h 1374934"/>
                  <a:gd name="connsiteX45" fmla="*/ 907925 w 1375091"/>
                  <a:gd name="connsiteY45" fmla="*/ 533493 h 1374934"/>
                  <a:gd name="connsiteX46" fmla="*/ 687547 w 1375091"/>
                  <a:gd name="connsiteY46" fmla="*/ 325596 h 1374934"/>
                  <a:gd name="connsiteX47" fmla="*/ 1051085 w 1375091"/>
                  <a:gd name="connsiteY47" fmla="*/ 687546 h 1374934"/>
                  <a:gd name="connsiteX48" fmla="*/ 687547 w 1375091"/>
                  <a:gd name="connsiteY48" fmla="*/ 1049496 h 1374934"/>
                  <a:gd name="connsiteX49" fmla="*/ 324009 w 1375091"/>
                  <a:gd name="connsiteY49" fmla="*/ 687546 h 1374934"/>
                  <a:gd name="connsiteX50" fmla="*/ 687547 w 1375091"/>
                  <a:gd name="connsiteY50" fmla="*/ 325596 h 1374934"/>
                  <a:gd name="connsiteX51" fmla="*/ 820304 w 1375091"/>
                  <a:gd name="connsiteY51" fmla="*/ 84851 h 1374934"/>
                  <a:gd name="connsiteX52" fmla="*/ 1166778 w 1375091"/>
                  <a:gd name="connsiteY52" fmla="*/ 298371 h 1374934"/>
                  <a:gd name="connsiteX53" fmla="*/ 1305654 w 1375091"/>
                  <a:gd name="connsiteY53" fmla="*/ 676137 h 1374934"/>
                  <a:gd name="connsiteX54" fmla="*/ 1348605 w 1375091"/>
                  <a:gd name="connsiteY54" fmla="*/ 634004 h 1374934"/>
                  <a:gd name="connsiteX55" fmla="*/ 1370796 w 1375091"/>
                  <a:gd name="connsiteY55" fmla="*/ 634718 h 1374934"/>
                  <a:gd name="connsiteX56" fmla="*/ 1370796 w 1375091"/>
                  <a:gd name="connsiteY56" fmla="*/ 656856 h 1374934"/>
                  <a:gd name="connsiteX57" fmla="*/ 1299927 w 1375091"/>
                  <a:gd name="connsiteY57" fmla="*/ 725410 h 1374934"/>
                  <a:gd name="connsiteX58" fmla="*/ 1288473 w 1375091"/>
                  <a:gd name="connsiteY58" fmla="*/ 730409 h 1374934"/>
                  <a:gd name="connsiteX59" fmla="*/ 1277019 w 1375091"/>
                  <a:gd name="connsiteY59" fmla="*/ 725410 h 1374934"/>
                  <a:gd name="connsiteX60" fmla="*/ 1208297 w 1375091"/>
                  <a:gd name="connsiteY60" fmla="*/ 654713 h 1374934"/>
                  <a:gd name="connsiteX61" fmla="*/ 1208297 w 1375091"/>
                  <a:gd name="connsiteY61" fmla="*/ 632576 h 1374934"/>
                  <a:gd name="connsiteX62" fmla="*/ 1230489 w 1375091"/>
                  <a:gd name="connsiteY62" fmla="*/ 632576 h 1374934"/>
                  <a:gd name="connsiteX63" fmla="*/ 1274156 w 1375091"/>
                  <a:gd name="connsiteY63" fmla="*/ 676851 h 1374934"/>
                  <a:gd name="connsiteX64" fmla="*/ 813861 w 1375091"/>
                  <a:gd name="connsiteY64" fmla="*/ 115558 h 1374934"/>
                  <a:gd name="connsiteX65" fmla="*/ 801692 w 1375091"/>
                  <a:gd name="connsiteY65" fmla="*/ 96277 h 1374934"/>
                  <a:gd name="connsiteX66" fmla="*/ 820304 w 1375091"/>
                  <a:gd name="connsiteY66" fmla="*/ 84851 h 1374934"/>
                  <a:gd name="connsiteX67" fmla="*/ 644244 w 1375091"/>
                  <a:gd name="connsiteY67" fmla="*/ 0 h 1374934"/>
                  <a:gd name="connsiteX68" fmla="*/ 655327 w 1375091"/>
                  <a:gd name="connsiteY68" fmla="*/ 4289 h 1374934"/>
                  <a:gd name="connsiteX69" fmla="*/ 723975 w 1375091"/>
                  <a:gd name="connsiteY69" fmla="*/ 75051 h 1374934"/>
                  <a:gd name="connsiteX70" fmla="*/ 723975 w 1375091"/>
                  <a:gd name="connsiteY70" fmla="*/ 97924 h 1374934"/>
                  <a:gd name="connsiteX71" fmla="*/ 653182 w 1375091"/>
                  <a:gd name="connsiteY71" fmla="*/ 166542 h 1374934"/>
                  <a:gd name="connsiteX72" fmla="*/ 642456 w 1375091"/>
                  <a:gd name="connsiteY72" fmla="*/ 170830 h 1374934"/>
                  <a:gd name="connsiteX73" fmla="*/ 631015 w 1375091"/>
                  <a:gd name="connsiteY73" fmla="*/ 166542 h 1374934"/>
                  <a:gd name="connsiteX74" fmla="*/ 631015 w 1375091"/>
                  <a:gd name="connsiteY74" fmla="*/ 144384 h 1374934"/>
                  <a:gd name="connsiteX75" fmla="*/ 675349 w 1375091"/>
                  <a:gd name="connsiteY75" fmla="*/ 100783 h 1374934"/>
                  <a:gd name="connsiteX76" fmla="*/ 114015 w 1375091"/>
                  <a:gd name="connsiteY76" fmla="*/ 561095 h 1374934"/>
                  <a:gd name="connsiteX77" fmla="*/ 98284 w 1375091"/>
                  <a:gd name="connsiteY77" fmla="*/ 573246 h 1374934"/>
                  <a:gd name="connsiteX78" fmla="*/ 94708 w 1375091"/>
                  <a:gd name="connsiteY78" fmla="*/ 573246 h 1374934"/>
                  <a:gd name="connsiteX79" fmla="*/ 83267 w 1375091"/>
                  <a:gd name="connsiteY79" fmla="*/ 554662 h 1374934"/>
                  <a:gd name="connsiteX80" fmla="*/ 297074 w 1375091"/>
                  <a:gd name="connsiteY80" fmla="*/ 207998 h 1374934"/>
                  <a:gd name="connsiteX81" fmla="*/ 674634 w 1375091"/>
                  <a:gd name="connsiteY81" fmla="*/ 69333 h 1374934"/>
                  <a:gd name="connsiteX82" fmla="*/ 632445 w 1375091"/>
                  <a:gd name="connsiteY82" fmla="*/ 26447 h 1374934"/>
                  <a:gd name="connsiteX83" fmla="*/ 633160 w 1375091"/>
                  <a:gd name="connsiteY83" fmla="*/ 4289 h 1374934"/>
                  <a:gd name="connsiteX84" fmla="*/ 644244 w 1375091"/>
                  <a:gd name="connsiteY84" fmla="*/ 0 h 137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75091" h="1374934">
                    <a:moveTo>
                      <a:pt x="1278799" y="801689"/>
                    </a:moveTo>
                    <a:cubicBezTo>
                      <a:pt x="1287380" y="803833"/>
                      <a:pt x="1292385" y="812410"/>
                      <a:pt x="1290240" y="820273"/>
                    </a:cubicBezTo>
                    <a:cubicBezTo>
                      <a:pt x="1260922" y="956079"/>
                      <a:pt x="1184409" y="1079019"/>
                      <a:pt x="1076433" y="1166936"/>
                    </a:cubicBezTo>
                    <a:cubicBezTo>
                      <a:pt x="969886" y="1254138"/>
                      <a:pt x="836167" y="1302742"/>
                      <a:pt x="698873" y="1305601"/>
                    </a:cubicBezTo>
                    <a:cubicBezTo>
                      <a:pt x="741063" y="1348488"/>
                      <a:pt x="741063" y="1348488"/>
                      <a:pt x="741063" y="1348488"/>
                    </a:cubicBezTo>
                    <a:cubicBezTo>
                      <a:pt x="746783" y="1354921"/>
                      <a:pt x="746783" y="1364927"/>
                      <a:pt x="740347" y="1370646"/>
                    </a:cubicBezTo>
                    <a:cubicBezTo>
                      <a:pt x="737487" y="1373505"/>
                      <a:pt x="733197" y="1374934"/>
                      <a:pt x="729621" y="1374934"/>
                    </a:cubicBezTo>
                    <a:cubicBezTo>
                      <a:pt x="725331" y="1374934"/>
                      <a:pt x="721040" y="1373505"/>
                      <a:pt x="718180" y="1370646"/>
                    </a:cubicBezTo>
                    <a:cubicBezTo>
                      <a:pt x="649533" y="1299883"/>
                      <a:pt x="649533" y="1299883"/>
                      <a:pt x="649533" y="1299883"/>
                    </a:cubicBezTo>
                    <a:cubicBezTo>
                      <a:pt x="643097" y="1293450"/>
                      <a:pt x="643097" y="1283444"/>
                      <a:pt x="649533" y="1277011"/>
                    </a:cubicBezTo>
                    <a:cubicBezTo>
                      <a:pt x="720325" y="1208393"/>
                      <a:pt x="720325" y="1208393"/>
                      <a:pt x="720325" y="1208393"/>
                    </a:cubicBezTo>
                    <a:cubicBezTo>
                      <a:pt x="726761" y="1201960"/>
                      <a:pt x="736772" y="1202675"/>
                      <a:pt x="742493" y="1208393"/>
                    </a:cubicBezTo>
                    <a:cubicBezTo>
                      <a:pt x="748928" y="1214826"/>
                      <a:pt x="748213" y="1224832"/>
                      <a:pt x="742493" y="1230551"/>
                    </a:cubicBezTo>
                    <a:cubicBezTo>
                      <a:pt x="698158" y="1274152"/>
                      <a:pt x="698158" y="1274152"/>
                      <a:pt x="698158" y="1274152"/>
                    </a:cubicBezTo>
                    <a:cubicBezTo>
                      <a:pt x="966311" y="1268433"/>
                      <a:pt x="1201571" y="1076875"/>
                      <a:pt x="1259492" y="813840"/>
                    </a:cubicBezTo>
                    <a:cubicBezTo>
                      <a:pt x="1261637" y="805263"/>
                      <a:pt x="1270218" y="800259"/>
                      <a:pt x="1278799" y="801689"/>
                    </a:cubicBezTo>
                    <a:close/>
                    <a:moveTo>
                      <a:pt x="86379" y="646287"/>
                    </a:moveTo>
                    <a:cubicBezTo>
                      <a:pt x="90484" y="646287"/>
                      <a:pt x="94589" y="647890"/>
                      <a:pt x="97801" y="651095"/>
                    </a:cubicBezTo>
                    <a:cubicBezTo>
                      <a:pt x="97801" y="651095"/>
                      <a:pt x="97801" y="651095"/>
                      <a:pt x="165620" y="721619"/>
                    </a:cubicBezTo>
                    <a:cubicBezTo>
                      <a:pt x="172045" y="728031"/>
                      <a:pt x="171331" y="738004"/>
                      <a:pt x="165620" y="743703"/>
                    </a:cubicBezTo>
                    <a:cubicBezTo>
                      <a:pt x="162051" y="746552"/>
                      <a:pt x="158481" y="747977"/>
                      <a:pt x="154912" y="747977"/>
                    </a:cubicBezTo>
                    <a:cubicBezTo>
                      <a:pt x="151343" y="747977"/>
                      <a:pt x="147059" y="746552"/>
                      <a:pt x="144204" y="743703"/>
                    </a:cubicBezTo>
                    <a:cubicBezTo>
                      <a:pt x="144204" y="743703"/>
                      <a:pt x="144204" y="743703"/>
                      <a:pt x="100657" y="699536"/>
                    </a:cubicBezTo>
                    <a:cubicBezTo>
                      <a:pt x="106368" y="967384"/>
                      <a:pt x="296974" y="1201752"/>
                      <a:pt x="559683" y="1260166"/>
                    </a:cubicBezTo>
                    <a:cubicBezTo>
                      <a:pt x="568250" y="1261590"/>
                      <a:pt x="573247" y="1270139"/>
                      <a:pt x="571819" y="1278687"/>
                    </a:cubicBezTo>
                    <a:cubicBezTo>
                      <a:pt x="570392" y="1285811"/>
                      <a:pt x="563253" y="1290797"/>
                      <a:pt x="556114" y="1290797"/>
                    </a:cubicBezTo>
                    <a:cubicBezTo>
                      <a:pt x="555400" y="1290797"/>
                      <a:pt x="553972" y="1290797"/>
                      <a:pt x="553259" y="1290085"/>
                    </a:cubicBezTo>
                    <a:cubicBezTo>
                      <a:pt x="417621" y="1260878"/>
                      <a:pt x="294833" y="1184655"/>
                      <a:pt x="207025" y="1077088"/>
                    </a:cubicBezTo>
                    <a:cubicBezTo>
                      <a:pt x="121359" y="970946"/>
                      <a:pt x="72102" y="837022"/>
                      <a:pt x="69246" y="700248"/>
                    </a:cubicBezTo>
                    <a:cubicBezTo>
                      <a:pt x="69246" y="700248"/>
                      <a:pt x="69246" y="700248"/>
                      <a:pt x="26413" y="742278"/>
                    </a:cubicBezTo>
                    <a:cubicBezTo>
                      <a:pt x="19988" y="747977"/>
                      <a:pt x="9994" y="747977"/>
                      <a:pt x="4283" y="741565"/>
                    </a:cubicBezTo>
                    <a:cubicBezTo>
                      <a:pt x="-1428" y="735867"/>
                      <a:pt x="-1428" y="725893"/>
                      <a:pt x="4283" y="719482"/>
                    </a:cubicBezTo>
                    <a:cubicBezTo>
                      <a:pt x="4283" y="719482"/>
                      <a:pt x="4283" y="719482"/>
                      <a:pt x="74957" y="651095"/>
                    </a:cubicBezTo>
                    <a:cubicBezTo>
                      <a:pt x="78170" y="647890"/>
                      <a:pt x="82275" y="646287"/>
                      <a:pt x="86379" y="646287"/>
                    </a:cubicBezTo>
                    <a:close/>
                    <a:moveTo>
                      <a:pt x="907925" y="533493"/>
                    </a:moveTo>
                    <a:cubicBezTo>
                      <a:pt x="903912" y="533583"/>
                      <a:pt x="899988" y="535195"/>
                      <a:pt x="897134" y="538418"/>
                    </a:cubicBezTo>
                    <a:cubicBezTo>
                      <a:pt x="655986" y="787695"/>
                      <a:pt x="655986" y="787695"/>
                      <a:pt x="655986" y="787695"/>
                    </a:cubicBezTo>
                    <a:cubicBezTo>
                      <a:pt x="523284" y="666638"/>
                      <a:pt x="523284" y="666638"/>
                      <a:pt x="523284" y="666638"/>
                    </a:cubicBezTo>
                    <a:cubicBezTo>
                      <a:pt x="516863" y="660191"/>
                      <a:pt x="506875" y="660907"/>
                      <a:pt x="501167" y="667354"/>
                    </a:cubicBezTo>
                    <a:cubicBezTo>
                      <a:pt x="495459" y="673801"/>
                      <a:pt x="495459" y="683829"/>
                      <a:pt x="501880" y="689560"/>
                    </a:cubicBezTo>
                    <a:cubicBezTo>
                      <a:pt x="645998" y="821361"/>
                      <a:pt x="645998" y="821361"/>
                      <a:pt x="645998" y="821361"/>
                    </a:cubicBezTo>
                    <a:cubicBezTo>
                      <a:pt x="648852" y="824227"/>
                      <a:pt x="652419" y="825659"/>
                      <a:pt x="656700" y="825659"/>
                    </a:cubicBezTo>
                    <a:cubicBezTo>
                      <a:pt x="660267" y="825659"/>
                      <a:pt x="664548" y="824227"/>
                      <a:pt x="667402" y="820645"/>
                    </a:cubicBezTo>
                    <a:cubicBezTo>
                      <a:pt x="919251" y="560624"/>
                      <a:pt x="919251" y="560624"/>
                      <a:pt x="919251" y="560624"/>
                    </a:cubicBezTo>
                    <a:cubicBezTo>
                      <a:pt x="925672" y="554177"/>
                      <a:pt x="925672" y="544148"/>
                      <a:pt x="919251" y="537702"/>
                    </a:cubicBezTo>
                    <a:cubicBezTo>
                      <a:pt x="916041" y="534836"/>
                      <a:pt x="911938" y="533404"/>
                      <a:pt x="907925" y="533493"/>
                    </a:cubicBezTo>
                    <a:close/>
                    <a:moveTo>
                      <a:pt x="687547" y="325596"/>
                    </a:moveTo>
                    <a:cubicBezTo>
                      <a:pt x="888323" y="325596"/>
                      <a:pt x="1051085" y="487647"/>
                      <a:pt x="1051085" y="687546"/>
                    </a:cubicBezTo>
                    <a:cubicBezTo>
                      <a:pt x="1051085" y="887445"/>
                      <a:pt x="888323" y="1049496"/>
                      <a:pt x="687547" y="1049496"/>
                    </a:cubicBezTo>
                    <a:cubicBezTo>
                      <a:pt x="486771" y="1049496"/>
                      <a:pt x="324009" y="887445"/>
                      <a:pt x="324009" y="687546"/>
                    </a:cubicBezTo>
                    <a:cubicBezTo>
                      <a:pt x="324009" y="487647"/>
                      <a:pt x="486771" y="325596"/>
                      <a:pt x="687547" y="325596"/>
                    </a:cubicBezTo>
                    <a:close/>
                    <a:moveTo>
                      <a:pt x="820304" y="84851"/>
                    </a:moveTo>
                    <a:cubicBezTo>
                      <a:pt x="956317" y="114130"/>
                      <a:pt x="1079444" y="190540"/>
                      <a:pt x="1166778" y="298371"/>
                    </a:cubicBezTo>
                    <a:cubicBezTo>
                      <a:pt x="1254112" y="404774"/>
                      <a:pt x="1302790" y="539027"/>
                      <a:pt x="1305654" y="676137"/>
                    </a:cubicBezTo>
                    <a:cubicBezTo>
                      <a:pt x="1348605" y="634004"/>
                      <a:pt x="1348605" y="634004"/>
                      <a:pt x="1348605" y="634004"/>
                    </a:cubicBezTo>
                    <a:cubicBezTo>
                      <a:pt x="1355048" y="628291"/>
                      <a:pt x="1365070" y="628291"/>
                      <a:pt x="1370796" y="634718"/>
                    </a:cubicBezTo>
                    <a:cubicBezTo>
                      <a:pt x="1376523" y="640431"/>
                      <a:pt x="1376523" y="650429"/>
                      <a:pt x="1370796" y="656856"/>
                    </a:cubicBezTo>
                    <a:cubicBezTo>
                      <a:pt x="1299927" y="725410"/>
                      <a:pt x="1299927" y="725410"/>
                      <a:pt x="1299927" y="725410"/>
                    </a:cubicBezTo>
                    <a:cubicBezTo>
                      <a:pt x="1296348" y="728981"/>
                      <a:pt x="1292768" y="730409"/>
                      <a:pt x="1288473" y="730409"/>
                    </a:cubicBezTo>
                    <a:cubicBezTo>
                      <a:pt x="1284178" y="730409"/>
                      <a:pt x="1280599" y="728267"/>
                      <a:pt x="1277019" y="725410"/>
                    </a:cubicBezTo>
                    <a:cubicBezTo>
                      <a:pt x="1208297" y="654713"/>
                      <a:pt x="1208297" y="654713"/>
                      <a:pt x="1208297" y="654713"/>
                    </a:cubicBezTo>
                    <a:cubicBezTo>
                      <a:pt x="1201855" y="648286"/>
                      <a:pt x="1202571" y="638289"/>
                      <a:pt x="1208297" y="632576"/>
                    </a:cubicBezTo>
                    <a:cubicBezTo>
                      <a:pt x="1214740" y="626149"/>
                      <a:pt x="1224762" y="626863"/>
                      <a:pt x="1230489" y="632576"/>
                    </a:cubicBezTo>
                    <a:cubicBezTo>
                      <a:pt x="1274156" y="676851"/>
                      <a:pt x="1274156" y="676851"/>
                      <a:pt x="1274156" y="676851"/>
                    </a:cubicBezTo>
                    <a:cubicBezTo>
                      <a:pt x="1268429" y="408344"/>
                      <a:pt x="1077296" y="173401"/>
                      <a:pt x="813861" y="115558"/>
                    </a:cubicBezTo>
                    <a:cubicBezTo>
                      <a:pt x="805271" y="113416"/>
                      <a:pt x="800260" y="104846"/>
                      <a:pt x="801692" y="96277"/>
                    </a:cubicBezTo>
                    <a:cubicBezTo>
                      <a:pt x="803840" y="88422"/>
                      <a:pt x="812430" y="82709"/>
                      <a:pt x="820304" y="84851"/>
                    </a:cubicBezTo>
                    <a:close/>
                    <a:moveTo>
                      <a:pt x="644244" y="0"/>
                    </a:moveTo>
                    <a:cubicBezTo>
                      <a:pt x="648177" y="0"/>
                      <a:pt x="652110" y="1430"/>
                      <a:pt x="655327" y="4289"/>
                    </a:cubicBezTo>
                    <a:cubicBezTo>
                      <a:pt x="655327" y="4289"/>
                      <a:pt x="655327" y="4289"/>
                      <a:pt x="723975" y="75051"/>
                    </a:cubicBezTo>
                    <a:cubicBezTo>
                      <a:pt x="730410" y="81484"/>
                      <a:pt x="730410" y="91491"/>
                      <a:pt x="723975" y="97924"/>
                    </a:cubicBezTo>
                    <a:cubicBezTo>
                      <a:pt x="723975" y="97924"/>
                      <a:pt x="723975" y="97924"/>
                      <a:pt x="653182" y="166542"/>
                    </a:cubicBezTo>
                    <a:cubicBezTo>
                      <a:pt x="650322" y="169401"/>
                      <a:pt x="646031" y="170830"/>
                      <a:pt x="642456" y="170830"/>
                    </a:cubicBezTo>
                    <a:cubicBezTo>
                      <a:pt x="638166" y="170830"/>
                      <a:pt x="633875" y="169401"/>
                      <a:pt x="631015" y="166542"/>
                    </a:cubicBezTo>
                    <a:cubicBezTo>
                      <a:pt x="624579" y="160109"/>
                      <a:pt x="625294" y="150102"/>
                      <a:pt x="631015" y="144384"/>
                    </a:cubicBezTo>
                    <a:cubicBezTo>
                      <a:pt x="631015" y="144384"/>
                      <a:pt x="631015" y="144384"/>
                      <a:pt x="675349" y="100783"/>
                    </a:cubicBezTo>
                    <a:cubicBezTo>
                      <a:pt x="406481" y="106501"/>
                      <a:pt x="171936" y="298059"/>
                      <a:pt x="114015" y="561095"/>
                    </a:cubicBezTo>
                    <a:cubicBezTo>
                      <a:pt x="111870" y="568243"/>
                      <a:pt x="105434" y="573246"/>
                      <a:pt x="98284" y="573246"/>
                    </a:cubicBezTo>
                    <a:cubicBezTo>
                      <a:pt x="97568" y="573246"/>
                      <a:pt x="96138" y="573246"/>
                      <a:pt x="94708" y="573246"/>
                    </a:cubicBezTo>
                    <a:cubicBezTo>
                      <a:pt x="86127" y="571102"/>
                      <a:pt x="81122" y="562525"/>
                      <a:pt x="83267" y="554662"/>
                    </a:cubicBezTo>
                    <a:cubicBezTo>
                      <a:pt x="112585" y="418856"/>
                      <a:pt x="189098" y="295915"/>
                      <a:pt x="297074" y="207998"/>
                    </a:cubicBezTo>
                    <a:cubicBezTo>
                      <a:pt x="402906" y="121511"/>
                      <a:pt x="537340" y="72192"/>
                      <a:pt x="674634" y="69333"/>
                    </a:cubicBezTo>
                    <a:cubicBezTo>
                      <a:pt x="674634" y="69333"/>
                      <a:pt x="674634" y="69333"/>
                      <a:pt x="632445" y="26447"/>
                    </a:cubicBezTo>
                    <a:cubicBezTo>
                      <a:pt x="626724" y="20014"/>
                      <a:pt x="626724" y="10722"/>
                      <a:pt x="633160" y="4289"/>
                    </a:cubicBezTo>
                    <a:cubicBezTo>
                      <a:pt x="636378" y="1430"/>
                      <a:pt x="640311" y="0"/>
                      <a:pt x="644244" y="0"/>
                    </a:cubicBezTo>
                    <a:close/>
                  </a:path>
                </a:pathLst>
              </a:custGeom>
              <a:solidFill>
                <a:srgbClr val="FFFFFF"/>
              </a:solidFill>
              <a:ln>
                <a:noFill/>
              </a:ln>
            </p:spPr>
            <p:txBody>
              <a:bodyPr vert="horz" wrap="square" lIns="27432" tIns="13716" rIns="27432" bIns="13716" numCol="1" anchor="t" anchorCtr="0" compatLnSpc="1">
                <a:prstTxWarp prst="textNoShape">
                  <a:avLst/>
                </a:prstTxWarp>
                <a:noAutofit/>
              </a:bodyPr>
              <a:lstStyle/>
              <a:p>
                <a:endParaRPr lang="en-US" dirty="0">
                  <a:solidFill>
                    <a:srgbClr val="575757"/>
                  </a:solidFill>
                </a:endParaRPr>
              </a:p>
            </p:txBody>
          </p:sp>
        </p:grpSp>
        <p:grpSp>
          <p:nvGrpSpPr>
            <p:cNvPr id="105" name="Group 104">
              <a:extLst>
                <a:ext uri="{FF2B5EF4-FFF2-40B4-BE49-F238E27FC236}">
                  <a16:creationId xmlns:a16="http://schemas.microsoft.com/office/drawing/2014/main" id="{729E7BC1-A477-4795-BA82-2B0A4D0D4E45}"/>
                </a:ext>
              </a:extLst>
            </p:cNvPr>
            <p:cNvGrpSpPr>
              <a:grpSpLocks noChangeAspect="1"/>
            </p:cNvGrpSpPr>
            <p:nvPr/>
          </p:nvGrpSpPr>
          <p:grpSpPr>
            <a:xfrm>
              <a:off x="12308776" y="5025689"/>
              <a:ext cx="655239" cy="655239"/>
              <a:chOff x="5273675" y="2606675"/>
              <a:chExt cx="1644650" cy="1644650"/>
            </a:xfrm>
          </p:grpSpPr>
          <p:sp>
            <p:nvSpPr>
              <p:cNvPr id="223" name="AutoShape 3">
                <a:extLst>
                  <a:ext uri="{FF2B5EF4-FFF2-40B4-BE49-F238E27FC236}">
                    <a16:creationId xmlns:a16="http://schemas.microsoft.com/office/drawing/2014/main" id="{8AA312F0-06CA-4A50-819F-AEEB9403A65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7432" tIns="13716" rIns="27432" bIns="13716" numCol="1" anchor="t" anchorCtr="0" compatLnSpc="1">
                <a:prstTxWarp prst="textNoShape">
                  <a:avLst/>
                </a:prstTxWarp>
              </a:bodyPr>
              <a:lstStyle/>
              <a:p>
                <a:endParaRPr lang="en-US" dirty="0">
                  <a:solidFill>
                    <a:srgbClr val="575757"/>
                  </a:solidFill>
                </a:endParaRPr>
              </a:p>
            </p:txBody>
          </p:sp>
          <p:sp>
            <p:nvSpPr>
              <p:cNvPr id="224" name="Freeform 35">
                <a:extLst>
                  <a:ext uri="{FF2B5EF4-FFF2-40B4-BE49-F238E27FC236}">
                    <a16:creationId xmlns:a16="http://schemas.microsoft.com/office/drawing/2014/main" id="{6B398891-DC80-4429-BE75-9BED641D3D1E}"/>
                  </a:ext>
                </a:extLst>
              </p:cNvPr>
              <p:cNvSpPr>
                <a:spLocks/>
              </p:cNvSpPr>
              <p:nvPr/>
            </p:nvSpPr>
            <p:spPr bwMode="auto">
              <a:xfrm>
                <a:off x="5578475" y="2695574"/>
                <a:ext cx="1036638" cy="1474788"/>
              </a:xfrm>
              <a:custGeom>
                <a:avLst/>
                <a:gdLst>
                  <a:gd name="connsiteX0" fmla="*/ 449087 w 1036638"/>
                  <a:gd name="connsiteY0" fmla="*/ 1316038 h 1474788"/>
                  <a:gd name="connsiteX1" fmla="*/ 433388 w 1036638"/>
                  <a:gd name="connsiteY1" fmla="*/ 1331913 h 1474788"/>
                  <a:gd name="connsiteX2" fmla="*/ 449087 w 1036638"/>
                  <a:gd name="connsiteY2" fmla="*/ 1347788 h 1474788"/>
                  <a:gd name="connsiteX3" fmla="*/ 636764 w 1036638"/>
                  <a:gd name="connsiteY3" fmla="*/ 1347788 h 1474788"/>
                  <a:gd name="connsiteX4" fmla="*/ 652463 w 1036638"/>
                  <a:gd name="connsiteY4" fmla="*/ 1331913 h 1474788"/>
                  <a:gd name="connsiteX5" fmla="*/ 636764 w 1036638"/>
                  <a:gd name="connsiteY5" fmla="*/ 1316038 h 1474788"/>
                  <a:gd name="connsiteX6" fmla="*/ 449087 w 1036638"/>
                  <a:gd name="connsiteY6" fmla="*/ 1316038 h 1474788"/>
                  <a:gd name="connsiteX7" fmla="*/ 375444 w 1036638"/>
                  <a:gd name="connsiteY7" fmla="*/ 1298575 h 1474788"/>
                  <a:gd name="connsiteX8" fmla="*/ 342900 w 1036638"/>
                  <a:gd name="connsiteY8" fmla="*/ 1331119 h 1474788"/>
                  <a:gd name="connsiteX9" fmla="*/ 375444 w 1036638"/>
                  <a:gd name="connsiteY9" fmla="*/ 1363663 h 1474788"/>
                  <a:gd name="connsiteX10" fmla="*/ 407988 w 1036638"/>
                  <a:gd name="connsiteY10" fmla="*/ 1331119 h 1474788"/>
                  <a:gd name="connsiteX11" fmla="*/ 375444 w 1036638"/>
                  <a:gd name="connsiteY11" fmla="*/ 1298575 h 1474788"/>
                  <a:gd name="connsiteX12" fmla="*/ 300845 w 1036638"/>
                  <a:gd name="connsiteY12" fmla="*/ 1258888 h 1474788"/>
                  <a:gd name="connsiteX13" fmla="*/ 737382 w 1036638"/>
                  <a:gd name="connsiteY13" fmla="*/ 1258888 h 1474788"/>
                  <a:gd name="connsiteX14" fmla="*/ 744538 w 1036638"/>
                  <a:gd name="connsiteY14" fmla="*/ 1265297 h 1474788"/>
                  <a:gd name="connsiteX15" fmla="*/ 744538 w 1036638"/>
                  <a:gd name="connsiteY15" fmla="*/ 1404167 h 1474788"/>
                  <a:gd name="connsiteX16" fmla="*/ 737382 w 1036638"/>
                  <a:gd name="connsiteY16" fmla="*/ 1411288 h 1474788"/>
                  <a:gd name="connsiteX17" fmla="*/ 300845 w 1036638"/>
                  <a:gd name="connsiteY17" fmla="*/ 1411288 h 1474788"/>
                  <a:gd name="connsiteX18" fmla="*/ 293688 w 1036638"/>
                  <a:gd name="connsiteY18" fmla="*/ 1404167 h 1474788"/>
                  <a:gd name="connsiteX19" fmla="*/ 293688 w 1036638"/>
                  <a:gd name="connsiteY19" fmla="*/ 1265297 h 1474788"/>
                  <a:gd name="connsiteX20" fmla="*/ 300845 w 1036638"/>
                  <a:gd name="connsiteY20" fmla="*/ 1258888 h 1474788"/>
                  <a:gd name="connsiteX21" fmla="*/ 838200 w 1036638"/>
                  <a:gd name="connsiteY21" fmla="*/ 1212850 h 1474788"/>
                  <a:gd name="connsiteX22" fmla="*/ 964419 w 1036638"/>
                  <a:gd name="connsiteY22" fmla="*/ 1212850 h 1474788"/>
                  <a:gd name="connsiteX23" fmla="*/ 971550 w 1036638"/>
                  <a:gd name="connsiteY23" fmla="*/ 1219982 h 1474788"/>
                  <a:gd name="connsiteX24" fmla="*/ 971550 w 1036638"/>
                  <a:gd name="connsiteY24" fmla="*/ 1304143 h 1474788"/>
                  <a:gd name="connsiteX25" fmla="*/ 964419 w 1036638"/>
                  <a:gd name="connsiteY25" fmla="*/ 1311275 h 1474788"/>
                  <a:gd name="connsiteX26" fmla="*/ 838200 w 1036638"/>
                  <a:gd name="connsiteY26" fmla="*/ 1311275 h 1474788"/>
                  <a:gd name="connsiteX27" fmla="*/ 838200 w 1036638"/>
                  <a:gd name="connsiteY27" fmla="*/ 1212850 h 1474788"/>
                  <a:gd name="connsiteX28" fmla="*/ 75337 w 1036638"/>
                  <a:gd name="connsiteY28" fmla="*/ 1212850 h 1474788"/>
                  <a:gd name="connsiteX29" fmla="*/ 198438 w 1036638"/>
                  <a:gd name="connsiteY29" fmla="*/ 1212850 h 1474788"/>
                  <a:gd name="connsiteX30" fmla="*/ 198438 w 1036638"/>
                  <a:gd name="connsiteY30" fmla="*/ 1311275 h 1474788"/>
                  <a:gd name="connsiteX31" fmla="*/ 75337 w 1036638"/>
                  <a:gd name="connsiteY31" fmla="*/ 1311275 h 1474788"/>
                  <a:gd name="connsiteX32" fmla="*/ 68263 w 1036638"/>
                  <a:gd name="connsiteY32" fmla="*/ 1304143 h 1474788"/>
                  <a:gd name="connsiteX33" fmla="*/ 68263 w 1036638"/>
                  <a:gd name="connsiteY33" fmla="*/ 1219982 h 1474788"/>
                  <a:gd name="connsiteX34" fmla="*/ 75337 w 1036638"/>
                  <a:gd name="connsiteY34" fmla="*/ 1212850 h 1474788"/>
                  <a:gd name="connsiteX35" fmla="*/ 449087 w 1036638"/>
                  <a:gd name="connsiteY35" fmla="*/ 1106488 h 1474788"/>
                  <a:gd name="connsiteX36" fmla="*/ 433388 w 1036638"/>
                  <a:gd name="connsiteY36" fmla="*/ 1122363 h 1474788"/>
                  <a:gd name="connsiteX37" fmla="*/ 449087 w 1036638"/>
                  <a:gd name="connsiteY37" fmla="*/ 1138238 h 1474788"/>
                  <a:gd name="connsiteX38" fmla="*/ 636764 w 1036638"/>
                  <a:gd name="connsiteY38" fmla="*/ 1138238 h 1474788"/>
                  <a:gd name="connsiteX39" fmla="*/ 652463 w 1036638"/>
                  <a:gd name="connsiteY39" fmla="*/ 1122363 h 1474788"/>
                  <a:gd name="connsiteX40" fmla="*/ 636764 w 1036638"/>
                  <a:gd name="connsiteY40" fmla="*/ 1106488 h 1474788"/>
                  <a:gd name="connsiteX41" fmla="*/ 449087 w 1036638"/>
                  <a:gd name="connsiteY41" fmla="*/ 1106488 h 1474788"/>
                  <a:gd name="connsiteX42" fmla="*/ 375444 w 1036638"/>
                  <a:gd name="connsiteY42" fmla="*/ 1089025 h 1474788"/>
                  <a:gd name="connsiteX43" fmla="*/ 342900 w 1036638"/>
                  <a:gd name="connsiteY43" fmla="*/ 1121569 h 1474788"/>
                  <a:gd name="connsiteX44" fmla="*/ 375444 w 1036638"/>
                  <a:gd name="connsiteY44" fmla="*/ 1154113 h 1474788"/>
                  <a:gd name="connsiteX45" fmla="*/ 407988 w 1036638"/>
                  <a:gd name="connsiteY45" fmla="*/ 1121569 h 1474788"/>
                  <a:gd name="connsiteX46" fmla="*/ 375444 w 1036638"/>
                  <a:gd name="connsiteY46" fmla="*/ 1089025 h 1474788"/>
                  <a:gd name="connsiteX47" fmla="*/ 838200 w 1036638"/>
                  <a:gd name="connsiteY47" fmla="*/ 1052513 h 1474788"/>
                  <a:gd name="connsiteX48" fmla="*/ 964419 w 1036638"/>
                  <a:gd name="connsiteY48" fmla="*/ 1052513 h 1474788"/>
                  <a:gd name="connsiteX49" fmla="*/ 971550 w 1036638"/>
                  <a:gd name="connsiteY49" fmla="*/ 1059645 h 1474788"/>
                  <a:gd name="connsiteX50" fmla="*/ 971550 w 1036638"/>
                  <a:gd name="connsiteY50" fmla="*/ 1143806 h 1474788"/>
                  <a:gd name="connsiteX51" fmla="*/ 964419 w 1036638"/>
                  <a:gd name="connsiteY51" fmla="*/ 1150938 h 1474788"/>
                  <a:gd name="connsiteX52" fmla="*/ 838200 w 1036638"/>
                  <a:gd name="connsiteY52" fmla="*/ 1150938 h 1474788"/>
                  <a:gd name="connsiteX53" fmla="*/ 838200 w 1036638"/>
                  <a:gd name="connsiteY53" fmla="*/ 1052513 h 1474788"/>
                  <a:gd name="connsiteX54" fmla="*/ 75337 w 1036638"/>
                  <a:gd name="connsiteY54" fmla="*/ 1052513 h 1474788"/>
                  <a:gd name="connsiteX55" fmla="*/ 198438 w 1036638"/>
                  <a:gd name="connsiteY55" fmla="*/ 1052513 h 1474788"/>
                  <a:gd name="connsiteX56" fmla="*/ 198438 w 1036638"/>
                  <a:gd name="connsiteY56" fmla="*/ 1150938 h 1474788"/>
                  <a:gd name="connsiteX57" fmla="*/ 75337 w 1036638"/>
                  <a:gd name="connsiteY57" fmla="*/ 1150938 h 1474788"/>
                  <a:gd name="connsiteX58" fmla="*/ 68263 w 1036638"/>
                  <a:gd name="connsiteY58" fmla="*/ 1143806 h 1474788"/>
                  <a:gd name="connsiteX59" fmla="*/ 68263 w 1036638"/>
                  <a:gd name="connsiteY59" fmla="*/ 1059645 h 1474788"/>
                  <a:gd name="connsiteX60" fmla="*/ 75337 w 1036638"/>
                  <a:gd name="connsiteY60" fmla="*/ 1052513 h 1474788"/>
                  <a:gd name="connsiteX61" fmla="*/ 300845 w 1036638"/>
                  <a:gd name="connsiteY61" fmla="*/ 1047750 h 1474788"/>
                  <a:gd name="connsiteX62" fmla="*/ 737382 w 1036638"/>
                  <a:gd name="connsiteY62" fmla="*/ 1047750 h 1474788"/>
                  <a:gd name="connsiteX63" fmla="*/ 744538 w 1036638"/>
                  <a:gd name="connsiteY63" fmla="*/ 1054946 h 1474788"/>
                  <a:gd name="connsiteX64" fmla="*/ 744538 w 1036638"/>
                  <a:gd name="connsiteY64" fmla="*/ 1194542 h 1474788"/>
                  <a:gd name="connsiteX65" fmla="*/ 737382 w 1036638"/>
                  <a:gd name="connsiteY65" fmla="*/ 1201738 h 1474788"/>
                  <a:gd name="connsiteX66" fmla="*/ 300845 w 1036638"/>
                  <a:gd name="connsiteY66" fmla="*/ 1201738 h 1474788"/>
                  <a:gd name="connsiteX67" fmla="*/ 293688 w 1036638"/>
                  <a:gd name="connsiteY67" fmla="*/ 1194542 h 1474788"/>
                  <a:gd name="connsiteX68" fmla="*/ 293688 w 1036638"/>
                  <a:gd name="connsiteY68" fmla="*/ 1054946 h 1474788"/>
                  <a:gd name="connsiteX69" fmla="*/ 300845 w 1036638"/>
                  <a:gd name="connsiteY69" fmla="*/ 1047750 h 1474788"/>
                  <a:gd name="connsiteX70" fmla="*/ 449087 w 1036638"/>
                  <a:gd name="connsiteY70" fmla="*/ 895350 h 1474788"/>
                  <a:gd name="connsiteX71" fmla="*/ 433388 w 1036638"/>
                  <a:gd name="connsiteY71" fmla="*/ 910432 h 1474788"/>
                  <a:gd name="connsiteX72" fmla="*/ 449087 w 1036638"/>
                  <a:gd name="connsiteY72" fmla="*/ 925513 h 1474788"/>
                  <a:gd name="connsiteX73" fmla="*/ 636764 w 1036638"/>
                  <a:gd name="connsiteY73" fmla="*/ 925513 h 1474788"/>
                  <a:gd name="connsiteX74" fmla="*/ 652463 w 1036638"/>
                  <a:gd name="connsiteY74" fmla="*/ 910432 h 1474788"/>
                  <a:gd name="connsiteX75" fmla="*/ 636764 w 1036638"/>
                  <a:gd name="connsiteY75" fmla="*/ 895350 h 1474788"/>
                  <a:gd name="connsiteX76" fmla="*/ 449087 w 1036638"/>
                  <a:gd name="connsiteY76" fmla="*/ 895350 h 1474788"/>
                  <a:gd name="connsiteX77" fmla="*/ 838200 w 1036638"/>
                  <a:gd name="connsiteY77" fmla="*/ 890588 h 1474788"/>
                  <a:gd name="connsiteX78" fmla="*/ 964419 w 1036638"/>
                  <a:gd name="connsiteY78" fmla="*/ 890588 h 1474788"/>
                  <a:gd name="connsiteX79" fmla="*/ 971550 w 1036638"/>
                  <a:gd name="connsiteY79" fmla="*/ 897669 h 1474788"/>
                  <a:gd name="connsiteX80" fmla="*/ 971550 w 1036638"/>
                  <a:gd name="connsiteY80" fmla="*/ 981932 h 1474788"/>
                  <a:gd name="connsiteX81" fmla="*/ 964419 w 1036638"/>
                  <a:gd name="connsiteY81" fmla="*/ 989013 h 1474788"/>
                  <a:gd name="connsiteX82" fmla="*/ 838200 w 1036638"/>
                  <a:gd name="connsiteY82" fmla="*/ 989013 h 1474788"/>
                  <a:gd name="connsiteX83" fmla="*/ 838200 w 1036638"/>
                  <a:gd name="connsiteY83" fmla="*/ 890588 h 1474788"/>
                  <a:gd name="connsiteX84" fmla="*/ 75337 w 1036638"/>
                  <a:gd name="connsiteY84" fmla="*/ 890588 h 1474788"/>
                  <a:gd name="connsiteX85" fmla="*/ 198438 w 1036638"/>
                  <a:gd name="connsiteY85" fmla="*/ 890588 h 1474788"/>
                  <a:gd name="connsiteX86" fmla="*/ 198438 w 1036638"/>
                  <a:gd name="connsiteY86" fmla="*/ 989013 h 1474788"/>
                  <a:gd name="connsiteX87" fmla="*/ 75337 w 1036638"/>
                  <a:gd name="connsiteY87" fmla="*/ 989013 h 1474788"/>
                  <a:gd name="connsiteX88" fmla="*/ 68263 w 1036638"/>
                  <a:gd name="connsiteY88" fmla="*/ 981932 h 1474788"/>
                  <a:gd name="connsiteX89" fmla="*/ 68263 w 1036638"/>
                  <a:gd name="connsiteY89" fmla="*/ 897669 h 1474788"/>
                  <a:gd name="connsiteX90" fmla="*/ 75337 w 1036638"/>
                  <a:gd name="connsiteY90" fmla="*/ 890588 h 1474788"/>
                  <a:gd name="connsiteX91" fmla="*/ 375444 w 1036638"/>
                  <a:gd name="connsiteY91" fmla="*/ 877888 h 1474788"/>
                  <a:gd name="connsiteX92" fmla="*/ 342900 w 1036638"/>
                  <a:gd name="connsiteY92" fmla="*/ 910432 h 1474788"/>
                  <a:gd name="connsiteX93" fmla="*/ 375444 w 1036638"/>
                  <a:gd name="connsiteY93" fmla="*/ 942976 h 1474788"/>
                  <a:gd name="connsiteX94" fmla="*/ 407988 w 1036638"/>
                  <a:gd name="connsiteY94" fmla="*/ 910432 h 1474788"/>
                  <a:gd name="connsiteX95" fmla="*/ 375444 w 1036638"/>
                  <a:gd name="connsiteY95" fmla="*/ 877888 h 1474788"/>
                  <a:gd name="connsiteX96" fmla="*/ 300845 w 1036638"/>
                  <a:gd name="connsiteY96" fmla="*/ 836613 h 1474788"/>
                  <a:gd name="connsiteX97" fmla="*/ 737382 w 1036638"/>
                  <a:gd name="connsiteY97" fmla="*/ 836613 h 1474788"/>
                  <a:gd name="connsiteX98" fmla="*/ 744538 w 1036638"/>
                  <a:gd name="connsiteY98" fmla="*/ 843775 h 1474788"/>
                  <a:gd name="connsiteX99" fmla="*/ 744538 w 1036638"/>
                  <a:gd name="connsiteY99" fmla="*/ 983439 h 1474788"/>
                  <a:gd name="connsiteX100" fmla="*/ 737382 w 1036638"/>
                  <a:gd name="connsiteY100" fmla="*/ 990601 h 1474788"/>
                  <a:gd name="connsiteX101" fmla="*/ 300845 w 1036638"/>
                  <a:gd name="connsiteY101" fmla="*/ 990601 h 1474788"/>
                  <a:gd name="connsiteX102" fmla="*/ 293688 w 1036638"/>
                  <a:gd name="connsiteY102" fmla="*/ 983439 h 1474788"/>
                  <a:gd name="connsiteX103" fmla="*/ 293688 w 1036638"/>
                  <a:gd name="connsiteY103" fmla="*/ 843775 h 1474788"/>
                  <a:gd name="connsiteX104" fmla="*/ 300845 w 1036638"/>
                  <a:gd name="connsiteY104" fmla="*/ 836613 h 1474788"/>
                  <a:gd name="connsiteX105" fmla="*/ 838200 w 1036638"/>
                  <a:gd name="connsiteY105" fmla="*/ 820738 h 1474788"/>
                  <a:gd name="connsiteX106" fmla="*/ 1020991 w 1036638"/>
                  <a:gd name="connsiteY106" fmla="*/ 820738 h 1474788"/>
                  <a:gd name="connsiteX107" fmla="*/ 1036638 w 1036638"/>
                  <a:gd name="connsiteY107" fmla="*/ 836463 h 1474788"/>
                  <a:gd name="connsiteX108" fmla="*/ 1036638 w 1036638"/>
                  <a:gd name="connsiteY108" fmla="*/ 1365401 h 1474788"/>
                  <a:gd name="connsiteX109" fmla="*/ 1020991 w 1036638"/>
                  <a:gd name="connsiteY109" fmla="*/ 1381126 h 1474788"/>
                  <a:gd name="connsiteX110" fmla="*/ 838200 w 1036638"/>
                  <a:gd name="connsiteY110" fmla="*/ 1381126 h 1474788"/>
                  <a:gd name="connsiteX111" fmla="*/ 838200 w 1036638"/>
                  <a:gd name="connsiteY111" fmla="*/ 1349676 h 1474788"/>
                  <a:gd name="connsiteX112" fmla="*/ 1005343 w 1036638"/>
                  <a:gd name="connsiteY112" fmla="*/ 1349676 h 1474788"/>
                  <a:gd name="connsiteX113" fmla="*/ 1005343 w 1036638"/>
                  <a:gd name="connsiteY113" fmla="*/ 852188 h 1474788"/>
                  <a:gd name="connsiteX114" fmla="*/ 838200 w 1036638"/>
                  <a:gd name="connsiteY114" fmla="*/ 852188 h 1474788"/>
                  <a:gd name="connsiteX115" fmla="*/ 838200 w 1036638"/>
                  <a:gd name="connsiteY115" fmla="*/ 820738 h 1474788"/>
                  <a:gd name="connsiteX116" fmla="*/ 15760 w 1036638"/>
                  <a:gd name="connsiteY116" fmla="*/ 820738 h 1474788"/>
                  <a:gd name="connsiteX117" fmla="*/ 198438 w 1036638"/>
                  <a:gd name="connsiteY117" fmla="*/ 820738 h 1474788"/>
                  <a:gd name="connsiteX118" fmla="*/ 198438 w 1036638"/>
                  <a:gd name="connsiteY118" fmla="*/ 852188 h 1474788"/>
                  <a:gd name="connsiteX119" fmla="*/ 31521 w 1036638"/>
                  <a:gd name="connsiteY119" fmla="*/ 852188 h 1474788"/>
                  <a:gd name="connsiteX120" fmla="*/ 31521 w 1036638"/>
                  <a:gd name="connsiteY120" fmla="*/ 1349676 h 1474788"/>
                  <a:gd name="connsiteX121" fmla="*/ 198438 w 1036638"/>
                  <a:gd name="connsiteY121" fmla="*/ 1349676 h 1474788"/>
                  <a:gd name="connsiteX122" fmla="*/ 198438 w 1036638"/>
                  <a:gd name="connsiteY122" fmla="*/ 1381126 h 1474788"/>
                  <a:gd name="connsiteX123" fmla="*/ 15760 w 1036638"/>
                  <a:gd name="connsiteY123" fmla="*/ 1381126 h 1474788"/>
                  <a:gd name="connsiteX124" fmla="*/ 0 w 1036638"/>
                  <a:gd name="connsiteY124" fmla="*/ 1365401 h 1474788"/>
                  <a:gd name="connsiteX125" fmla="*/ 0 w 1036638"/>
                  <a:gd name="connsiteY125" fmla="*/ 836463 h 1474788"/>
                  <a:gd name="connsiteX126" fmla="*/ 15760 w 1036638"/>
                  <a:gd name="connsiteY126" fmla="*/ 820738 h 1474788"/>
                  <a:gd name="connsiteX127" fmla="*/ 260350 w 1036638"/>
                  <a:gd name="connsiteY127" fmla="*/ 806450 h 1474788"/>
                  <a:gd name="connsiteX128" fmla="*/ 260350 w 1036638"/>
                  <a:gd name="connsiteY128" fmla="*/ 1443038 h 1474788"/>
                  <a:gd name="connsiteX129" fmla="*/ 774700 w 1036638"/>
                  <a:gd name="connsiteY129" fmla="*/ 1443038 h 1474788"/>
                  <a:gd name="connsiteX130" fmla="*/ 774700 w 1036638"/>
                  <a:gd name="connsiteY130" fmla="*/ 806450 h 1474788"/>
                  <a:gd name="connsiteX131" fmla="*/ 260350 w 1036638"/>
                  <a:gd name="connsiteY131" fmla="*/ 806450 h 1474788"/>
                  <a:gd name="connsiteX132" fmla="*/ 244334 w 1036638"/>
                  <a:gd name="connsiteY132" fmla="*/ 774700 h 1474788"/>
                  <a:gd name="connsiteX133" fmla="*/ 790717 w 1036638"/>
                  <a:gd name="connsiteY133" fmla="*/ 774700 h 1474788"/>
                  <a:gd name="connsiteX134" fmla="*/ 806450 w 1036638"/>
                  <a:gd name="connsiteY134" fmla="*/ 790400 h 1474788"/>
                  <a:gd name="connsiteX135" fmla="*/ 806450 w 1036638"/>
                  <a:gd name="connsiteY135" fmla="*/ 1459088 h 1474788"/>
                  <a:gd name="connsiteX136" fmla="*/ 790717 w 1036638"/>
                  <a:gd name="connsiteY136" fmla="*/ 1474788 h 1474788"/>
                  <a:gd name="connsiteX137" fmla="*/ 244334 w 1036638"/>
                  <a:gd name="connsiteY137" fmla="*/ 1474788 h 1474788"/>
                  <a:gd name="connsiteX138" fmla="*/ 228600 w 1036638"/>
                  <a:gd name="connsiteY138" fmla="*/ 1459088 h 1474788"/>
                  <a:gd name="connsiteX139" fmla="*/ 228600 w 1036638"/>
                  <a:gd name="connsiteY139" fmla="*/ 790400 h 1474788"/>
                  <a:gd name="connsiteX140" fmla="*/ 244334 w 1036638"/>
                  <a:gd name="connsiteY140" fmla="*/ 774700 h 1474788"/>
                  <a:gd name="connsiteX141" fmla="*/ 517604 w 1036638"/>
                  <a:gd name="connsiteY141" fmla="*/ 301625 h 1474788"/>
                  <a:gd name="connsiteX142" fmla="*/ 518319 w 1036638"/>
                  <a:gd name="connsiteY142" fmla="*/ 301625 h 1474788"/>
                  <a:gd name="connsiteX143" fmla="*/ 538334 w 1036638"/>
                  <a:gd name="connsiteY143" fmla="*/ 312354 h 1474788"/>
                  <a:gd name="connsiteX144" fmla="*/ 638408 w 1036638"/>
                  <a:gd name="connsiteY144" fmla="*/ 410347 h 1474788"/>
                  <a:gd name="connsiteX145" fmla="*/ 638408 w 1036638"/>
                  <a:gd name="connsiteY145" fmla="*/ 444680 h 1474788"/>
                  <a:gd name="connsiteX146" fmla="*/ 604097 w 1036638"/>
                  <a:gd name="connsiteY146" fmla="*/ 445395 h 1474788"/>
                  <a:gd name="connsiteX147" fmla="*/ 542623 w 1036638"/>
                  <a:gd name="connsiteY147" fmla="*/ 384597 h 1474788"/>
                  <a:gd name="connsiteX148" fmla="*/ 542623 w 1036638"/>
                  <a:gd name="connsiteY148" fmla="*/ 742950 h 1474788"/>
                  <a:gd name="connsiteX149" fmla="*/ 494016 w 1036638"/>
                  <a:gd name="connsiteY149" fmla="*/ 742950 h 1474788"/>
                  <a:gd name="connsiteX150" fmla="*/ 494016 w 1036638"/>
                  <a:gd name="connsiteY150" fmla="*/ 384597 h 1474788"/>
                  <a:gd name="connsiteX151" fmla="*/ 433256 w 1036638"/>
                  <a:gd name="connsiteY151" fmla="*/ 446111 h 1474788"/>
                  <a:gd name="connsiteX152" fmla="*/ 416101 w 1036638"/>
                  <a:gd name="connsiteY152" fmla="*/ 453263 h 1474788"/>
                  <a:gd name="connsiteX153" fmla="*/ 398945 w 1036638"/>
                  <a:gd name="connsiteY153" fmla="*/ 446826 h 1474788"/>
                  <a:gd name="connsiteX154" fmla="*/ 398945 w 1036638"/>
                  <a:gd name="connsiteY154" fmla="*/ 412493 h 1474788"/>
                  <a:gd name="connsiteX155" fmla="*/ 500449 w 1036638"/>
                  <a:gd name="connsiteY155" fmla="*/ 308778 h 1474788"/>
                  <a:gd name="connsiteX156" fmla="*/ 517604 w 1036638"/>
                  <a:gd name="connsiteY156" fmla="*/ 301625 h 1474788"/>
                  <a:gd name="connsiteX157" fmla="*/ 411129 w 1036638"/>
                  <a:gd name="connsiteY157" fmla="*/ 57150 h 1474788"/>
                  <a:gd name="connsiteX158" fmla="*/ 569877 w 1036638"/>
                  <a:gd name="connsiteY158" fmla="*/ 173471 h 1474788"/>
                  <a:gd name="connsiteX159" fmla="*/ 604915 w 1036638"/>
                  <a:gd name="connsiteY159" fmla="*/ 164908 h 1474788"/>
                  <a:gd name="connsiteX160" fmla="*/ 687149 w 1036638"/>
                  <a:gd name="connsiteY160" fmla="*/ 239838 h 1474788"/>
                  <a:gd name="connsiteX161" fmla="*/ 734344 w 1036638"/>
                  <a:gd name="connsiteY161" fmla="*/ 229134 h 1474788"/>
                  <a:gd name="connsiteX162" fmla="*/ 833025 w 1036638"/>
                  <a:gd name="connsiteY162" fmla="*/ 289792 h 1474788"/>
                  <a:gd name="connsiteX163" fmla="*/ 930276 w 1036638"/>
                  <a:gd name="connsiteY163" fmla="*/ 405400 h 1474788"/>
                  <a:gd name="connsiteX164" fmla="*/ 810143 w 1036638"/>
                  <a:gd name="connsiteY164" fmla="*/ 523148 h 1474788"/>
                  <a:gd name="connsiteX165" fmla="*/ 787975 w 1036638"/>
                  <a:gd name="connsiteY165" fmla="*/ 523148 h 1474788"/>
                  <a:gd name="connsiteX166" fmla="*/ 712892 w 1036638"/>
                  <a:gd name="connsiteY166" fmla="*/ 552407 h 1474788"/>
                  <a:gd name="connsiteX167" fmla="*/ 650680 w 1036638"/>
                  <a:gd name="connsiteY167" fmla="*/ 533853 h 1474788"/>
                  <a:gd name="connsiteX168" fmla="*/ 574882 w 1036638"/>
                  <a:gd name="connsiteY168" fmla="*/ 566680 h 1474788"/>
                  <a:gd name="connsiteX169" fmla="*/ 574882 w 1036638"/>
                  <a:gd name="connsiteY169" fmla="*/ 460349 h 1474788"/>
                  <a:gd name="connsiteX170" fmla="*/ 582748 w 1036638"/>
                  <a:gd name="connsiteY170" fmla="*/ 467485 h 1474788"/>
                  <a:gd name="connsiteX171" fmla="*/ 622077 w 1036638"/>
                  <a:gd name="connsiteY171" fmla="*/ 483899 h 1474788"/>
                  <a:gd name="connsiteX172" fmla="*/ 661406 w 1036638"/>
                  <a:gd name="connsiteY172" fmla="*/ 466772 h 1474788"/>
                  <a:gd name="connsiteX173" fmla="*/ 660691 w 1036638"/>
                  <a:gd name="connsiteY173" fmla="*/ 388273 h 1474788"/>
                  <a:gd name="connsiteX174" fmla="*/ 563441 w 1036638"/>
                  <a:gd name="connsiteY174" fmla="*/ 292647 h 1474788"/>
                  <a:gd name="connsiteX175" fmla="*/ 519106 w 1036638"/>
                  <a:gd name="connsiteY175" fmla="*/ 271238 h 1474788"/>
                  <a:gd name="connsiteX176" fmla="*/ 518391 w 1036638"/>
                  <a:gd name="connsiteY176" fmla="*/ 271238 h 1474788"/>
                  <a:gd name="connsiteX177" fmla="*/ 479062 w 1036638"/>
                  <a:gd name="connsiteY177" fmla="*/ 287651 h 1474788"/>
                  <a:gd name="connsiteX178" fmla="*/ 376805 w 1036638"/>
                  <a:gd name="connsiteY178" fmla="*/ 390414 h 1474788"/>
                  <a:gd name="connsiteX179" fmla="*/ 361074 w 1036638"/>
                  <a:gd name="connsiteY179" fmla="*/ 429663 h 1474788"/>
                  <a:gd name="connsiteX180" fmla="*/ 377521 w 1036638"/>
                  <a:gd name="connsiteY180" fmla="*/ 468913 h 1474788"/>
                  <a:gd name="connsiteX181" fmla="*/ 416850 w 1036638"/>
                  <a:gd name="connsiteY181" fmla="*/ 484613 h 1474788"/>
                  <a:gd name="connsiteX182" fmla="*/ 456179 w 1036638"/>
                  <a:gd name="connsiteY182" fmla="*/ 468199 h 1474788"/>
                  <a:gd name="connsiteX183" fmla="*/ 463330 w 1036638"/>
                  <a:gd name="connsiteY183" fmla="*/ 461063 h 1474788"/>
                  <a:gd name="connsiteX184" fmla="*/ 463330 w 1036638"/>
                  <a:gd name="connsiteY184" fmla="*/ 546698 h 1474788"/>
                  <a:gd name="connsiteX185" fmla="*/ 356783 w 1036638"/>
                  <a:gd name="connsiteY185" fmla="*/ 587375 h 1474788"/>
                  <a:gd name="connsiteX186" fmla="*/ 223779 w 1036638"/>
                  <a:gd name="connsiteY186" fmla="*/ 516726 h 1474788"/>
                  <a:gd name="connsiteX187" fmla="*/ 122238 w 1036638"/>
                  <a:gd name="connsiteY187" fmla="*/ 378996 h 1474788"/>
                  <a:gd name="connsiteX188" fmla="*/ 245946 w 1036638"/>
                  <a:gd name="connsiteY188" fmla="*/ 237698 h 1474788"/>
                  <a:gd name="connsiteX189" fmla="*/ 245231 w 1036638"/>
                  <a:gd name="connsiteY189" fmla="*/ 220570 h 1474788"/>
                  <a:gd name="connsiteX190" fmla="*/ 411129 w 1036638"/>
                  <a:gd name="connsiteY190" fmla="*/ 57150 h 1474788"/>
                  <a:gd name="connsiteX191" fmla="*/ 409496 w 1036638"/>
                  <a:gd name="connsiteY191" fmla="*/ 0 h 1474788"/>
                  <a:gd name="connsiteX192" fmla="*/ 543176 w 1036638"/>
                  <a:gd name="connsiteY192" fmla="*/ 44204 h 1474788"/>
                  <a:gd name="connsiteX193" fmla="*/ 601081 w 1036638"/>
                  <a:gd name="connsiteY193" fmla="*/ 108371 h 1474788"/>
                  <a:gd name="connsiteX194" fmla="*/ 603225 w 1036638"/>
                  <a:gd name="connsiteY194" fmla="*/ 108371 h 1474788"/>
                  <a:gd name="connsiteX195" fmla="*/ 681861 w 1036638"/>
                  <a:gd name="connsiteY195" fmla="*/ 132612 h 1474788"/>
                  <a:gd name="connsiteX196" fmla="*/ 721178 w 1036638"/>
                  <a:gd name="connsiteY196" fmla="*/ 172539 h 1474788"/>
                  <a:gd name="connsiteX197" fmla="*/ 732616 w 1036638"/>
                  <a:gd name="connsiteY197" fmla="*/ 171826 h 1474788"/>
                  <a:gd name="connsiteX198" fmla="*/ 868442 w 1036638"/>
                  <a:gd name="connsiteY198" fmla="*/ 240984 h 1474788"/>
                  <a:gd name="connsiteX199" fmla="*/ 984250 w 1036638"/>
                  <a:gd name="connsiteY199" fmla="*/ 405680 h 1474788"/>
                  <a:gd name="connsiteX200" fmla="*/ 808392 w 1036638"/>
                  <a:gd name="connsiteY200" fmla="*/ 580358 h 1474788"/>
                  <a:gd name="connsiteX201" fmla="*/ 806248 w 1036638"/>
                  <a:gd name="connsiteY201" fmla="*/ 580358 h 1474788"/>
                  <a:gd name="connsiteX202" fmla="*/ 711170 w 1036638"/>
                  <a:gd name="connsiteY202" fmla="*/ 609589 h 1474788"/>
                  <a:gd name="connsiteX203" fmla="*/ 654696 w 1036638"/>
                  <a:gd name="connsiteY203" fmla="*/ 599608 h 1474788"/>
                  <a:gd name="connsiteX204" fmla="*/ 573201 w 1036638"/>
                  <a:gd name="connsiteY204" fmla="*/ 623849 h 1474788"/>
                  <a:gd name="connsiteX205" fmla="*/ 573201 w 1036638"/>
                  <a:gd name="connsiteY205" fmla="*/ 592478 h 1474788"/>
                  <a:gd name="connsiteX206" fmla="*/ 651121 w 1036638"/>
                  <a:gd name="connsiteY206" fmla="*/ 564672 h 1474788"/>
                  <a:gd name="connsiteX207" fmla="*/ 711170 w 1036638"/>
                  <a:gd name="connsiteY207" fmla="*/ 578219 h 1474788"/>
                  <a:gd name="connsiteX208" fmla="*/ 795525 w 1036638"/>
                  <a:gd name="connsiteY208" fmla="*/ 548987 h 1474788"/>
                  <a:gd name="connsiteX209" fmla="*/ 808392 w 1036638"/>
                  <a:gd name="connsiteY209" fmla="*/ 548987 h 1474788"/>
                  <a:gd name="connsiteX210" fmla="*/ 953511 w 1036638"/>
                  <a:gd name="connsiteY210" fmla="*/ 405680 h 1474788"/>
                  <a:gd name="connsiteX211" fmla="*/ 848425 w 1036638"/>
                  <a:gd name="connsiteY211" fmla="*/ 267364 h 1474788"/>
                  <a:gd name="connsiteX212" fmla="*/ 732616 w 1036638"/>
                  <a:gd name="connsiteY212" fmla="*/ 203196 h 1474788"/>
                  <a:gd name="connsiteX213" fmla="*/ 703307 w 1036638"/>
                  <a:gd name="connsiteY213" fmla="*/ 206761 h 1474788"/>
                  <a:gd name="connsiteX214" fmla="*/ 603225 w 1036638"/>
                  <a:gd name="connsiteY214" fmla="*/ 139742 h 1474788"/>
                  <a:gd name="connsiteX215" fmla="*/ 583209 w 1036638"/>
                  <a:gd name="connsiteY215" fmla="*/ 141168 h 1474788"/>
                  <a:gd name="connsiteX216" fmla="*/ 524590 w 1036638"/>
                  <a:gd name="connsiteY216" fmla="*/ 69158 h 1474788"/>
                  <a:gd name="connsiteX217" fmla="*/ 409496 w 1036638"/>
                  <a:gd name="connsiteY217" fmla="*/ 31371 h 1474788"/>
                  <a:gd name="connsiteX218" fmla="*/ 218626 w 1036638"/>
                  <a:gd name="connsiteY218" fmla="*/ 216743 h 1474788"/>
                  <a:gd name="connsiteX219" fmla="*/ 137131 w 1036638"/>
                  <a:gd name="connsiteY219" fmla="*/ 268077 h 1474788"/>
                  <a:gd name="connsiteX220" fmla="*/ 94954 w 1036638"/>
                  <a:gd name="connsiteY220" fmla="*/ 379300 h 1474788"/>
                  <a:gd name="connsiteX221" fmla="*/ 206473 w 1036638"/>
                  <a:gd name="connsiteY221" fmla="*/ 538292 h 1474788"/>
                  <a:gd name="connsiteX222" fmla="*/ 355166 w 1036638"/>
                  <a:gd name="connsiteY222" fmla="*/ 613154 h 1474788"/>
                  <a:gd name="connsiteX223" fmla="*/ 461681 w 1036638"/>
                  <a:gd name="connsiteY223" fmla="*/ 578932 h 1474788"/>
                  <a:gd name="connsiteX224" fmla="*/ 461681 w 1036638"/>
                  <a:gd name="connsiteY224" fmla="*/ 616006 h 1474788"/>
                  <a:gd name="connsiteX225" fmla="*/ 355166 w 1036638"/>
                  <a:gd name="connsiteY225" fmla="*/ 644525 h 1474788"/>
                  <a:gd name="connsiteX226" fmla="*/ 186457 w 1036638"/>
                  <a:gd name="connsiteY226" fmla="*/ 564672 h 1474788"/>
                  <a:gd name="connsiteX227" fmla="*/ 99958 w 1036638"/>
                  <a:gd name="connsiteY227" fmla="*/ 494801 h 1474788"/>
                  <a:gd name="connsiteX228" fmla="*/ 63500 w 1036638"/>
                  <a:gd name="connsiteY228" fmla="*/ 379300 h 1474788"/>
                  <a:gd name="connsiteX229" fmla="*/ 113541 w 1036638"/>
                  <a:gd name="connsiteY229" fmla="*/ 247401 h 1474788"/>
                  <a:gd name="connsiteX230" fmla="*/ 188602 w 1036638"/>
                  <a:gd name="connsiteY230" fmla="*/ 193928 h 1474788"/>
                  <a:gd name="connsiteX231" fmla="*/ 253655 w 1036638"/>
                  <a:gd name="connsiteY231" fmla="*/ 62741 h 1474788"/>
                  <a:gd name="connsiteX232" fmla="*/ 409496 w 1036638"/>
                  <a:gd name="connsiteY232" fmla="*/ 0 h 147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1036638" h="1474788">
                    <a:moveTo>
                      <a:pt x="449087" y="1316038"/>
                    </a:moveTo>
                    <a:cubicBezTo>
                      <a:pt x="439811" y="1316038"/>
                      <a:pt x="433388" y="1322532"/>
                      <a:pt x="433388" y="1331913"/>
                    </a:cubicBezTo>
                    <a:cubicBezTo>
                      <a:pt x="433388" y="1340572"/>
                      <a:pt x="439811" y="1347788"/>
                      <a:pt x="449087" y="1347788"/>
                    </a:cubicBezTo>
                    <a:cubicBezTo>
                      <a:pt x="636764" y="1347788"/>
                      <a:pt x="636764" y="1347788"/>
                      <a:pt x="636764" y="1347788"/>
                    </a:cubicBezTo>
                    <a:cubicBezTo>
                      <a:pt x="645327" y="1347788"/>
                      <a:pt x="652463" y="1340572"/>
                      <a:pt x="652463" y="1331913"/>
                    </a:cubicBezTo>
                    <a:cubicBezTo>
                      <a:pt x="652463" y="1322532"/>
                      <a:pt x="645327" y="1316038"/>
                      <a:pt x="636764" y="1316038"/>
                    </a:cubicBezTo>
                    <a:cubicBezTo>
                      <a:pt x="449087" y="1316038"/>
                      <a:pt x="449087" y="1316038"/>
                      <a:pt x="449087" y="1316038"/>
                    </a:cubicBezTo>
                    <a:close/>
                    <a:moveTo>
                      <a:pt x="375444" y="1298575"/>
                    </a:moveTo>
                    <a:cubicBezTo>
                      <a:pt x="357470" y="1298575"/>
                      <a:pt x="342900" y="1313145"/>
                      <a:pt x="342900" y="1331119"/>
                    </a:cubicBezTo>
                    <a:cubicBezTo>
                      <a:pt x="342900" y="1349093"/>
                      <a:pt x="357470" y="1363663"/>
                      <a:pt x="375444" y="1363663"/>
                    </a:cubicBezTo>
                    <a:cubicBezTo>
                      <a:pt x="393418" y="1363663"/>
                      <a:pt x="407988" y="1349093"/>
                      <a:pt x="407988" y="1331119"/>
                    </a:cubicBezTo>
                    <a:cubicBezTo>
                      <a:pt x="407988" y="1313145"/>
                      <a:pt x="393418" y="1298575"/>
                      <a:pt x="375444" y="1298575"/>
                    </a:cubicBezTo>
                    <a:close/>
                    <a:moveTo>
                      <a:pt x="300845" y="1258888"/>
                    </a:moveTo>
                    <a:cubicBezTo>
                      <a:pt x="737382" y="1258888"/>
                      <a:pt x="737382" y="1258888"/>
                      <a:pt x="737382" y="1258888"/>
                    </a:cubicBezTo>
                    <a:cubicBezTo>
                      <a:pt x="741676" y="1258888"/>
                      <a:pt x="744538" y="1261737"/>
                      <a:pt x="744538" y="1265297"/>
                    </a:cubicBezTo>
                    <a:cubicBezTo>
                      <a:pt x="744538" y="1404167"/>
                      <a:pt x="744538" y="1404167"/>
                      <a:pt x="744538" y="1404167"/>
                    </a:cubicBezTo>
                    <a:cubicBezTo>
                      <a:pt x="744538" y="1407727"/>
                      <a:pt x="741676" y="1411288"/>
                      <a:pt x="737382" y="1411288"/>
                    </a:cubicBezTo>
                    <a:cubicBezTo>
                      <a:pt x="300845" y="1411288"/>
                      <a:pt x="300845" y="1411288"/>
                      <a:pt x="300845" y="1411288"/>
                    </a:cubicBezTo>
                    <a:cubicBezTo>
                      <a:pt x="296551" y="1411288"/>
                      <a:pt x="293688" y="1407727"/>
                      <a:pt x="293688" y="1404167"/>
                    </a:cubicBezTo>
                    <a:cubicBezTo>
                      <a:pt x="293688" y="1265297"/>
                      <a:pt x="293688" y="1265297"/>
                      <a:pt x="293688" y="1265297"/>
                    </a:cubicBezTo>
                    <a:cubicBezTo>
                      <a:pt x="293688" y="1261737"/>
                      <a:pt x="296551" y="1258888"/>
                      <a:pt x="300845" y="1258888"/>
                    </a:cubicBezTo>
                    <a:close/>
                    <a:moveTo>
                      <a:pt x="838200" y="1212850"/>
                    </a:moveTo>
                    <a:cubicBezTo>
                      <a:pt x="838200" y="1212850"/>
                      <a:pt x="838200" y="1212850"/>
                      <a:pt x="964419" y="1212850"/>
                    </a:cubicBezTo>
                    <a:cubicBezTo>
                      <a:pt x="968698" y="1212850"/>
                      <a:pt x="971550" y="1215703"/>
                      <a:pt x="971550" y="1219982"/>
                    </a:cubicBezTo>
                    <a:cubicBezTo>
                      <a:pt x="971550" y="1219982"/>
                      <a:pt x="971550" y="1219982"/>
                      <a:pt x="971550" y="1304143"/>
                    </a:cubicBezTo>
                    <a:cubicBezTo>
                      <a:pt x="971550" y="1307709"/>
                      <a:pt x="968698" y="1311275"/>
                      <a:pt x="964419" y="1311275"/>
                    </a:cubicBezTo>
                    <a:cubicBezTo>
                      <a:pt x="964419" y="1311275"/>
                      <a:pt x="964419" y="1311275"/>
                      <a:pt x="838200" y="1311275"/>
                    </a:cubicBezTo>
                    <a:cubicBezTo>
                      <a:pt x="838200" y="1311275"/>
                      <a:pt x="838200" y="1311275"/>
                      <a:pt x="838200" y="1212850"/>
                    </a:cubicBezTo>
                    <a:close/>
                    <a:moveTo>
                      <a:pt x="75337" y="1212850"/>
                    </a:moveTo>
                    <a:cubicBezTo>
                      <a:pt x="75337" y="1212850"/>
                      <a:pt x="75337" y="1212850"/>
                      <a:pt x="198438" y="1212850"/>
                    </a:cubicBezTo>
                    <a:cubicBezTo>
                      <a:pt x="198438" y="1212850"/>
                      <a:pt x="198438" y="1212850"/>
                      <a:pt x="198438" y="1311275"/>
                    </a:cubicBezTo>
                    <a:cubicBezTo>
                      <a:pt x="198438" y="1311275"/>
                      <a:pt x="198438" y="1311275"/>
                      <a:pt x="75337" y="1311275"/>
                    </a:cubicBezTo>
                    <a:cubicBezTo>
                      <a:pt x="71093" y="1311275"/>
                      <a:pt x="68263" y="1307709"/>
                      <a:pt x="68263" y="1304143"/>
                    </a:cubicBezTo>
                    <a:cubicBezTo>
                      <a:pt x="68263" y="1304143"/>
                      <a:pt x="68263" y="1304143"/>
                      <a:pt x="68263" y="1219982"/>
                    </a:cubicBezTo>
                    <a:cubicBezTo>
                      <a:pt x="68263" y="1215703"/>
                      <a:pt x="71093" y="1212850"/>
                      <a:pt x="75337" y="1212850"/>
                    </a:cubicBezTo>
                    <a:close/>
                    <a:moveTo>
                      <a:pt x="449087" y="1106488"/>
                    </a:moveTo>
                    <a:cubicBezTo>
                      <a:pt x="439811" y="1106488"/>
                      <a:pt x="433388" y="1113704"/>
                      <a:pt x="433388" y="1122363"/>
                    </a:cubicBezTo>
                    <a:cubicBezTo>
                      <a:pt x="433388" y="1131022"/>
                      <a:pt x="439811" y="1138238"/>
                      <a:pt x="449087" y="1138238"/>
                    </a:cubicBezTo>
                    <a:cubicBezTo>
                      <a:pt x="636764" y="1138238"/>
                      <a:pt x="636764" y="1138238"/>
                      <a:pt x="636764" y="1138238"/>
                    </a:cubicBezTo>
                    <a:cubicBezTo>
                      <a:pt x="645327" y="1138238"/>
                      <a:pt x="652463" y="1131022"/>
                      <a:pt x="652463" y="1122363"/>
                    </a:cubicBezTo>
                    <a:cubicBezTo>
                      <a:pt x="652463" y="1113704"/>
                      <a:pt x="645327" y="1106488"/>
                      <a:pt x="636764" y="1106488"/>
                    </a:cubicBezTo>
                    <a:cubicBezTo>
                      <a:pt x="449087" y="1106488"/>
                      <a:pt x="449087" y="1106488"/>
                      <a:pt x="449087" y="1106488"/>
                    </a:cubicBezTo>
                    <a:close/>
                    <a:moveTo>
                      <a:pt x="375444" y="1089025"/>
                    </a:moveTo>
                    <a:cubicBezTo>
                      <a:pt x="357470" y="1089025"/>
                      <a:pt x="342900" y="1103595"/>
                      <a:pt x="342900" y="1121569"/>
                    </a:cubicBezTo>
                    <a:cubicBezTo>
                      <a:pt x="342900" y="1139543"/>
                      <a:pt x="357470" y="1154113"/>
                      <a:pt x="375444" y="1154113"/>
                    </a:cubicBezTo>
                    <a:cubicBezTo>
                      <a:pt x="393418" y="1154113"/>
                      <a:pt x="407988" y="1139543"/>
                      <a:pt x="407988" y="1121569"/>
                    </a:cubicBezTo>
                    <a:cubicBezTo>
                      <a:pt x="407988" y="1103595"/>
                      <a:pt x="393418" y="1089025"/>
                      <a:pt x="375444" y="1089025"/>
                    </a:cubicBezTo>
                    <a:close/>
                    <a:moveTo>
                      <a:pt x="838200" y="1052513"/>
                    </a:moveTo>
                    <a:cubicBezTo>
                      <a:pt x="838200" y="1052513"/>
                      <a:pt x="838200" y="1052513"/>
                      <a:pt x="964419" y="1052513"/>
                    </a:cubicBezTo>
                    <a:cubicBezTo>
                      <a:pt x="968698" y="1052513"/>
                      <a:pt x="971550" y="1055366"/>
                      <a:pt x="971550" y="1059645"/>
                    </a:cubicBezTo>
                    <a:cubicBezTo>
                      <a:pt x="971550" y="1059645"/>
                      <a:pt x="971550" y="1059645"/>
                      <a:pt x="971550" y="1143806"/>
                    </a:cubicBezTo>
                    <a:cubicBezTo>
                      <a:pt x="971550" y="1148085"/>
                      <a:pt x="968698" y="1150938"/>
                      <a:pt x="964419" y="1150938"/>
                    </a:cubicBezTo>
                    <a:cubicBezTo>
                      <a:pt x="964419" y="1150938"/>
                      <a:pt x="964419" y="1150938"/>
                      <a:pt x="838200" y="1150938"/>
                    </a:cubicBezTo>
                    <a:cubicBezTo>
                      <a:pt x="838200" y="1150938"/>
                      <a:pt x="838200" y="1150938"/>
                      <a:pt x="838200" y="1052513"/>
                    </a:cubicBezTo>
                    <a:close/>
                    <a:moveTo>
                      <a:pt x="75337" y="1052513"/>
                    </a:moveTo>
                    <a:cubicBezTo>
                      <a:pt x="75337" y="1052513"/>
                      <a:pt x="75337" y="1052513"/>
                      <a:pt x="198438" y="1052513"/>
                    </a:cubicBezTo>
                    <a:cubicBezTo>
                      <a:pt x="198438" y="1052513"/>
                      <a:pt x="198438" y="1052513"/>
                      <a:pt x="198438" y="1150938"/>
                    </a:cubicBezTo>
                    <a:cubicBezTo>
                      <a:pt x="198438" y="1150938"/>
                      <a:pt x="198438" y="1150938"/>
                      <a:pt x="75337" y="1150938"/>
                    </a:cubicBezTo>
                    <a:cubicBezTo>
                      <a:pt x="71093" y="1150938"/>
                      <a:pt x="68263" y="1148085"/>
                      <a:pt x="68263" y="1143806"/>
                    </a:cubicBezTo>
                    <a:cubicBezTo>
                      <a:pt x="68263" y="1143806"/>
                      <a:pt x="68263" y="1143806"/>
                      <a:pt x="68263" y="1059645"/>
                    </a:cubicBezTo>
                    <a:cubicBezTo>
                      <a:pt x="68263" y="1055366"/>
                      <a:pt x="71093" y="1052513"/>
                      <a:pt x="75337" y="1052513"/>
                    </a:cubicBezTo>
                    <a:close/>
                    <a:moveTo>
                      <a:pt x="300845" y="1047750"/>
                    </a:moveTo>
                    <a:cubicBezTo>
                      <a:pt x="737382" y="1047750"/>
                      <a:pt x="737382" y="1047750"/>
                      <a:pt x="737382" y="1047750"/>
                    </a:cubicBezTo>
                    <a:cubicBezTo>
                      <a:pt x="741676" y="1047750"/>
                      <a:pt x="744538" y="1050628"/>
                      <a:pt x="744538" y="1054946"/>
                    </a:cubicBezTo>
                    <a:cubicBezTo>
                      <a:pt x="744538" y="1194542"/>
                      <a:pt x="744538" y="1194542"/>
                      <a:pt x="744538" y="1194542"/>
                    </a:cubicBezTo>
                    <a:cubicBezTo>
                      <a:pt x="744538" y="1198860"/>
                      <a:pt x="741676" y="1201738"/>
                      <a:pt x="737382" y="1201738"/>
                    </a:cubicBezTo>
                    <a:cubicBezTo>
                      <a:pt x="300845" y="1201738"/>
                      <a:pt x="300845" y="1201738"/>
                      <a:pt x="300845" y="1201738"/>
                    </a:cubicBezTo>
                    <a:cubicBezTo>
                      <a:pt x="296551" y="1201738"/>
                      <a:pt x="293688" y="1198860"/>
                      <a:pt x="293688" y="1194542"/>
                    </a:cubicBezTo>
                    <a:cubicBezTo>
                      <a:pt x="293688" y="1054946"/>
                      <a:pt x="293688" y="1054946"/>
                      <a:pt x="293688" y="1054946"/>
                    </a:cubicBezTo>
                    <a:cubicBezTo>
                      <a:pt x="293688" y="1050628"/>
                      <a:pt x="296551" y="1047750"/>
                      <a:pt x="300845" y="1047750"/>
                    </a:cubicBezTo>
                    <a:close/>
                    <a:moveTo>
                      <a:pt x="449087" y="895350"/>
                    </a:moveTo>
                    <a:cubicBezTo>
                      <a:pt x="439811" y="895350"/>
                      <a:pt x="433388" y="902205"/>
                      <a:pt x="433388" y="910432"/>
                    </a:cubicBezTo>
                    <a:cubicBezTo>
                      <a:pt x="433388" y="919343"/>
                      <a:pt x="439811" y="925513"/>
                      <a:pt x="449087" y="925513"/>
                    </a:cubicBezTo>
                    <a:cubicBezTo>
                      <a:pt x="636764" y="925513"/>
                      <a:pt x="636764" y="925513"/>
                      <a:pt x="636764" y="925513"/>
                    </a:cubicBezTo>
                    <a:cubicBezTo>
                      <a:pt x="645327" y="925513"/>
                      <a:pt x="652463" y="919343"/>
                      <a:pt x="652463" y="910432"/>
                    </a:cubicBezTo>
                    <a:cubicBezTo>
                      <a:pt x="652463" y="902205"/>
                      <a:pt x="645327" y="895350"/>
                      <a:pt x="636764" y="895350"/>
                    </a:cubicBezTo>
                    <a:cubicBezTo>
                      <a:pt x="449087" y="895350"/>
                      <a:pt x="449087" y="895350"/>
                      <a:pt x="449087" y="895350"/>
                    </a:cubicBezTo>
                    <a:close/>
                    <a:moveTo>
                      <a:pt x="838200" y="890588"/>
                    </a:moveTo>
                    <a:cubicBezTo>
                      <a:pt x="838200" y="890588"/>
                      <a:pt x="838200" y="890588"/>
                      <a:pt x="964419" y="890588"/>
                    </a:cubicBezTo>
                    <a:cubicBezTo>
                      <a:pt x="968698" y="890588"/>
                      <a:pt x="971550" y="893420"/>
                      <a:pt x="971550" y="897669"/>
                    </a:cubicBezTo>
                    <a:cubicBezTo>
                      <a:pt x="971550" y="897669"/>
                      <a:pt x="971550" y="897669"/>
                      <a:pt x="971550" y="981932"/>
                    </a:cubicBezTo>
                    <a:cubicBezTo>
                      <a:pt x="971550" y="985472"/>
                      <a:pt x="968698" y="989013"/>
                      <a:pt x="964419" y="989013"/>
                    </a:cubicBezTo>
                    <a:cubicBezTo>
                      <a:pt x="964419" y="989013"/>
                      <a:pt x="964419" y="989013"/>
                      <a:pt x="838200" y="989013"/>
                    </a:cubicBezTo>
                    <a:cubicBezTo>
                      <a:pt x="838200" y="989013"/>
                      <a:pt x="838200" y="989013"/>
                      <a:pt x="838200" y="890588"/>
                    </a:cubicBezTo>
                    <a:close/>
                    <a:moveTo>
                      <a:pt x="75337" y="890588"/>
                    </a:moveTo>
                    <a:cubicBezTo>
                      <a:pt x="75337" y="890588"/>
                      <a:pt x="75337" y="890588"/>
                      <a:pt x="198438" y="890588"/>
                    </a:cubicBezTo>
                    <a:cubicBezTo>
                      <a:pt x="198438" y="890588"/>
                      <a:pt x="198438" y="890588"/>
                      <a:pt x="198438" y="989013"/>
                    </a:cubicBezTo>
                    <a:cubicBezTo>
                      <a:pt x="198438" y="989013"/>
                      <a:pt x="198438" y="989013"/>
                      <a:pt x="75337" y="989013"/>
                    </a:cubicBezTo>
                    <a:cubicBezTo>
                      <a:pt x="71093" y="989013"/>
                      <a:pt x="68263" y="985472"/>
                      <a:pt x="68263" y="981932"/>
                    </a:cubicBezTo>
                    <a:cubicBezTo>
                      <a:pt x="68263" y="981932"/>
                      <a:pt x="68263" y="981932"/>
                      <a:pt x="68263" y="897669"/>
                    </a:cubicBezTo>
                    <a:cubicBezTo>
                      <a:pt x="68263" y="893420"/>
                      <a:pt x="71093" y="890588"/>
                      <a:pt x="75337" y="890588"/>
                    </a:cubicBezTo>
                    <a:close/>
                    <a:moveTo>
                      <a:pt x="375444" y="877888"/>
                    </a:moveTo>
                    <a:cubicBezTo>
                      <a:pt x="357470" y="877888"/>
                      <a:pt x="342900" y="892458"/>
                      <a:pt x="342900" y="910432"/>
                    </a:cubicBezTo>
                    <a:cubicBezTo>
                      <a:pt x="342900" y="928406"/>
                      <a:pt x="357470" y="942976"/>
                      <a:pt x="375444" y="942976"/>
                    </a:cubicBezTo>
                    <a:cubicBezTo>
                      <a:pt x="393418" y="942976"/>
                      <a:pt x="407988" y="928406"/>
                      <a:pt x="407988" y="910432"/>
                    </a:cubicBezTo>
                    <a:cubicBezTo>
                      <a:pt x="407988" y="892458"/>
                      <a:pt x="393418" y="877888"/>
                      <a:pt x="375444" y="877888"/>
                    </a:cubicBezTo>
                    <a:close/>
                    <a:moveTo>
                      <a:pt x="300845" y="836613"/>
                    </a:moveTo>
                    <a:cubicBezTo>
                      <a:pt x="737382" y="836613"/>
                      <a:pt x="737382" y="836613"/>
                      <a:pt x="737382" y="836613"/>
                    </a:cubicBezTo>
                    <a:cubicBezTo>
                      <a:pt x="741676" y="836613"/>
                      <a:pt x="744538" y="840194"/>
                      <a:pt x="744538" y="843775"/>
                    </a:cubicBezTo>
                    <a:cubicBezTo>
                      <a:pt x="744538" y="983439"/>
                      <a:pt x="744538" y="983439"/>
                      <a:pt x="744538" y="983439"/>
                    </a:cubicBezTo>
                    <a:cubicBezTo>
                      <a:pt x="744538" y="987020"/>
                      <a:pt x="741676" y="990601"/>
                      <a:pt x="737382" y="990601"/>
                    </a:cubicBezTo>
                    <a:cubicBezTo>
                      <a:pt x="300845" y="990601"/>
                      <a:pt x="300845" y="990601"/>
                      <a:pt x="300845" y="990601"/>
                    </a:cubicBezTo>
                    <a:cubicBezTo>
                      <a:pt x="296551" y="990601"/>
                      <a:pt x="293688" y="987020"/>
                      <a:pt x="293688" y="983439"/>
                    </a:cubicBezTo>
                    <a:cubicBezTo>
                      <a:pt x="293688" y="843775"/>
                      <a:pt x="293688" y="843775"/>
                      <a:pt x="293688" y="843775"/>
                    </a:cubicBezTo>
                    <a:cubicBezTo>
                      <a:pt x="293688" y="840194"/>
                      <a:pt x="296551" y="836613"/>
                      <a:pt x="300845" y="836613"/>
                    </a:cubicBezTo>
                    <a:close/>
                    <a:moveTo>
                      <a:pt x="838200" y="820738"/>
                    </a:moveTo>
                    <a:cubicBezTo>
                      <a:pt x="838200" y="820738"/>
                      <a:pt x="838200" y="820738"/>
                      <a:pt x="1020991" y="820738"/>
                    </a:cubicBezTo>
                    <a:cubicBezTo>
                      <a:pt x="1029526" y="820738"/>
                      <a:pt x="1036638" y="827886"/>
                      <a:pt x="1036638" y="836463"/>
                    </a:cubicBezTo>
                    <a:cubicBezTo>
                      <a:pt x="1036638" y="836463"/>
                      <a:pt x="1036638" y="836463"/>
                      <a:pt x="1036638" y="1365401"/>
                    </a:cubicBezTo>
                    <a:cubicBezTo>
                      <a:pt x="1036638" y="1373978"/>
                      <a:pt x="1029526" y="1381126"/>
                      <a:pt x="1020991" y="1381126"/>
                    </a:cubicBezTo>
                    <a:cubicBezTo>
                      <a:pt x="1020991" y="1381126"/>
                      <a:pt x="1020991" y="1381126"/>
                      <a:pt x="838200" y="1381126"/>
                    </a:cubicBezTo>
                    <a:cubicBezTo>
                      <a:pt x="838200" y="1381126"/>
                      <a:pt x="838200" y="1381126"/>
                      <a:pt x="838200" y="1349676"/>
                    </a:cubicBezTo>
                    <a:cubicBezTo>
                      <a:pt x="838200" y="1349676"/>
                      <a:pt x="838200" y="1349676"/>
                      <a:pt x="1005343" y="1349676"/>
                    </a:cubicBezTo>
                    <a:cubicBezTo>
                      <a:pt x="1005343" y="1349676"/>
                      <a:pt x="1005343" y="1349676"/>
                      <a:pt x="1005343" y="852188"/>
                    </a:cubicBezTo>
                    <a:cubicBezTo>
                      <a:pt x="1005343" y="852188"/>
                      <a:pt x="1005343" y="852188"/>
                      <a:pt x="838200" y="852188"/>
                    </a:cubicBezTo>
                    <a:cubicBezTo>
                      <a:pt x="838200" y="852188"/>
                      <a:pt x="838200" y="852188"/>
                      <a:pt x="838200" y="820738"/>
                    </a:cubicBezTo>
                    <a:close/>
                    <a:moveTo>
                      <a:pt x="15760" y="820738"/>
                    </a:moveTo>
                    <a:cubicBezTo>
                      <a:pt x="15760" y="820738"/>
                      <a:pt x="15760" y="820738"/>
                      <a:pt x="198438" y="820738"/>
                    </a:cubicBezTo>
                    <a:cubicBezTo>
                      <a:pt x="198438" y="820738"/>
                      <a:pt x="198438" y="820738"/>
                      <a:pt x="198438" y="852188"/>
                    </a:cubicBezTo>
                    <a:cubicBezTo>
                      <a:pt x="198438" y="852188"/>
                      <a:pt x="198438" y="852188"/>
                      <a:pt x="31521" y="852188"/>
                    </a:cubicBezTo>
                    <a:cubicBezTo>
                      <a:pt x="31521" y="852188"/>
                      <a:pt x="31521" y="852188"/>
                      <a:pt x="31521" y="1349676"/>
                    </a:cubicBezTo>
                    <a:cubicBezTo>
                      <a:pt x="31521" y="1349676"/>
                      <a:pt x="31521" y="1349676"/>
                      <a:pt x="198438" y="1349676"/>
                    </a:cubicBezTo>
                    <a:cubicBezTo>
                      <a:pt x="198438" y="1349676"/>
                      <a:pt x="198438" y="1349676"/>
                      <a:pt x="198438" y="1381126"/>
                    </a:cubicBezTo>
                    <a:cubicBezTo>
                      <a:pt x="198438" y="1381126"/>
                      <a:pt x="198438" y="1381126"/>
                      <a:pt x="15760" y="1381126"/>
                    </a:cubicBezTo>
                    <a:cubicBezTo>
                      <a:pt x="7164" y="1381126"/>
                      <a:pt x="0" y="1373978"/>
                      <a:pt x="0" y="1365401"/>
                    </a:cubicBezTo>
                    <a:cubicBezTo>
                      <a:pt x="0" y="1365401"/>
                      <a:pt x="0" y="1365401"/>
                      <a:pt x="0" y="836463"/>
                    </a:cubicBezTo>
                    <a:cubicBezTo>
                      <a:pt x="0" y="827886"/>
                      <a:pt x="7164" y="820738"/>
                      <a:pt x="15760" y="820738"/>
                    </a:cubicBezTo>
                    <a:close/>
                    <a:moveTo>
                      <a:pt x="260350" y="806450"/>
                    </a:moveTo>
                    <a:cubicBezTo>
                      <a:pt x="260350" y="806450"/>
                      <a:pt x="260350" y="806450"/>
                      <a:pt x="260350" y="1443038"/>
                    </a:cubicBezTo>
                    <a:cubicBezTo>
                      <a:pt x="260350" y="1443038"/>
                      <a:pt x="260350" y="1443038"/>
                      <a:pt x="774700" y="1443038"/>
                    </a:cubicBezTo>
                    <a:cubicBezTo>
                      <a:pt x="774700" y="1443038"/>
                      <a:pt x="774700" y="1443038"/>
                      <a:pt x="774700" y="806450"/>
                    </a:cubicBezTo>
                    <a:cubicBezTo>
                      <a:pt x="774700" y="806450"/>
                      <a:pt x="774700" y="806450"/>
                      <a:pt x="260350" y="806450"/>
                    </a:cubicBezTo>
                    <a:close/>
                    <a:moveTo>
                      <a:pt x="244334" y="774700"/>
                    </a:moveTo>
                    <a:cubicBezTo>
                      <a:pt x="244334" y="774700"/>
                      <a:pt x="244334" y="774700"/>
                      <a:pt x="790717" y="774700"/>
                    </a:cubicBezTo>
                    <a:cubicBezTo>
                      <a:pt x="799299" y="774700"/>
                      <a:pt x="806450" y="781837"/>
                      <a:pt x="806450" y="790400"/>
                    </a:cubicBezTo>
                    <a:cubicBezTo>
                      <a:pt x="806450" y="790400"/>
                      <a:pt x="806450" y="790400"/>
                      <a:pt x="806450" y="1459088"/>
                    </a:cubicBezTo>
                    <a:cubicBezTo>
                      <a:pt x="806450" y="1467652"/>
                      <a:pt x="799299" y="1474788"/>
                      <a:pt x="790717" y="1474788"/>
                    </a:cubicBezTo>
                    <a:cubicBezTo>
                      <a:pt x="790717" y="1474788"/>
                      <a:pt x="790717" y="1474788"/>
                      <a:pt x="244334" y="1474788"/>
                    </a:cubicBezTo>
                    <a:cubicBezTo>
                      <a:pt x="235752" y="1474788"/>
                      <a:pt x="228600" y="1467652"/>
                      <a:pt x="228600" y="1459088"/>
                    </a:cubicBezTo>
                    <a:cubicBezTo>
                      <a:pt x="228600" y="1459088"/>
                      <a:pt x="228600" y="1459088"/>
                      <a:pt x="228600" y="790400"/>
                    </a:cubicBezTo>
                    <a:cubicBezTo>
                      <a:pt x="228600" y="781837"/>
                      <a:pt x="235752" y="774700"/>
                      <a:pt x="244334" y="774700"/>
                    </a:cubicBezTo>
                    <a:close/>
                    <a:moveTo>
                      <a:pt x="517604" y="301625"/>
                    </a:moveTo>
                    <a:cubicBezTo>
                      <a:pt x="517604" y="301625"/>
                      <a:pt x="517604" y="301625"/>
                      <a:pt x="518319" y="301625"/>
                    </a:cubicBezTo>
                    <a:cubicBezTo>
                      <a:pt x="526897" y="301625"/>
                      <a:pt x="534045" y="305917"/>
                      <a:pt x="538334" y="312354"/>
                    </a:cubicBezTo>
                    <a:cubicBezTo>
                      <a:pt x="638408" y="410347"/>
                      <a:pt x="638408" y="410347"/>
                      <a:pt x="638408" y="410347"/>
                    </a:cubicBezTo>
                    <a:cubicBezTo>
                      <a:pt x="647701" y="420361"/>
                      <a:pt x="647701" y="435381"/>
                      <a:pt x="638408" y="444680"/>
                    </a:cubicBezTo>
                    <a:cubicBezTo>
                      <a:pt x="629116" y="454694"/>
                      <a:pt x="613390" y="454694"/>
                      <a:pt x="604097" y="445395"/>
                    </a:cubicBezTo>
                    <a:cubicBezTo>
                      <a:pt x="542623" y="384597"/>
                      <a:pt x="542623" y="384597"/>
                      <a:pt x="542623" y="384597"/>
                    </a:cubicBezTo>
                    <a:cubicBezTo>
                      <a:pt x="542623" y="742950"/>
                      <a:pt x="542623" y="742950"/>
                      <a:pt x="542623" y="742950"/>
                    </a:cubicBezTo>
                    <a:cubicBezTo>
                      <a:pt x="494016" y="742950"/>
                      <a:pt x="494016" y="742950"/>
                      <a:pt x="494016" y="742950"/>
                    </a:cubicBezTo>
                    <a:cubicBezTo>
                      <a:pt x="494016" y="384597"/>
                      <a:pt x="494016" y="384597"/>
                      <a:pt x="494016" y="384597"/>
                    </a:cubicBezTo>
                    <a:cubicBezTo>
                      <a:pt x="433256" y="446111"/>
                      <a:pt x="433256" y="446111"/>
                      <a:pt x="433256" y="446111"/>
                    </a:cubicBezTo>
                    <a:cubicBezTo>
                      <a:pt x="428253" y="451117"/>
                      <a:pt x="422534" y="453263"/>
                      <a:pt x="416101" y="453263"/>
                    </a:cubicBezTo>
                    <a:cubicBezTo>
                      <a:pt x="409667" y="453263"/>
                      <a:pt x="403234" y="451117"/>
                      <a:pt x="398945" y="446826"/>
                    </a:cubicBezTo>
                    <a:cubicBezTo>
                      <a:pt x="388938" y="437527"/>
                      <a:pt x="388938" y="421791"/>
                      <a:pt x="398945" y="412493"/>
                    </a:cubicBezTo>
                    <a:cubicBezTo>
                      <a:pt x="500449" y="308778"/>
                      <a:pt x="500449" y="308778"/>
                      <a:pt x="500449" y="308778"/>
                    </a:cubicBezTo>
                    <a:cubicBezTo>
                      <a:pt x="504738" y="304486"/>
                      <a:pt x="511171" y="301625"/>
                      <a:pt x="517604" y="301625"/>
                    </a:cubicBezTo>
                    <a:close/>
                    <a:moveTo>
                      <a:pt x="411129" y="57150"/>
                    </a:moveTo>
                    <a:cubicBezTo>
                      <a:pt x="486212" y="57150"/>
                      <a:pt x="549139" y="106390"/>
                      <a:pt x="569877" y="173471"/>
                    </a:cubicBezTo>
                    <a:cubicBezTo>
                      <a:pt x="580603" y="168476"/>
                      <a:pt x="592044" y="164908"/>
                      <a:pt x="604915" y="164908"/>
                    </a:cubicBezTo>
                    <a:cubicBezTo>
                      <a:pt x="648535" y="164908"/>
                      <a:pt x="683574" y="198448"/>
                      <a:pt x="687149" y="239838"/>
                    </a:cubicBezTo>
                    <a:cubicBezTo>
                      <a:pt x="701451" y="233416"/>
                      <a:pt x="717898" y="229134"/>
                      <a:pt x="734344" y="229134"/>
                    </a:cubicBezTo>
                    <a:cubicBezTo>
                      <a:pt x="777964" y="229134"/>
                      <a:pt x="815148" y="254111"/>
                      <a:pt x="833025" y="289792"/>
                    </a:cubicBezTo>
                    <a:cubicBezTo>
                      <a:pt x="888087" y="300497"/>
                      <a:pt x="930276" y="347596"/>
                      <a:pt x="930276" y="405400"/>
                    </a:cubicBezTo>
                    <a:cubicBezTo>
                      <a:pt x="930276" y="470340"/>
                      <a:pt x="876645" y="523148"/>
                      <a:pt x="810143" y="523148"/>
                    </a:cubicBezTo>
                    <a:cubicBezTo>
                      <a:pt x="805852" y="523148"/>
                      <a:pt x="797986" y="523148"/>
                      <a:pt x="787975" y="523148"/>
                    </a:cubicBezTo>
                    <a:cubicBezTo>
                      <a:pt x="767953" y="540989"/>
                      <a:pt x="741495" y="552407"/>
                      <a:pt x="712892" y="552407"/>
                    </a:cubicBezTo>
                    <a:cubicBezTo>
                      <a:pt x="689295" y="552407"/>
                      <a:pt x="668557" y="545271"/>
                      <a:pt x="650680" y="533853"/>
                    </a:cubicBezTo>
                    <a:cubicBezTo>
                      <a:pt x="630658" y="552407"/>
                      <a:pt x="604200" y="564539"/>
                      <a:pt x="574882" y="566680"/>
                    </a:cubicBezTo>
                    <a:cubicBezTo>
                      <a:pt x="574882" y="460349"/>
                      <a:pt x="574882" y="460349"/>
                      <a:pt x="574882" y="460349"/>
                    </a:cubicBezTo>
                    <a:cubicBezTo>
                      <a:pt x="582748" y="467485"/>
                      <a:pt x="582748" y="467485"/>
                      <a:pt x="582748" y="467485"/>
                    </a:cubicBezTo>
                    <a:cubicBezTo>
                      <a:pt x="593474" y="478190"/>
                      <a:pt x="607061" y="483899"/>
                      <a:pt x="622077" y="483899"/>
                    </a:cubicBezTo>
                    <a:cubicBezTo>
                      <a:pt x="637094" y="483899"/>
                      <a:pt x="650680" y="477476"/>
                      <a:pt x="661406" y="466772"/>
                    </a:cubicBezTo>
                    <a:cubicBezTo>
                      <a:pt x="682859" y="445363"/>
                      <a:pt x="682859" y="409682"/>
                      <a:pt x="660691" y="388273"/>
                    </a:cubicBezTo>
                    <a:cubicBezTo>
                      <a:pt x="563441" y="292647"/>
                      <a:pt x="563441" y="292647"/>
                      <a:pt x="563441" y="292647"/>
                    </a:cubicBezTo>
                    <a:cubicBezTo>
                      <a:pt x="552715" y="279088"/>
                      <a:pt x="536268" y="271238"/>
                      <a:pt x="519106" y="271238"/>
                    </a:cubicBezTo>
                    <a:cubicBezTo>
                      <a:pt x="518391" y="271238"/>
                      <a:pt x="518391" y="271238"/>
                      <a:pt x="518391" y="271238"/>
                    </a:cubicBezTo>
                    <a:cubicBezTo>
                      <a:pt x="503374" y="271238"/>
                      <a:pt x="489073" y="276947"/>
                      <a:pt x="479062" y="287651"/>
                    </a:cubicBezTo>
                    <a:cubicBezTo>
                      <a:pt x="376805" y="390414"/>
                      <a:pt x="376805" y="390414"/>
                      <a:pt x="376805" y="390414"/>
                    </a:cubicBezTo>
                    <a:cubicBezTo>
                      <a:pt x="366794" y="401118"/>
                      <a:pt x="361074" y="414677"/>
                      <a:pt x="361074" y="429663"/>
                    </a:cubicBezTo>
                    <a:cubicBezTo>
                      <a:pt x="361074" y="444649"/>
                      <a:pt x="366794" y="458208"/>
                      <a:pt x="377521" y="468913"/>
                    </a:cubicBezTo>
                    <a:cubicBezTo>
                      <a:pt x="388247" y="479617"/>
                      <a:pt x="401833" y="484613"/>
                      <a:pt x="416850" y="484613"/>
                    </a:cubicBezTo>
                    <a:cubicBezTo>
                      <a:pt x="431866" y="484613"/>
                      <a:pt x="445453" y="478904"/>
                      <a:pt x="456179" y="468199"/>
                    </a:cubicBezTo>
                    <a:cubicBezTo>
                      <a:pt x="463330" y="461063"/>
                      <a:pt x="463330" y="461063"/>
                      <a:pt x="463330" y="461063"/>
                    </a:cubicBezTo>
                    <a:cubicBezTo>
                      <a:pt x="463330" y="546698"/>
                      <a:pt x="463330" y="546698"/>
                      <a:pt x="463330" y="546698"/>
                    </a:cubicBezTo>
                    <a:cubicBezTo>
                      <a:pt x="435442" y="571675"/>
                      <a:pt x="397543" y="587375"/>
                      <a:pt x="356783" y="587375"/>
                    </a:cubicBezTo>
                    <a:cubicBezTo>
                      <a:pt x="301007" y="587375"/>
                      <a:pt x="252382" y="559543"/>
                      <a:pt x="223779" y="516726"/>
                    </a:cubicBezTo>
                    <a:cubicBezTo>
                      <a:pt x="164427" y="498171"/>
                      <a:pt x="122238" y="443936"/>
                      <a:pt x="122238" y="378996"/>
                    </a:cubicBezTo>
                    <a:cubicBezTo>
                      <a:pt x="122238" y="306919"/>
                      <a:pt x="175869" y="246975"/>
                      <a:pt x="245946" y="237698"/>
                    </a:cubicBezTo>
                    <a:cubicBezTo>
                      <a:pt x="245946" y="231275"/>
                      <a:pt x="245231" y="226280"/>
                      <a:pt x="245231" y="220570"/>
                    </a:cubicBezTo>
                    <a:cubicBezTo>
                      <a:pt x="245231" y="130653"/>
                      <a:pt x="319599" y="57150"/>
                      <a:pt x="411129" y="57150"/>
                    </a:cubicBezTo>
                    <a:close/>
                    <a:moveTo>
                      <a:pt x="409496" y="0"/>
                    </a:moveTo>
                    <a:cubicBezTo>
                      <a:pt x="458107" y="0"/>
                      <a:pt x="504573" y="14972"/>
                      <a:pt x="543176" y="44204"/>
                    </a:cubicBezTo>
                    <a:cubicBezTo>
                      <a:pt x="566767" y="61315"/>
                      <a:pt x="586068" y="83417"/>
                      <a:pt x="601081" y="108371"/>
                    </a:cubicBezTo>
                    <a:cubicBezTo>
                      <a:pt x="601795" y="108371"/>
                      <a:pt x="602510" y="108371"/>
                      <a:pt x="603225" y="108371"/>
                    </a:cubicBezTo>
                    <a:cubicBezTo>
                      <a:pt x="631820" y="108371"/>
                      <a:pt x="658985" y="116214"/>
                      <a:pt x="681861" y="132612"/>
                    </a:cubicBezTo>
                    <a:cubicBezTo>
                      <a:pt x="697588" y="143307"/>
                      <a:pt x="711170" y="156853"/>
                      <a:pt x="721178" y="172539"/>
                    </a:cubicBezTo>
                    <a:cubicBezTo>
                      <a:pt x="724753" y="172539"/>
                      <a:pt x="729042" y="171826"/>
                      <a:pt x="732616" y="171826"/>
                    </a:cubicBezTo>
                    <a:cubicBezTo>
                      <a:pt x="787661" y="171826"/>
                      <a:pt x="836987" y="197493"/>
                      <a:pt x="868442" y="240984"/>
                    </a:cubicBezTo>
                    <a:cubicBezTo>
                      <a:pt x="937784" y="265225"/>
                      <a:pt x="984250" y="331531"/>
                      <a:pt x="984250" y="405680"/>
                    </a:cubicBezTo>
                    <a:cubicBezTo>
                      <a:pt x="984250" y="501931"/>
                      <a:pt x="906330" y="580358"/>
                      <a:pt x="808392" y="580358"/>
                    </a:cubicBezTo>
                    <a:cubicBezTo>
                      <a:pt x="808392" y="580358"/>
                      <a:pt x="808392" y="580358"/>
                      <a:pt x="806248" y="580358"/>
                    </a:cubicBezTo>
                    <a:cubicBezTo>
                      <a:pt x="777653" y="598895"/>
                      <a:pt x="744769" y="609589"/>
                      <a:pt x="711170" y="609589"/>
                    </a:cubicBezTo>
                    <a:cubicBezTo>
                      <a:pt x="691154" y="609589"/>
                      <a:pt x="672567" y="606024"/>
                      <a:pt x="654696" y="599608"/>
                    </a:cubicBezTo>
                    <a:cubicBezTo>
                      <a:pt x="629675" y="614580"/>
                      <a:pt x="601795" y="622423"/>
                      <a:pt x="573201" y="623849"/>
                    </a:cubicBezTo>
                    <a:cubicBezTo>
                      <a:pt x="573201" y="623849"/>
                      <a:pt x="573201" y="623849"/>
                      <a:pt x="573201" y="592478"/>
                    </a:cubicBezTo>
                    <a:cubicBezTo>
                      <a:pt x="601795" y="591052"/>
                      <a:pt x="628246" y="581071"/>
                      <a:pt x="651121" y="564672"/>
                    </a:cubicBezTo>
                    <a:cubicBezTo>
                      <a:pt x="669708" y="573228"/>
                      <a:pt x="690439" y="578219"/>
                      <a:pt x="711170" y="578219"/>
                    </a:cubicBezTo>
                    <a:cubicBezTo>
                      <a:pt x="741910" y="578219"/>
                      <a:pt x="771219" y="567524"/>
                      <a:pt x="795525" y="548987"/>
                    </a:cubicBezTo>
                    <a:cubicBezTo>
                      <a:pt x="795525" y="548987"/>
                      <a:pt x="795525" y="548987"/>
                      <a:pt x="808392" y="548987"/>
                    </a:cubicBezTo>
                    <a:cubicBezTo>
                      <a:pt x="888458" y="548987"/>
                      <a:pt x="953511" y="484820"/>
                      <a:pt x="953511" y="405680"/>
                    </a:cubicBezTo>
                    <a:cubicBezTo>
                      <a:pt x="953511" y="340800"/>
                      <a:pt x="909904" y="284475"/>
                      <a:pt x="848425" y="267364"/>
                    </a:cubicBezTo>
                    <a:cubicBezTo>
                      <a:pt x="824119" y="227437"/>
                      <a:pt x="780512" y="203196"/>
                      <a:pt x="732616" y="203196"/>
                    </a:cubicBezTo>
                    <a:cubicBezTo>
                      <a:pt x="723323" y="203196"/>
                      <a:pt x="713315" y="204622"/>
                      <a:pt x="703307" y="206761"/>
                    </a:cubicBezTo>
                    <a:cubicBezTo>
                      <a:pt x="687580" y="167548"/>
                      <a:pt x="648262" y="139742"/>
                      <a:pt x="603225" y="139742"/>
                    </a:cubicBezTo>
                    <a:cubicBezTo>
                      <a:pt x="596791" y="139742"/>
                      <a:pt x="590358" y="139742"/>
                      <a:pt x="583209" y="141168"/>
                    </a:cubicBezTo>
                    <a:cubicBezTo>
                      <a:pt x="570341" y="113362"/>
                      <a:pt x="549610" y="88408"/>
                      <a:pt x="524590" y="69158"/>
                    </a:cubicBezTo>
                    <a:cubicBezTo>
                      <a:pt x="490991" y="44204"/>
                      <a:pt x="450958" y="31371"/>
                      <a:pt x="409496" y="31371"/>
                    </a:cubicBezTo>
                    <a:cubicBezTo>
                      <a:pt x="305125" y="31371"/>
                      <a:pt x="220056" y="114075"/>
                      <a:pt x="218626" y="216743"/>
                    </a:cubicBezTo>
                    <a:cubicBezTo>
                      <a:pt x="186457" y="225298"/>
                      <a:pt x="159292" y="243123"/>
                      <a:pt x="137131" y="268077"/>
                    </a:cubicBezTo>
                    <a:cubicBezTo>
                      <a:pt x="109966" y="298734"/>
                      <a:pt x="94954" y="337948"/>
                      <a:pt x="94954" y="379300"/>
                    </a:cubicBezTo>
                    <a:cubicBezTo>
                      <a:pt x="94954" y="451310"/>
                      <a:pt x="139991" y="514051"/>
                      <a:pt x="206473" y="538292"/>
                    </a:cubicBezTo>
                    <a:cubicBezTo>
                      <a:pt x="240787" y="585348"/>
                      <a:pt x="295832" y="613154"/>
                      <a:pt x="355166" y="613154"/>
                    </a:cubicBezTo>
                    <a:cubicBezTo>
                      <a:pt x="393769" y="613154"/>
                      <a:pt x="430942" y="601034"/>
                      <a:pt x="461681" y="578932"/>
                    </a:cubicBezTo>
                    <a:cubicBezTo>
                      <a:pt x="461681" y="578932"/>
                      <a:pt x="461681" y="578932"/>
                      <a:pt x="461681" y="616006"/>
                    </a:cubicBezTo>
                    <a:cubicBezTo>
                      <a:pt x="429512" y="634543"/>
                      <a:pt x="393054" y="644525"/>
                      <a:pt x="355166" y="644525"/>
                    </a:cubicBezTo>
                    <a:cubicBezTo>
                      <a:pt x="290113" y="644525"/>
                      <a:pt x="227919" y="614580"/>
                      <a:pt x="186457" y="564672"/>
                    </a:cubicBezTo>
                    <a:cubicBezTo>
                      <a:pt x="152143" y="549700"/>
                      <a:pt x="122119" y="525459"/>
                      <a:pt x="99958" y="494801"/>
                    </a:cubicBezTo>
                    <a:cubicBezTo>
                      <a:pt x="76367" y="460579"/>
                      <a:pt x="63500" y="420652"/>
                      <a:pt x="63500" y="379300"/>
                    </a:cubicBezTo>
                    <a:cubicBezTo>
                      <a:pt x="63500" y="330818"/>
                      <a:pt x="81371" y="283762"/>
                      <a:pt x="113541" y="247401"/>
                    </a:cubicBezTo>
                    <a:cubicBezTo>
                      <a:pt x="134272" y="223872"/>
                      <a:pt x="160007" y="205335"/>
                      <a:pt x="188602" y="193928"/>
                    </a:cubicBezTo>
                    <a:cubicBezTo>
                      <a:pt x="194321" y="144020"/>
                      <a:pt x="217196" y="98390"/>
                      <a:pt x="253655" y="62741"/>
                    </a:cubicBezTo>
                    <a:cubicBezTo>
                      <a:pt x="295117" y="22102"/>
                      <a:pt x="350877" y="0"/>
                      <a:pt x="409496" y="0"/>
                    </a:cubicBezTo>
                    <a:close/>
                  </a:path>
                </a:pathLst>
              </a:custGeom>
              <a:solidFill>
                <a:srgbClr val="FFFFFF"/>
              </a:solidFill>
              <a:ln>
                <a:noFill/>
              </a:ln>
            </p:spPr>
            <p:txBody>
              <a:bodyPr vert="horz" wrap="square" lIns="27432" tIns="13716" rIns="27432" bIns="13716" numCol="1" anchor="t" anchorCtr="0" compatLnSpc="1">
                <a:prstTxWarp prst="textNoShape">
                  <a:avLst/>
                </a:prstTxWarp>
                <a:noAutofit/>
              </a:bodyPr>
              <a:lstStyle/>
              <a:p>
                <a:endParaRPr lang="en-US" dirty="0">
                  <a:solidFill>
                    <a:srgbClr val="575757"/>
                  </a:solidFill>
                </a:endParaRPr>
              </a:p>
            </p:txBody>
          </p:sp>
        </p:grpSp>
        <p:grpSp>
          <p:nvGrpSpPr>
            <p:cNvPr id="106" name="Group 105">
              <a:extLst>
                <a:ext uri="{FF2B5EF4-FFF2-40B4-BE49-F238E27FC236}">
                  <a16:creationId xmlns:a16="http://schemas.microsoft.com/office/drawing/2014/main" id="{D3137488-828E-4B8D-9293-09EC57EA6891}"/>
                </a:ext>
              </a:extLst>
            </p:cNvPr>
            <p:cNvGrpSpPr>
              <a:grpSpLocks noChangeAspect="1"/>
            </p:cNvGrpSpPr>
            <p:nvPr/>
          </p:nvGrpSpPr>
          <p:grpSpPr>
            <a:xfrm>
              <a:off x="18989449" y="1547458"/>
              <a:ext cx="720763" cy="720763"/>
              <a:chOff x="5273675" y="2606675"/>
              <a:chExt cx="1644650" cy="1644650"/>
            </a:xfrm>
          </p:grpSpPr>
          <p:sp>
            <p:nvSpPr>
              <p:cNvPr id="221" name="AutoShape 3">
                <a:extLst>
                  <a:ext uri="{FF2B5EF4-FFF2-40B4-BE49-F238E27FC236}">
                    <a16:creationId xmlns:a16="http://schemas.microsoft.com/office/drawing/2014/main" id="{95EECFAB-DB34-4C0A-9F27-D21EBFA70419}"/>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0175" tIns="15088" rIns="30175" bIns="15088" numCol="1" anchor="t" anchorCtr="0" compatLnSpc="1">
                <a:prstTxWarp prst="textNoShape">
                  <a:avLst/>
                </a:prstTxWarp>
              </a:bodyPr>
              <a:lstStyle/>
              <a:p>
                <a:endParaRPr lang="en-US" dirty="0">
                  <a:solidFill>
                    <a:srgbClr val="575757"/>
                  </a:solidFill>
                </a:endParaRPr>
              </a:p>
            </p:txBody>
          </p:sp>
          <p:sp>
            <p:nvSpPr>
              <p:cNvPr id="222" name="Freeform 17">
                <a:extLst>
                  <a:ext uri="{FF2B5EF4-FFF2-40B4-BE49-F238E27FC236}">
                    <a16:creationId xmlns:a16="http://schemas.microsoft.com/office/drawing/2014/main" id="{AB00D8A2-0209-4E72-B2DD-41219A58CA23}"/>
                  </a:ext>
                </a:extLst>
              </p:cNvPr>
              <p:cNvSpPr>
                <a:spLocks/>
              </p:cNvSpPr>
              <p:nvPr/>
            </p:nvSpPr>
            <p:spPr bwMode="auto">
              <a:xfrm>
                <a:off x="5511836" y="2844966"/>
                <a:ext cx="1168335" cy="1168079"/>
              </a:xfrm>
              <a:custGeom>
                <a:avLst/>
                <a:gdLst>
                  <a:gd name="connsiteX0" fmla="*/ 196471 w 1168335"/>
                  <a:gd name="connsiteY0" fmla="*/ 745959 h 1168079"/>
                  <a:gd name="connsiteX1" fmla="*/ 196471 w 1168335"/>
                  <a:gd name="connsiteY1" fmla="*/ 891297 h 1168079"/>
                  <a:gd name="connsiteX2" fmla="*/ 197186 w 1168335"/>
                  <a:gd name="connsiteY2" fmla="*/ 899846 h 1168079"/>
                  <a:gd name="connsiteX3" fmla="*/ 184314 w 1168335"/>
                  <a:gd name="connsiteY3" fmla="*/ 911957 h 1168079"/>
                  <a:gd name="connsiteX4" fmla="*/ 129967 w 1168335"/>
                  <a:gd name="connsiteY4" fmla="*/ 966815 h 1168079"/>
                  <a:gd name="connsiteX5" fmla="*/ 129967 w 1168335"/>
                  <a:gd name="connsiteY5" fmla="*/ 1038059 h 1168079"/>
                  <a:gd name="connsiteX6" fmla="*/ 201476 w 1168335"/>
                  <a:gd name="connsiteY6" fmla="*/ 1038059 h 1168079"/>
                  <a:gd name="connsiteX7" fmla="*/ 257968 w 1168335"/>
                  <a:gd name="connsiteY7" fmla="*/ 981776 h 1168079"/>
                  <a:gd name="connsiteX8" fmla="*/ 267264 w 1168335"/>
                  <a:gd name="connsiteY8" fmla="*/ 972515 h 1168079"/>
                  <a:gd name="connsiteX9" fmla="*/ 278706 w 1168335"/>
                  <a:gd name="connsiteY9" fmla="*/ 973227 h 1168079"/>
                  <a:gd name="connsiteX10" fmla="*/ 360941 w 1168335"/>
                  <a:gd name="connsiteY10" fmla="*/ 891297 h 1168079"/>
                  <a:gd name="connsiteX11" fmla="*/ 360941 w 1168335"/>
                  <a:gd name="connsiteY11" fmla="*/ 745959 h 1168079"/>
                  <a:gd name="connsiteX12" fmla="*/ 395266 w 1168335"/>
                  <a:gd name="connsiteY12" fmla="*/ 773032 h 1168079"/>
                  <a:gd name="connsiteX13" fmla="*/ 395266 w 1168335"/>
                  <a:gd name="connsiteY13" fmla="*/ 1006712 h 1168079"/>
                  <a:gd name="connsiteX14" fmla="*/ 338773 w 1168335"/>
                  <a:gd name="connsiteY14" fmla="*/ 1064419 h 1168079"/>
                  <a:gd name="connsiteX15" fmla="*/ 282996 w 1168335"/>
                  <a:gd name="connsiteY15" fmla="*/ 1119990 h 1168079"/>
                  <a:gd name="connsiteX16" fmla="*/ 47732 w 1168335"/>
                  <a:gd name="connsiteY16" fmla="*/ 1119990 h 1168079"/>
                  <a:gd name="connsiteX17" fmla="*/ 47732 w 1168335"/>
                  <a:gd name="connsiteY17" fmla="*/ 885597 h 1168079"/>
                  <a:gd name="connsiteX18" fmla="*/ 103509 w 1168335"/>
                  <a:gd name="connsiteY18" fmla="*/ 830027 h 1168079"/>
                  <a:gd name="connsiteX19" fmla="*/ 161431 w 1168335"/>
                  <a:gd name="connsiteY19" fmla="*/ 773032 h 1168079"/>
                  <a:gd name="connsiteX20" fmla="*/ 196471 w 1168335"/>
                  <a:gd name="connsiteY20" fmla="*/ 745959 h 1168079"/>
                  <a:gd name="connsiteX21" fmla="*/ 405362 w 1168335"/>
                  <a:gd name="connsiteY21" fmla="*/ 449097 h 1168079"/>
                  <a:gd name="connsiteX22" fmla="*/ 482565 w 1168335"/>
                  <a:gd name="connsiteY22" fmla="*/ 545763 h 1168079"/>
                  <a:gd name="connsiteX23" fmla="*/ 408936 w 1168335"/>
                  <a:gd name="connsiteY23" fmla="*/ 619515 h 1168079"/>
                  <a:gd name="connsiteX24" fmla="*/ 361042 w 1168335"/>
                  <a:gd name="connsiteY24" fmla="*/ 653885 h 1168079"/>
                  <a:gd name="connsiteX25" fmla="*/ 361042 w 1168335"/>
                  <a:gd name="connsiteY25" fmla="*/ 500652 h 1168079"/>
                  <a:gd name="connsiteX26" fmla="*/ 360327 w 1168335"/>
                  <a:gd name="connsiteY26" fmla="*/ 494924 h 1168079"/>
                  <a:gd name="connsiteX27" fmla="*/ 405362 w 1168335"/>
                  <a:gd name="connsiteY27" fmla="*/ 449097 h 1168079"/>
                  <a:gd name="connsiteX28" fmla="*/ 278570 w 1168335"/>
                  <a:gd name="connsiteY28" fmla="*/ 449097 h 1168079"/>
                  <a:gd name="connsiteX29" fmla="*/ 328577 w 1168335"/>
                  <a:gd name="connsiteY29" fmla="*/ 499810 h 1168079"/>
                  <a:gd name="connsiteX30" fmla="*/ 328577 w 1168335"/>
                  <a:gd name="connsiteY30" fmla="*/ 831226 h 1168079"/>
                  <a:gd name="connsiteX31" fmla="*/ 328577 w 1168335"/>
                  <a:gd name="connsiteY31" fmla="*/ 890510 h 1168079"/>
                  <a:gd name="connsiteX32" fmla="*/ 278570 w 1168335"/>
                  <a:gd name="connsiteY32" fmla="*/ 941222 h 1168079"/>
                  <a:gd name="connsiteX33" fmla="*/ 228564 w 1168335"/>
                  <a:gd name="connsiteY33" fmla="*/ 890510 h 1168079"/>
                  <a:gd name="connsiteX34" fmla="*/ 228564 w 1168335"/>
                  <a:gd name="connsiteY34" fmla="*/ 833369 h 1168079"/>
                  <a:gd name="connsiteX35" fmla="*/ 228564 w 1168335"/>
                  <a:gd name="connsiteY35" fmla="*/ 499810 h 1168079"/>
                  <a:gd name="connsiteX36" fmla="*/ 278570 w 1168335"/>
                  <a:gd name="connsiteY36" fmla="*/ 449097 h 1168079"/>
                  <a:gd name="connsiteX37" fmla="*/ 493744 w 1168335"/>
                  <a:gd name="connsiteY37" fmla="*/ 360197 h 1168079"/>
                  <a:gd name="connsiteX38" fmla="*/ 499468 w 1168335"/>
                  <a:gd name="connsiteY38" fmla="*/ 360906 h 1168079"/>
                  <a:gd name="connsiteX39" fmla="*/ 654014 w 1168335"/>
                  <a:gd name="connsiteY39" fmla="*/ 360906 h 1168079"/>
                  <a:gd name="connsiteX40" fmla="*/ 621102 w 1168335"/>
                  <a:gd name="connsiteY40" fmla="*/ 406263 h 1168079"/>
                  <a:gd name="connsiteX41" fmla="*/ 547406 w 1168335"/>
                  <a:gd name="connsiteY41" fmla="*/ 479260 h 1168079"/>
                  <a:gd name="connsiteX42" fmla="*/ 450814 w 1168335"/>
                  <a:gd name="connsiteY42" fmla="*/ 402720 h 1168079"/>
                  <a:gd name="connsiteX43" fmla="*/ 493744 w 1168335"/>
                  <a:gd name="connsiteY43" fmla="*/ 360197 h 1168079"/>
                  <a:gd name="connsiteX44" fmla="*/ 233819 w 1168335"/>
                  <a:gd name="connsiteY44" fmla="*/ 296697 h 1168079"/>
                  <a:gd name="connsiteX45" fmla="*/ 328577 w 1168335"/>
                  <a:gd name="connsiteY45" fmla="*/ 375100 h 1168079"/>
                  <a:gd name="connsiteX46" fmla="*/ 284404 w 1168335"/>
                  <a:gd name="connsiteY46" fmla="*/ 418578 h 1168079"/>
                  <a:gd name="connsiteX47" fmla="*/ 278704 w 1168335"/>
                  <a:gd name="connsiteY47" fmla="*/ 418578 h 1168079"/>
                  <a:gd name="connsiteX48" fmla="*/ 196771 w 1168335"/>
                  <a:gd name="connsiteY48" fmla="*/ 500545 h 1168079"/>
                  <a:gd name="connsiteX49" fmla="*/ 196771 w 1168335"/>
                  <a:gd name="connsiteY49" fmla="*/ 645947 h 1168079"/>
                  <a:gd name="connsiteX50" fmla="*/ 161148 w 1168335"/>
                  <a:gd name="connsiteY50" fmla="*/ 618862 h 1168079"/>
                  <a:gd name="connsiteX51" fmla="*/ 161148 w 1168335"/>
                  <a:gd name="connsiteY51" fmla="*/ 370111 h 1168079"/>
                  <a:gd name="connsiteX52" fmla="*/ 233819 w 1168335"/>
                  <a:gd name="connsiteY52" fmla="*/ 296697 h 1168079"/>
                  <a:gd name="connsiteX53" fmla="*/ 500013 w 1168335"/>
                  <a:gd name="connsiteY53" fmla="*/ 228434 h 1168079"/>
                  <a:gd name="connsiteX54" fmla="*/ 557237 w 1168335"/>
                  <a:gd name="connsiteY54" fmla="*/ 228434 h 1168079"/>
                  <a:gd name="connsiteX55" fmla="*/ 890566 w 1168335"/>
                  <a:gd name="connsiteY55" fmla="*/ 228434 h 1168079"/>
                  <a:gd name="connsiteX56" fmla="*/ 941352 w 1168335"/>
                  <a:gd name="connsiteY56" fmla="*/ 278440 h 1168079"/>
                  <a:gd name="connsiteX57" fmla="*/ 890566 w 1168335"/>
                  <a:gd name="connsiteY57" fmla="*/ 328447 h 1168079"/>
                  <a:gd name="connsiteX58" fmla="*/ 559383 w 1168335"/>
                  <a:gd name="connsiteY58" fmla="*/ 328447 h 1168079"/>
                  <a:gd name="connsiteX59" fmla="*/ 500013 w 1168335"/>
                  <a:gd name="connsiteY59" fmla="*/ 328447 h 1168079"/>
                  <a:gd name="connsiteX60" fmla="*/ 449227 w 1168335"/>
                  <a:gd name="connsiteY60" fmla="*/ 278440 h 1168079"/>
                  <a:gd name="connsiteX61" fmla="*/ 500013 w 1168335"/>
                  <a:gd name="connsiteY61" fmla="*/ 228434 h 1168079"/>
                  <a:gd name="connsiteX62" fmla="*/ 496992 w 1168335"/>
                  <a:gd name="connsiteY62" fmla="*/ 106011 h 1168079"/>
                  <a:gd name="connsiteX63" fmla="*/ 621604 w 1168335"/>
                  <a:gd name="connsiteY63" fmla="*/ 157843 h 1168079"/>
                  <a:gd name="connsiteX64" fmla="*/ 650840 w 1168335"/>
                  <a:gd name="connsiteY64" fmla="*/ 196316 h 1168079"/>
                  <a:gd name="connsiteX65" fmla="*/ 500379 w 1168335"/>
                  <a:gd name="connsiteY65" fmla="*/ 196316 h 1168079"/>
                  <a:gd name="connsiteX66" fmla="*/ 418374 w 1168335"/>
                  <a:gd name="connsiteY66" fmla="*/ 278249 h 1168079"/>
                  <a:gd name="connsiteX67" fmla="*/ 419087 w 1168335"/>
                  <a:gd name="connsiteY67" fmla="*/ 283949 h 1168079"/>
                  <a:gd name="connsiteX68" fmla="*/ 378441 w 1168335"/>
                  <a:gd name="connsiteY68" fmla="*/ 325272 h 1168079"/>
                  <a:gd name="connsiteX69" fmla="*/ 300002 w 1168335"/>
                  <a:gd name="connsiteY69" fmla="*/ 230514 h 1168079"/>
                  <a:gd name="connsiteX70" fmla="*/ 373450 w 1168335"/>
                  <a:gd name="connsiteY70" fmla="*/ 157843 h 1168079"/>
                  <a:gd name="connsiteX71" fmla="*/ 496992 w 1168335"/>
                  <a:gd name="connsiteY71" fmla="*/ 106011 h 1168079"/>
                  <a:gd name="connsiteX72" fmla="*/ 1003047 w 1168335"/>
                  <a:gd name="connsiteY72" fmla="*/ 0 h 1168079"/>
                  <a:gd name="connsiteX73" fmla="*/ 1120625 w 1168335"/>
                  <a:gd name="connsiteY73" fmla="*/ 48124 h 1168079"/>
                  <a:gd name="connsiteX74" fmla="*/ 1120625 w 1168335"/>
                  <a:gd name="connsiteY74" fmla="*/ 282685 h 1168079"/>
                  <a:gd name="connsiteX75" fmla="*/ 1064874 w 1168335"/>
                  <a:gd name="connsiteY75" fmla="*/ 338295 h 1168079"/>
                  <a:gd name="connsiteX76" fmla="*/ 1006978 w 1168335"/>
                  <a:gd name="connsiteY76" fmla="*/ 395331 h 1168079"/>
                  <a:gd name="connsiteX77" fmla="*/ 773250 w 1168335"/>
                  <a:gd name="connsiteY77" fmla="*/ 395331 h 1168079"/>
                  <a:gd name="connsiteX78" fmla="*/ 746089 w 1168335"/>
                  <a:gd name="connsiteY78" fmla="*/ 360396 h 1168079"/>
                  <a:gd name="connsiteX79" fmla="*/ 891186 w 1168335"/>
                  <a:gd name="connsiteY79" fmla="*/ 360396 h 1168079"/>
                  <a:gd name="connsiteX80" fmla="*/ 973384 w 1168335"/>
                  <a:gd name="connsiteY80" fmla="*/ 278407 h 1168079"/>
                  <a:gd name="connsiteX81" fmla="*/ 972669 w 1168335"/>
                  <a:gd name="connsiteY81" fmla="*/ 267000 h 1168079"/>
                  <a:gd name="connsiteX82" fmla="*/ 981961 w 1168335"/>
                  <a:gd name="connsiteY82" fmla="*/ 257731 h 1168079"/>
                  <a:gd name="connsiteX83" fmla="*/ 1038427 w 1168335"/>
                  <a:gd name="connsiteY83" fmla="*/ 201408 h 1168079"/>
                  <a:gd name="connsiteX84" fmla="*/ 1038427 w 1168335"/>
                  <a:gd name="connsiteY84" fmla="*/ 130113 h 1168079"/>
                  <a:gd name="connsiteX85" fmla="*/ 966951 w 1168335"/>
                  <a:gd name="connsiteY85" fmla="*/ 130113 h 1168079"/>
                  <a:gd name="connsiteX86" fmla="*/ 911914 w 1168335"/>
                  <a:gd name="connsiteY86" fmla="*/ 184298 h 1168079"/>
                  <a:gd name="connsiteX87" fmla="*/ 899763 w 1168335"/>
                  <a:gd name="connsiteY87" fmla="*/ 197131 h 1168079"/>
                  <a:gd name="connsiteX88" fmla="*/ 891186 w 1168335"/>
                  <a:gd name="connsiteY88" fmla="*/ 196418 h 1168079"/>
                  <a:gd name="connsiteX89" fmla="*/ 746089 w 1168335"/>
                  <a:gd name="connsiteY89" fmla="*/ 196418 h 1168079"/>
                  <a:gd name="connsiteX90" fmla="*/ 773250 w 1168335"/>
                  <a:gd name="connsiteY90" fmla="*/ 161483 h 1168079"/>
                  <a:gd name="connsiteX91" fmla="*/ 829717 w 1168335"/>
                  <a:gd name="connsiteY91" fmla="*/ 103734 h 1168079"/>
                  <a:gd name="connsiteX92" fmla="*/ 885468 w 1168335"/>
                  <a:gd name="connsiteY92" fmla="*/ 48124 h 1168079"/>
                  <a:gd name="connsiteX93" fmla="*/ 1003047 w 1168335"/>
                  <a:gd name="connsiteY93" fmla="*/ 0 h 116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68335" h="1168079">
                    <a:moveTo>
                      <a:pt x="196471" y="745959"/>
                    </a:moveTo>
                    <a:cubicBezTo>
                      <a:pt x="196471" y="891297"/>
                      <a:pt x="196471" y="891297"/>
                      <a:pt x="196471" y="891297"/>
                    </a:cubicBezTo>
                    <a:cubicBezTo>
                      <a:pt x="196471" y="894146"/>
                      <a:pt x="196471" y="896996"/>
                      <a:pt x="197186" y="899846"/>
                    </a:cubicBezTo>
                    <a:cubicBezTo>
                      <a:pt x="184314" y="911957"/>
                      <a:pt x="184314" y="911957"/>
                      <a:pt x="184314" y="911957"/>
                    </a:cubicBezTo>
                    <a:cubicBezTo>
                      <a:pt x="129967" y="966815"/>
                      <a:pt x="129967" y="966815"/>
                      <a:pt x="129967" y="966815"/>
                    </a:cubicBezTo>
                    <a:cubicBezTo>
                      <a:pt x="109945" y="986764"/>
                      <a:pt x="109945" y="1018823"/>
                      <a:pt x="129967" y="1038059"/>
                    </a:cubicBezTo>
                    <a:cubicBezTo>
                      <a:pt x="149275" y="1058007"/>
                      <a:pt x="181454" y="1058007"/>
                      <a:pt x="201476" y="1038059"/>
                    </a:cubicBezTo>
                    <a:cubicBezTo>
                      <a:pt x="257968" y="981776"/>
                      <a:pt x="257968" y="981776"/>
                      <a:pt x="257968" y="981776"/>
                    </a:cubicBezTo>
                    <a:cubicBezTo>
                      <a:pt x="267264" y="972515"/>
                      <a:pt x="267264" y="972515"/>
                      <a:pt x="267264" y="972515"/>
                    </a:cubicBezTo>
                    <a:cubicBezTo>
                      <a:pt x="270840" y="972515"/>
                      <a:pt x="275130" y="973227"/>
                      <a:pt x="278706" y="973227"/>
                    </a:cubicBezTo>
                    <a:cubicBezTo>
                      <a:pt x="323757" y="973227"/>
                      <a:pt x="360941" y="936180"/>
                      <a:pt x="360941" y="891297"/>
                    </a:cubicBezTo>
                    <a:cubicBezTo>
                      <a:pt x="360941" y="745959"/>
                      <a:pt x="360941" y="745959"/>
                      <a:pt x="360941" y="745959"/>
                    </a:cubicBezTo>
                    <a:cubicBezTo>
                      <a:pt x="373098" y="753084"/>
                      <a:pt x="385254" y="761633"/>
                      <a:pt x="395266" y="773032"/>
                    </a:cubicBezTo>
                    <a:cubicBezTo>
                      <a:pt x="460339" y="837151"/>
                      <a:pt x="460339" y="942592"/>
                      <a:pt x="395266" y="1006712"/>
                    </a:cubicBezTo>
                    <a:cubicBezTo>
                      <a:pt x="338773" y="1064419"/>
                      <a:pt x="338773" y="1064419"/>
                      <a:pt x="338773" y="1064419"/>
                    </a:cubicBezTo>
                    <a:cubicBezTo>
                      <a:pt x="282996" y="1119990"/>
                      <a:pt x="282996" y="1119990"/>
                      <a:pt x="282996" y="1119990"/>
                    </a:cubicBezTo>
                    <a:cubicBezTo>
                      <a:pt x="217923" y="1184109"/>
                      <a:pt x="112805" y="1184109"/>
                      <a:pt x="47732" y="1119990"/>
                    </a:cubicBezTo>
                    <a:cubicBezTo>
                      <a:pt x="-15911" y="1055158"/>
                      <a:pt x="-15911" y="950429"/>
                      <a:pt x="47732" y="885597"/>
                    </a:cubicBezTo>
                    <a:cubicBezTo>
                      <a:pt x="103509" y="830027"/>
                      <a:pt x="103509" y="830027"/>
                      <a:pt x="103509" y="830027"/>
                    </a:cubicBezTo>
                    <a:cubicBezTo>
                      <a:pt x="161431" y="773032"/>
                      <a:pt x="161431" y="773032"/>
                      <a:pt x="161431" y="773032"/>
                    </a:cubicBezTo>
                    <a:cubicBezTo>
                      <a:pt x="172157" y="762345"/>
                      <a:pt x="183599" y="753084"/>
                      <a:pt x="196471" y="745959"/>
                    </a:cubicBezTo>
                    <a:close/>
                    <a:moveTo>
                      <a:pt x="405362" y="449097"/>
                    </a:moveTo>
                    <a:cubicBezTo>
                      <a:pt x="405362" y="449097"/>
                      <a:pt x="405362" y="449097"/>
                      <a:pt x="482565" y="545763"/>
                    </a:cubicBezTo>
                    <a:cubicBezTo>
                      <a:pt x="482565" y="545763"/>
                      <a:pt x="482565" y="545763"/>
                      <a:pt x="408936" y="619515"/>
                    </a:cubicBezTo>
                    <a:cubicBezTo>
                      <a:pt x="394639" y="633836"/>
                      <a:pt x="378913" y="645293"/>
                      <a:pt x="361042" y="653885"/>
                    </a:cubicBezTo>
                    <a:cubicBezTo>
                      <a:pt x="361042" y="653885"/>
                      <a:pt x="361042" y="653885"/>
                      <a:pt x="361042" y="500652"/>
                    </a:cubicBezTo>
                    <a:cubicBezTo>
                      <a:pt x="361042" y="498504"/>
                      <a:pt x="361042" y="497072"/>
                      <a:pt x="360327" y="494924"/>
                    </a:cubicBezTo>
                    <a:cubicBezTo>
                      <a:pt x="360327" y="494924"/>
                      <a:pt x="360327" y="494924"/>
                      <a:pt x="405362" y="449097"/>
                    </a:cubicBezTo>
                    <a:close/>
                    <a:moveTo>
                      <a:pt x="278570" y="449097"/>
                    </a:moveTo>
                    <a:cubicBezTo>
                      <a:pt x="306039" y="449097"/>
                      <a:pt x="328577" y="471953"/>
                      <a:pt x="328577" y="499810"/>
                    </a:cubicBezTo>
                    <a:cubicBezTo>
                      <a:pt x="328577" y="831226"/>
                      <a:pt x="328577" y="831226"/>
                      <a:pt x="328577" y="831226"/>
                    </a:cubicBezTo>
                    <a:cubicBezTo>
                      <a:pt x="328577" y="890510"/>
                      <a:pt x="328577" y="890510"/>
                      <a:pt x="328577" y="890510"/>
                    </a:cubicBezTo>
                    <a:cubicBezTo>
                      <a:pt x="328577" y="918366"/>
                      <a:pt x="306039" y="941222"/>
                      <a:pt x="278570" y="941222"/>
                    </a:cubicBezTo>
                    <a:cubicBezTo>
                      <a:pt x="251102" y="941222"/>
                      <a:pt x="228564" y="918366"/>
                      <a:pt x="228564" y="890510"/>
                    </a:cubicBezTo>
                    <a:cubicBezTo>
                      <a:pt x="228564" y="833369"/>
                      <a:pt x="228564" y="833369"/>
                      <a:pt x="228564" y="833369"/>
                    </a:cubicBezTo>
                    <a:cubicBezTo>
                      <a:pt x="228564" y="499810"/>
                      <a:pt x="228564" y="499810"/>
                      <a:pt x="228564" y="499810"/>
                    </a:cubicBezTo>
                    <a:cubicBezTo>
                      <a:pt x="228564" y="471953"/>
                      <a:pt x="251102" y="449097"/>
                      <a:pt x="278570" y="449097"/>
                    </a:cubicBezTo>
                    <a:close/>
                    <a:moveTo>
                      <a:pt x="493744" y="360197"/>
                    </a:moveTo>
                    <a:cubicBezTo>
                      <a:pt x="495890" y="360906"/>
                      <a:pt x="497321" y="360906"/>
                      <a:pt x="499468" y="360906"/>
                    </a:cubicBezTo>
                    <a:cubicBezTo>
                      <a:pt x="499468" y="360906"/>
                      <a:pt x="499468" y="360906"/>
                      <a:pt x="654014" y="360906"/>
                    </a:cubicBezTo>
                    <a:cubicBezTo>
                      <a:pt x="645428" y="377206"/>
                      <a:pt x="634696" y="392798"/>
                      <a:pt x="621102" y="406263"/>
                    </a:cubicBezTo>
                    <a:cubicBezTo>
                      <a:pt x="621102" y="406263"/>
                      <a:pt x="621102" y="406263"/>
                      <a:pt x="547406" y="479260"/>
                    </a:cubicBezTo>
                    <a:cubicBezTo>
                      <a:pt x="547406" y="479260"/>
                      <a:pt x="547406" y="479260"/>
                      <a:pt x="450814" y="402720"/>
                    </a:cubicBezTo>
                    <a:cubicBezTo>
                      <a:pt x="450814" y="402720"/>
                      <a:pt x="450814" y="402720"/>
                      <a:pt x="493744" y="360197"/>
                    </a:cubicBezTo>
                    <a:close/>
                    <a:moveTo>
                      <a:pt x="233819" y="296697"/>
                    </a:moveTo>
                    <a:cubicBezTo>
                      <a:pt x="233819" y="296697"/>
                      <a:pt x="233819" y="296697"/>
                      <a:pt x="328577" y="375100"/>
                    </a:cubicBezTo>
                    <a:cubicBezTo>
                      <a:pt x="328577" y="375100"/>
                      <a:pt x="328577" y="375100"/>
                      <a:pt x="284404" y="418578"/>
                    </a:cubicBezTo>
                    <a:cubicBezTo>
                      <a:pt x="282979" y="418578"/>
                      <a:pt x="280842" y="418578"/>
                      <a:pt x="278704" y="418578"/>
                    </a:cubicBezTo>
                    <a:cubicBezTo>
                      <a:pt x="233107" y="418578"/>
                      <a:pt x="196771" y="455642"/>
                      <a:pt x="196771" y="500545"/>
                    </a:cubicBezTo>
                    <a:cubicBezTo>
                      <a:pt x="196771" y="500545"/>
                      <a:pt x="196771" y="500545"/>
                      <a:pt x="196771" y="645947"/>
                    </a:cubicBezTo>
                    <a:cubicBezTo>
                      <a:pt x="183947" y="638820"/>
                      <a:pt x="171835" y="629554"/>
                      <a:pt x="161148" y="618862"/>
                    </a:cubicBezTo>
                    <a:cubicBezTo>
                      <a:pt x="92039" y="549725"/>
                      <a:pt x="92039" y="438535"/>
                      <a:pt x="161148" y="370111"/>
                    </a:cubicBezTo>
                    <a:cubicBezTo>
                      <a:pt x="161148" y="370111"/>
                      <a:pt x="161148" y="370111"/>
                      <a:pt x="233819" y="296697"/>
                    </a:cubicBezTo>
                    <a:close/>
                    <a:moveTo>
                      <a:pt x="500013" y="228434"/>
                    </a:moveTo>
                    <a:cubicBezTo>
                      <a:pt x="500013" y="228434"/>
                      <a:pt x="500013" y="228434"/>
                      <a:pt x="557237" y="228434"/>
                    </a:cubicBezTo>
                    <a:cubicBezTo>
                      <a:pt x="557237" y="228434"/>
                      <a:pt x="557237" y="228434"/>
                      <a:pt x="890566" y="228434"/>
                    </a:cubicBezTo>
                    <a:cubicBezTo>
                      <a:pt x="918463" y="228434"/>
                      <a:pt x="941352" y="250972"/>
                      <a:pt x="941352" y="278440"/>
                    </a:cubicBezTo>
                    <a:cubicBezTo>
                      <a:pt x="941352" y="305909"/>
                      <a:pt x="918463" y="328447"/>
                      <a:pt x="890566" y="328447"/>
                    </a:cubicBezTo>
                    <a:cubicBezTo>
                      <a:pt x="890566" y="328447"/>
                      <a:pt x="890566" y="328447"/>
                      <a:pt x="559383" y="328447"/>
                    </a:cubicBezTo>
                    <a:cubicBezTo>
                      <a:pt x="559383" y="328447"/>
                      <a:pt x="559383" y="328447"/>
                      <a:pt x="500013" y="328447"/>
                    </a:cubicBezTo>
                    <a:cubicBezTo>
                      <a:pt x="472117" y="328447"/>
                      <a:pt x="449227" y="305909"/>
                      <a:pt x="449227" y="278440"/>
                    </a:cubicBezTo>
                    <a:cubicBezTo>
                      <a:pt x="449227" y="250972"/>
                      <a:pt x="472117" y="228434"/>
                      <a:pt x="500013" y="228434"/>
                    </a:cubicBezTo>
                    <a:close/>
                    <a:moveTo>
                      <a:pt x="496992" y="106011"/>
                    </a:moveTo>
                    <a:cubicBezTo>
                      <a:pt x="541916" y="106011"/>
                      <a:pt x="587019" y="123288"/>
                      <a:pt x="621604" y="157843"/>
                    </a:cubicBezTo>
                    <a:cubicBezTo>
                      <a:pt x="633013" y="169242"/>
                      <a:pt x="642996" y="182067"/>
                      <a:pt x="650840" y="196316"/>
                    </a:cubicBezTo>
                    <a:cubicBezTo>
                      <a:pt x="650840" y="196316"/>
                      <a:pt x="650840" y="196316"/>
                      <a:pt x="500379" y="196316"/>
                    </a:cubicBezTo>
                    <a:cubicBezTo>
                      <a:pt x="455455" y="196316"/>
                      <a:pt x="418374" y="232652"/>
                      <a:pt x="418374" y="278249"/>
                    </a:cubicBezTo>
                    <a:cubicBezTo>
                      <a:pt x="418374" y="280387"/>
                      <a:pt x="418374" y="282524"/>
                      <a:pt x="419087" y="283949"/>
                    </a:cubicBezTo>
                    <a:cubicBezTo>
                      <a:pt x="419087" y="283949"/>
                      <a:pt x="419087" y="283949"/>
                      <a:pt x="378441" y="325272"/>
                    </a:cubicBezTo>
                    <a:cubicBezTo>
                      <a:pt x="378441" y="325272"/>
                      <a:pt x="378441" y="325272"/>
                      <a:pt x="300002" y="230514"/>
                    </a:cubicBezTo>
                    <a:cubicBezTo>
                      <a:pt x="300002" y="230514"/>
                      <a:pt x="300002" y="230514"/>
                      <a:pt x="373450" y="157843"/>
                    </a:cubicBezTo>
                    <a:cubicBezTo>
                      <a:pt x="407321" y="123288"/>
                      <a:pt x="452068" y="106011"/>
                      <a:pt x="496992" y="106011"/>
                    </a:cubicBezTo>
                    <a:close/>
                    <a:moveTo>
                      <a:pt x="1003047" y="0"/>
                    </a:moveTo>
                    <a:cubicBezTo>
                      <a:pt x="1045575" y="0"/>
                      <a:pt x="1088104" y="16042"/>
                      <a:pt x="1120625" y="48124"/>
                    </a:cubicBezTo>
                    <a:cubicBezTo>
                      <a:pt x="1184239" y="113003"/>
                      <a:pt x="1184239" y="217806"/>
                      <a:pt x="1120625" y="282685"/>
                    </a:cubicBezTo>
                    <a:cubicBezTo>
                      <a:pt x="1120625" y="282685"/>
                      <a:pt x="1120625" y="282685"/>
                      <a:pt x="1064874" y="338295"/>
                    </a:cubicBezTo>
                    <a:cubicBezTo>
                      <a:pt x="1064874" y="338295"/>
                      <a:pt x="1064874" y="338295"/>
                      <a:pt x="1006978" y="395331"/>
                    </a:cubicBezTo>
                    <a:cubicBezTo>
                      <a:pt x="942649" y="460209"/>
                      <a:pt x="836864" y="460209"/>
                      <a:pt x="773250" y="395331"/>
                    </a:cubicBezTo>
                    <a:cubicBezTo>
                      <a:pt x="761814" y="384637"/>
                      <a:pt x="753237" y="372516"/>
                      <a:pt x="746089" y="360396"/>
                    </a:cubicBezTo>
                    <a:cubicBezTo>
                      <a:pt x="746089" y="360396"/>
                      <a:pt x="746089" y="360396"/>
                      <a:pt x="891186" y="360396"/>
                    </a:cubicBezTo>
                    <a:cubicBezTo>
                      <a:pt x="936216" y="360396"/>
                      <a:pt x="973384" y="323323"/>
                      <a:pt x="973384" y="278407"/>
                    </a:cubicBezTo>
                    <a:cubicBezTo>
                      <a:pt x="973384" y="274842"/>
                      <a:pt x="972669" y="270564"/>
                      <a:pt x="972669" y="267000"/>
                    </a:cubicBezTo>
                    <a:cubicBezTo>
                      <a:pt x="972669" y="267000"/>
                      <a:pt x="972669" y="267000"/>
                      <a:pt x="981961" y="257731"/>
                    </a:cubicBezTo>
                    <a:cubicBezTo>
                      <a:pt x="981961" y="257731"/>
                      <a:pt x="981961" y="257731"/>
                      <a:pt x="1038427" y="201408"/>
                    </a:cubicBezTo>
                    <a:cubicBezTo>
                      <a:pt x="1058441" y="181446"/>
                      <a:pt x="1058441" y="149363"/>
                      <a:pt x="1038427" y="130113"/>
                    </a:cubicBezTo>
                    <a:cubicBezTo>
                      <a:pt x="1019129" y="110151"/>
                      <a:pt x="986965" y="110151"/>
                      <a:pt x="966951" y="130113"/>
                    </a:cubicBezTo>
                    <a:cubicBezTo>
                      <a:pt x="966951" y="130113"/>
                      <a:pt x="966951" y="130113"/>
                      <a:pt x="911914" y="184298"/>
                    </a:cubicBezTo>
                    <a:cubicBezTo>
                      <a:pt x="911914" y="184298"/>
                      <a:pt x="911914" y="184298"/>
                      <a:pt x="899763" y="197131"/>
                    </a:cubicBezTo>
                    <a:cubicBezTo>
                      <a:pt x="896904" y="196418"/>
                      <a:pt x="894045" y="196418"/>
                      <a:pt x="891186" y="196418"/>
                    </a:cubicBezTo>
                    <a:cubicBezTo>
                      <a:pt x="891186" y="196418"/>
                      <a:pt x="891186" y="196418"/>
                      <a:pt x="746089" y="196418"/>
                    </a:cubicBezTo>
                    <a:cubicBezTo>
                      <a:pt x="753237" y="183585"/>
                      <a:pt x="762529" y="172177"/>
                      <a:pt x="773250" y="161483"/>
                    </a:cubicBezTo>
                    <a:cubicBezTo>
                      <a:pt x="773250" y="161483"/>
                      <a:pt x="773250" y="161483"/>
                      <a:pt x="829717" y="103734"/>
                    </a:cubicBezTo>
                    <a:cubicBezTo>
                      <a:pt x="829717" y="103734"/>
                      <a:pt x="829717" y="103734"/>
                      <a:pt x="885468" y="48124"/>
                    </a:cubicBezTo>
                    <a:cubicBezTo>
                      <a:pt x="917990" y="16042"/>
                      <a:pt x="960518" y="0"/>
                      <a:pt x="1003047" y="0"/>
                    </a:cubicBezTo>
                    <a:close/>
                  </a:path>
                </a:pathLst>
              </a:custGeom>
              <a:solidFill>
                <a:srgbClr val="FFFFFF"/>
              </a:solidFill>
              <a:ln>
                <a:noFill/>
              </a:ln>
            </p:spPr>
            <p:txBody>
              <a:bodyPr vert="horz" wrap="square" lIns="30175" tIns="15088" rIns="30175" bIns="15088" numCol="1" anchor="t" anchorCtr="0" compatLnSpc="1">
                <a:prstTxWarp prst="textNoShape">
                  <a:avLst/>
                </a:prstTxWarp>
                <a:noAutofit/>
              </a:bodyPr>
              <a:lstStyle/>
              <a:p>
                <a:endParaRPr lang="en-US" dirty="0">
                  <a:solidFill>
                    <a:srgbClr val="575757"/>
                  </a:solidFill>
                </a:endParaRPr>
              </a:p>
            </p:txBody>
          </p:sp>
        </p:grpSp>
        <p:grpSp>
          <p:nvGrpSpPr>
            <p:cNvPr id="107" name="Group 106">
              <a:extLst>
                <a:ext uri="{FF2B5EF4-FFF2-40B4-BE49-F238E27FC236}">
                  <a16:creationId xmlns:a16="http://schemas.microsoft.com/office/drawing/2014/main" id="{BE1130B7-C6B0-4888-8446-766464536465}"/>
                </a:ext>
              </a:extLst>
            </p:cNvPr>
            <p:cNvGrpSpPr>
              <a:grpSpLocks noChangeAspect="1"/>
            </p:cNvGrpSpPr>
            <p:nvPr/>
          </p:nvGrpSpPr>
          <p:grpSpPr>
            <a:xfrm>
              <a:off x="20309329" y="1547458"/>
              <a:ext cx="721459" cy="720763"/>
              <a:chOff x="5273675" y="2606675"/>
              <a:chExt cx="1646238" cy="1644650"/>
            </a:xfrm>
          </p:grpSpPr>
          <p:sp>
            <p:nvSpPr>
              <p:cNvPr id="219" name="AutoShape 3">
                <a:extLst>
                  <a:ext uri="{FF2B5EF4-FFF2-40B4-BE49-F238E27FC236}">
                    <a16:creationId xmlns:a16="http://schemas.microsoft.com/office/drawing/2014/main" id="{22A5C97E-F4D9-45C0-993E-FA8B57C1FA81}"/>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0175" tIns="15088" rIns="30175" bIns="15088" numCol="1" anchor="t" anchorCtr="0" compatLnSpc="1">
                <a:prstTxWarp prst="textNoShape">
                  <a:avLst/>
                </a:prstTxWarp>
              </a:bodyPr>
              <a:lstStyle/>
              <a:p>
                <a:endParaRPr lang="en-US" dirty="0">
                  <a:solidFill>
                    <a:srgbClr val="575757"/>
                  </a:solidFill>
                </a:endParaRPr>
              </a:p>
            </p:txBody>
          </p:sp>
          <p:sp>
            <p:nvSpPr>
              <p:cNvPr id="220" name="Freeform 16">
                <a:extLst>
                  <a:ext uri="{FF2B5EF4-FFF2-40B4-BE49-F238E27FC236}">
                    <a16:creationId xmlns:a16="http://schemas.microsoft.com/office/drawing/2014/main" id="{55FA2386-FA4A-4AEE-896F-84BDE02A38B0}"/>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30175" tIns="15088" rIns="30175" bIns="15088" numCol="1" anchor="t" anchorCtr="0" compatLnSpc="1">
                <a:prstTxWarp prst="textNoShape">
                  <a:avLst/>
                </a:prstTxWarp>
                <a:noAutofit/>
              </a:bodyPr>
              <a:lstStyle/>
              <a:p>
                <a:endParaRPr lang="en-US" dirty="0">
                  <a:solidFill>
                    <a:srgbClr val="575757"/>
                  </a:solidFill>
                </a:endParaRPr>
              </a:p>
            </p:txBody>
          </p:sp>
        </p:grpSp>
        <p:sp>
          <p:nvSpPr>
            <p:cNvPr id="108" name="Oval 20">
              <a:extLst>
                <a:ext uri="{FF2B5EF4-FFF2-40B4-BE49-F238E27FC236}">
                  <a16:creationId xmlns:a16="http://schemas.microsoft.com/office/drawing/2014/main" id="{1317B799-EDA2-4A65-AC70-BEE898317AA3}"/>
                </a:ext>
              </a:extLst>
            </p:cNvPr>
            <p:cNvSpPr>
              <a:spLocks noChangeAspect="1" noChangeArrowheads="1"/>
            </p:cNvSpPr>
            <p:nvPr/>
          </p:nvSpPr>
          <p:spPr bwMode="auto">
            <a:xfrm>
              <a:off x="20516603" y="1221096"/>
              <a:ext cx="306910" cy="306910"/>
            </a:xfrm>
            <a:prstGeom prst="ellipse">
              <a:avLst/>
            </a:prstGeom>
            <a:solidFill>
              <a:srgbClr val="000F69"/>
            </a:solidFill>
            <a:ln w="571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rPr>
                <a:t>6</a:t>
              </a:r>
            </a:p>
          </p:txBody>
        </p:sp>
        <p:sp>
          <p:nvSpPr>
            <p:cNvPr id="109" name="Oval 20">
              <a:extLst>
                <a:ext uri="{FF2B5EF4-FFF2-40B4-BE49-F238E27FC236}">
                  <a16:creationId xmlns:a16="http://schemas.microsoft.com/office/drawing/2014/main" id="{2802C67E-B1F9-49C0-911E-8766201541FA}"/>
                </a:ext>
              </a:extLst>
            </p:cNvPr>
            <p:cNvSpPr>
              <a:spLocks noChangeAspect="1" noChangeArrowheads="1"/>
            </p:cNvSpPr>
            <p:nvPr/>
          </p:nvSpPr>
          <p:spPr bwMode="auto">
            <a:xfrm>
              <a:off x="19196375" y="1221096"/>
              <a:ext cx="306910" cy="306910"/>
            </a:xfrm>
            <a:prstGeom prst="ellipse">
              <a:avLst/>
            </a:prstGeom>
            <a:solidFill>
              <a:srgbClr val="00148C"/>
            </a:solidFill>
            <a:ln w="571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rPr>
                <a:t>5</a:t>
              </a:r>
            </a:p>
          </p:txBody>
        </p:sp>
        <p:sp>
          <p:nvSpPr>
            <p:cNvPr id="110" name="Oval 20">
              <a:extLst>
                <a:ext uri="{FF2B5EF4-FFF2-40B4-BE49-F238E27FC236}">
                  <a16:creationId xmlns:a16="http://schemas.microsoft.com/office/drawing/2014/main" id="{C8780390-2435-4EBC-9BE8-56715624599B}"/>
                </a:ext>
              </a:extLst>
            </p:cNvPr>
            <p:cNvSpPr>
              <a:spLocks noChangeAspect="1" noChangeArrowheads="1"/>
            </p:cNvSpPr>
            <p:nvPr/>
          </p:nvSpPr>
          <p:spPr bwMode="auto">
            <a:xfrm>
              <a:off x="11991514" y="5199854"/>
              <a:ext cx="306910" cy="306910"/>
            </a:xfrm>
            <a:prstGeom prst="ellipse">
              <a:avLst/>
            </a:prstGeom>
            <a:solidFill>
              <a:srgbClr val="0073CD"/>
            </a:solidFill>
            <a:ln w="571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700" b="1" dirty="0">
                  <a:solidFill>
                    <a:prstClr val="white"/>
                  </a:solidFill>
                </a:rPr>
                <a:t>4</a:t>
              </a:r>
            </a:p>
          </p:txBody>
        </p:sp>
        <p:sp>
          <p:nvSpPr>
            <p:cNvPr id="111" name="Oval 20">
              <a:extLst>
                <a:ext uri="{FF2B5EF4-FFF2-40B4-BE49-F238E27FC236}">
                  <a16:creationId xmlns:a16="http://schemas.microsoft.com/office/drawing/2014/main" id="{FEA58B0C-FA61-4886-A90F-5348DDC1FDD6}"/>
                </a:ext>
              </a:extLst>
            </p:cNvPr>
            <p:cNvSpPr>
              <a:spLocks noChangeAspect="1" noChangeArrowheads="1"/>
            </p:cNvSpPr>
            <p:nvPr/>
          </p:nvSpPr>
          <p:spPr bwMode="auto">
            <a:xfrm>
              <a:off x="11991514" y="4050041"/>
              <a:ext cx="306910" cy="306910"/>
            </a:xfrm>
            <a:prstGeom prst="ellipse">
              <a:avLst/>
            </a:prstGeom>
            <a:solidFill>
              <a:srgbClr val="00AFF0"/>
            </a:solidFill>
            <a:ln w="571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600" b="1" dirty="0">
                  <a:solidFill>
                    <a:prstClr val="white"/>
                  </a:solidFill>
                </a:rPr>
                <a:t>3</a:t>
              </a:r>
            </a:p>
          </p:txBody>
        </p:sp>
        <p:sp>
          <p:nvSpPr>
            <p:cNvPr id="112" name="Oval 20">
              <a:extLst>
                <a:ext uri="{FF2B5EF4-FFF2-40B4-BE49-F238E27FC236}">
                  <a16:creationId xmlns:a16="http://schemas.microsoft.com/office/drawing/2014/main" id="{230ABA53-062A-4609-B4B4-6FDB8B7378D1}"/>
                </a:ext>
              </a:extLst>
            </p:cNvPr>
            <p:cNvSpPr>
              <a:spLocks noChangeAspect="1" noChangeArrowheads="1"/>
            </p:cNvSpPr>
            <p:nvPr/>
          </p:nvSpPr>
          <p:spPr bwMode="auto">
            <a:xfrm>
              <a:off x="11991514" y="2900228"/>
              <a:ext cx="306910" cy="306910"/>
            </a:xfrm>
            <a:prstGeom prst="ellipse">
              <a:avLst/>
            </a:prstGeom>
            <a:solidFill>
              <a:srgbClr val="6B80FF"/>
            </a:solidFill>
            <a:ln w="571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700" b="1" dirty="0">
                  <a:solidFill>
                    <a:prstClr val="white"/>
                  </a:solidFill>
                </a:rPr>
                <a:t>2</a:t>
              </a:r>
            </a:p>
          </p:txBody>
        </p:sp>
        <p:sp>
          <p:nvSpPr>
            <p:cNvPr id="113" name="Oval 20">
              <a:extLst>
                <a:ext uri="{FF2B5EF4-FFF2-40B4-BE49-F238E27FC236}">
                  <a16:creationId xmlns:a16="http://schemas.microsoft.com/office/drawing/2014/main" id="{ABA52BE0-6E86-4236-9F01-2DDF5E942650}"/>
                </a:ext>
              </a:extLst>
            </p:cNvPr>
            <p:cNvSpPr>
              <a:spLocks noChangeAspect="1" noChangeArrowheads="1"/>
            </p:cNvSpPr>
            <p:nvPr/>
          </p:nvSpPr>
          <p:spPr bwMode="auto">
            <a:xfrm>
              <a:off x="11991514" y="1750415"/>
              <a:ext cx="306910" cy="306910"/>
            </a:xfrm>
            <a:prstGeom prst="ellipse">
              <a:avLst/>
            </a:prstGeom>
            <a:solidFill>
              <a:srgbClr val="C800A1"/>
            </a:solidFill>
            <a:ln w="571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rPr>
                <a:t>1</a:t>
              </a:r>
            </a:p>
          </p:txBody>
        </p:sp>
        <p:sp>
          <p:nvSpPr>
            <p:cNvPr id="166" name="AutoShape 29">
              <a:extLst>
                <a:ext uri="{FF2B5EF4-FFF2-40B4-BE49-F238E27FC236}">
                  <a16:creationId xmlns:a16="http://schemas.microsoft.com/office/drawing/2014/main" id="{E04CDB2C-4A0C-4776-A77E-8A1C6F799EE4}"/>
                </a:ext>
              </a:extLst>
            </p:cNvPr>
            <p:cNvSpPr>
              <a:spLocks noChangeAspect="1" noChangeArrowheads="1" noTextEdit="1"/>
            </p:cNvSpPr>
            <p:nvPr/>
          </p:nvSpPr>
          <p:spPr bwMode="auto">
            <a:xfrm>
              <a:off x="20133381" y="5178783"/>
              <a:ext cx="333793" cy="333793"/>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7432" tIns="13716" rIns="27432" bIns="13716" numCol="1" anchor="t" anchorCtr="0" compatLnSpc="1">
              <a:prstTxWarp prst="textNoShape">
                <a:avLst/>
              </a:prstTxWarp>
            </a:bodyPr>
            <a:lstStyle/>
            <a:p>
              <a:endParaRPr lang="en-US" dirty="0"/>
            </a:p>
          </p:txBody>
        </p:sp>
        <p:sp>
          <p:nvSpPr>
            <p:cNvPr id="162" name="AutoShape 84">
              <a:extLst>
                <a:ext uri="{FF2B5EF4-FFF2-40B4-BE49-F238E27FC236}">
                  <a16:creationId xmlns:a16="http://schemas.microsoft.com/office/drawing/2014/main" id="{8746676D-A989-41C3-8679-FDF73E410D40}"/>
                </a:ext>
              </a:extLst>
            </p:cNvPr>
            <p:cNvSpPr>
              <a:spLocks noChangeAspect="1" noChangeArrowheads="1" noTextEdit="1"/>
            </p:cNvSpPr>
            <p:nvPr/>
          </p:nvSpPr>
          <p:spPr bwMode="auto">
            <a:xfrm>
              <a:off x="20153496" y="5498775"/>
              <a:ext cx="293561" cy="293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7432" tIns="13716" rIns="27432" bIns="13716" numCol="1" anchor="t" anchorCtr="0" compatLnSpc="1">
              <a:prstTxWarp prst="textNoShape">
                <a:avLst/>
              </a:prstTxWarp>
            </a:bodyPr>
            <a:lstStyle/>
            <a:p>
              <a:endParaRPr lang="en-US" dirty="0"/>
            </a:p>
          </p:txBody>
        </p:sp>
        <p:sp>
          <p:nvSpPr>
            <p:cNvPr id="154" name="AutoShape 29">
              <a:extLst>
                <a:ext uri="{FF2B5EF4-FFF2-40B4-BE49-F238E27FC236}">
                  <a16:creationId xmlns:a16="http://schemas.microsoft.com/office/drawing/2014/main" id="{0488F426-D379-4E08-A9AA-2E196C1AB937}"/>
                </a:ext>
              </a:extLst>
            </p:cNvPr>
            <p:cNvSpPr>
              <a:spLocks noChangeAspect="1" noChangeArrowheads="1" noTextEdit="1"/>
            </p:cNvSpPr>
            <p:nvPr/>
          </p:nvSpPr>
          <p:spPr bwMode="auto">
            <a:xfrm>
              <a:off x="20139079" y="4858792"/>
              <a:ext cx="333793" cy="333793"/>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7432" tIns="13716" rIns="27432" bIns="13716" numCol="1" anchor="t" anchorCtr="0" compatLnSpc="1">
              <a:prstTxWarp prst="textNoShape">
                <a:avLst/>
              </a:prstTxWarp>
            </a:bodyPr>
            <a:lstStyle/>
            <a:p>
              <a:endParaRPr lang="en-US" dirty="0"/>
            </a:p>
          </p:txBody>
        </p:sp>
      </p:grpSp>
      <p:sp>
        <p:nvSpPr>
          <p:cNvPr id="92" name="NavigationTriangle">
            <a:extLst>
              <a:ext uri="{FF2B5EF4-FFF2-40B4-BE49-F238E27FC236}">
                <a16:creationId xmlns:a16="http://schemas.microsoft.com/office/drawing/2014/main" id="{EF755CE0-10C5-4EE3-B47B-854438A05E83}"/>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3" name="NavigationIcon">
            <a:extLst>
              <a:ext uri="{FF2B5EF4-FFF2-40B4-BE49-F238E27FC236}">
                <a16:creationId xmlns:a16="http://schemas.microsoft.com/office/drawing/2014/main" id="{174C94CC-9A43-4704-A6BD-2350BF75D898}"/>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5</a:t>
            </a:r>
          </a:p>
        </p:txBody>
      </p:sp>
    </p:spTree>
    <p:custDataLst>
      <p:tags r:id="rId2"/>
    </p:custDataLst>
    <p:extLst>
      <p:ext uri="{BB962C8B-B14F-4D97-AF65-F5344CB8AC3E}">
        <p14:creationId xmlns:p14="http://schemas.microsoft.com/office/powerpoint/2010/main" val="1001283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8" name="think-cell Slide" r:id="rId12" imgW="381" imgH="381" progId="TCLayout.ActiveDocument.1">
                  <p:embed/>
                </p:oleObj>
              </mc:Choice>
              <mc:Fallback>
                <p:oleObj name="think-cell Slide" r:id="rId12"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cxnSp>
        <p:nvCxnSpPr>
          <p:cNvPr id="312" name="Straight Connector 311">
            <a:extLst>
              <a:ext uri="{FF2B5EF4-FFF2-40B4-BE49-F238E27FC236}">
                <a16:creationId xmlns:a16="http://schemas.microsoft.com/office/drawing/2014/main" id="{CA2C6F34-259C-477A-A787-2D629A440072}"/>
              </a:ext>
            </a:extLst>
          </p:cNvPr>
          <p:cNvCxnSpPr>
            <a:cxnSpLocks/>
          </p:cNvCxnSpPr>
          <p:nvPr/>
        </p:nvCxnSpPr>
        <p:spPr>
          <a:xfrm>
            <a:off x="517721" y="3706321"/>
            <a:ext cx="11241218"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382" name="Rectangle 381">
            <a:extLst>
              <a:ext uri="{FF2B5EF4-FFF2-40B4-BE49-F238E27FC236}">
                <a16:creationId xmlns:a16="http://schemas.microsoft.com/office/drawing/2014/main" id="{58BA2256-A397-46BE-B1E4-3CE85E82513B}"/>
              </a:ext>
            </a:extLst>
          </p:cNvPr>
          <p:cNvSpPr/>
          <p:nvPr/>
        </p:nvSpPr>
        <p:spPr bwMode="auto">
          <a:xfrm>
            <a:off x="2659973" y="2442028"/>
            <a:ext cx="4114828" cy="620033"/>
          </a:xfrm>
          <a:prstGeom prst="rect">
            <a:avLst/>
          </a:prstGeom>
          <a:solidFill>
            <a:srgbClr val="F2F2F2"/>
          </a:solidFill>
          <a:ln w="9525" cap="flat" cmpd="sng" algn="ctr">
            <a:solidFill>
              <a:srgbClr val="00AFF0"/>
            </a:solidFill>
            <a:prstDash val="solid"/>
            <a:round/>
            <a:headEnd type="none" w="med" len="med"/>
            <a:tailEnd type="none" w="med" len="med"/>
          </a:ln>
          <a:effectLst/>
        </p:spPr>
        <p:txBody>
          <a:bodyPr vert="horz" wrap="square" lIns="91434" tIns="45718" rIns="91434" bIns="45718" numCol="1" rtlCol="0" anchor="b" anchorCtr="0" compatLnSpc="1">
            <a:prstTxWarp prst="textNoShape">
              <a:avLst/>
            </a:prstTxWarp>
          </a:bodyPr>
          <a:lstStyle/>
          <a:p>
            <a:pPr algn="l">
              <a:spcAft>
                <a:spcPts val="450"/>
              </a:spcAft>
            </a:pPr>
            <a:r>
              <a:rPr lang="en-US" sz="900" b="1" dirty="0">
                <a:solidFill>
                  <a:srgbClr val="78A22F"/>
                </a:solidFill>
                <a:latin typeface="+mn-lt"/>
                <a:cs typeface="Arial"/>
              </a:rPr>
              <a:t>Kanban to manage portfolio Epics prior to launch</a:t>
            </a:r>
          </a:p>
        </p:txBody>
      </p:sp>
      <p:sp>
        <p:nvSpPr>
          <p:cNvPr id="3" name="Rectangle 2">
            <a:extLst>
              <a:ext uri="{FF2B5EF4-FFF2-40B4-BE49-F238E27FC236}">
                <a16:creationId xmlns:a16="http://schemas.microsoft.com/office/drawing/2014/main" id="{BC398C2E-7F15-4E5D-823A-C30FDA6CC3FB}"/>
              </a:ext>
            </a:extLst>
          </p:cNvPr>
          <p:cNvSpPr/>
          <p:nvPr/>
        </p:nvSpPr>
        <p:spPr>
          <a:xfrm>
            <a:off x="2312921" y="2484667"/>
            <a:ext cx="5459784" cy="767129"/>
          </a:xfrm>
          <a:prstGeom prst="rect">
            <a:avLst/>
          </a:prstGeom>
          <a:noFill/>
        </p:spPr>
        <p:txBody>
          <a:bodyPr/>
          <a:lstStyle/>
          <a:p>
            <a:endParaRPr lang="en-US"/>
          </a:p>
        </p:txBody>
      </p:sp>
      <p:sp>
        <p:nvSpPr>
          <p:cNvPr id="4" name="Freeform: Shape 3">
            <a:hlinkClick r:id="" action="ppaction://noaction"/>
            <a:extLst>
              <a:ext uri="{FF2B5EF4-FFF2-40B4-BE49-F238E27FC236}">
                <a16:creationId xmlns:a16="http://schemas.microsoft.com/office/drawing/2014/main" id="{6B5A8AC8-4F0A-4DB2-A22B-960193B8DC20}"/>
              </a:ext>
            </a:extLst>
          </p:cNvPr>
          <p:cNvSpPr/>
          <p:nvPr/>
        </p:nvSpPr>
        <p:spPr>
          <a:xfrm>
            <a:off x="2793795" y="2494068"/>
            <a:ext cx="702110" cy="349743"/>
          </a:xfrm>
          <a:custGeom>
            <a:avLst/>
            <a:gdLst>
              <a:gd name="connsiteX0" fmla="*/ 0 w 1018483"/>
              <a:gd name="connsiteY0" fmla="*/ 76713 h 767129"/>
              <a:gd name="connsiteX1" fmla="*/ 76713 w 1018483"/>
              <a:gd name="connsiteY1" fmla="*/ 0 h 767129"/>
              <a:gd name="connsiteX2" fmla="*/ 941770 w 1018483"/>
              <a:gd name="connsiteY2" fmla="*/ 0 h 767129"/>
              <a:gd name="connsiteX3" fmla="*/ 1018483 w 1018483"/>
              <a:gd name="connsiteY3" fmla="*/ 76713 h 767129"/>
              <a:gd name="connsiteX4" fmla="*/ 1018483 w 1018483"/>
              <a:gd name="connsiteY4" fmla="*/ 690416 h 767129"/>
              <a:gd name="connsiteX5" fmla="*/ 941770 w 1018483"/>
              <a:gd name="connsiteY5" fmla="*/ 767129 h 767129"/>
              <a:gd name="connsiteX6" fmla="*/ 76713 w 1018483"/>
              <a:gd name="connsiteY6" fmla="*/ 767129 h 767129"/>
              <a:gd name="connsiteX7" fmla="*/ 0 w 1018483"/>
              <a:gd name="connsiteY7" fmla="*/ 690416 h 767129"/>
              <a:gd name="connsiteX8" fmla="*/ 0 w 1018483"/>
              <a:gd name="connsiteY8" fmla="*/ 76713 h 76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8483" h="767129">
                <a:moveTo>
                  <a:pt x="0" y="76713"/>
                </a:moveTo>
                <a:cubicBezTo>
                  <a:pt x="0" y="34346"/>
                  <a:pt x="34346" y="0"/>
                  <a:pt x="76713" y="0"/>
                </a:cubicBezTo>
                <a:lnTo>
                  <a:pt x="941770" y="0"/>
                </a:lnTo>
                <a:cubicBezTo>
                  <a:pt x="984137" y="0"/>
                  <a:pt x="1018483" y="34346"/>
                  <a:pt x="1018483" y="76713"/>
                </a:cubicBezTo>
                <a:lnTo>
                  <a:pt x="1018483" y="690416"/>
                </a:lnTo>
                <a:cubicBezTo>
                  <a:pt x="1018483" y="732783"/>
                  <a:pt x="984137" y="767129"/>
                  <a:pt x="941770" y="767129"/>
                </a:cubicBezTo>
                <a:lnTo>
                  <a:pt x="76713" y="767129"/>
                </a:lnTo>
                <a:cubicBezTo>
                  <a:pt x="34346" y="767129"/>
                  <a:pt x="0" y="732783"/>
                  <a:pt x="0" y="690416"/>
                </a:cubicBezTo>
                <a:lnTo>
                  <a:pt x="0" y="76713"/>
                </a:lnTo>
                <a:close/>
              </a:path>
            </a:pathLst>
          </a:custGeom>
          <a:solidFill>
            <a:srgbClr val="00148C"/>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38100" tIns="38100" rIns="38100" bIns="36576" numCol="1" spcCol="1270" anchor="ctr" anchorCtr="0">
            <a:noAutofit/>
          </a:bodyPr>
          <a:lstStyle/>
          <a:p>
            <a:pPr marL="0" lvl="0" indent="0" algn="ctr" defTabSz="444500">
              <a:lnSpc>
                <a:spcPct val="90000"/>
              </a:lnSpc>
              <a:spcBef>
                <a:spcPct val="0"/>
              </a:spcBef>
              <a:spcAft>
                <a:spcPct val="35000"/>
              </a:spcAft>
              <a:buNone/>
            </a:pPr>
            <a:r>
              <a:rPr lang="en-US" sz="1000" b="1" u="none" kern="1200" dirty="0">
                <a:solidFill>
                  <a:schemeClr val="bg1"/>
                </a:solidFill>
              </a:rPr>
              <a:t>New concepts</a:t>
            </a:r>
          </a:p>
        </p:txBody>
      </p:sp>
      <p:sp>
        <p:nvSpPr>
          <p:cNvPr id="9" name="Freeform: Shape 8">
            <a:extLst>
              <a:ext uri="{FF2B5EF4-FFF2-40B4-BE49-F238E27FC236}">
                <a16:creationId xmlns:a16="http://schemas.microsoft.com/office/drawing/2014/main" id="{3571CE25-CB88-474B-ACD5-C48354C8523D}"/>
              </a:ext>
            </a:extLst>
          </p:cNvPr>
          <p:cNvSpPr/>
          <p:nvPr/>
        </p:nvSpPr>
        <p:spPr>
          <a:xfrm>
            <a:off x="3607075" y="2494068"/>
            <a:ext cx="641390" cy="349743"/>
          </a:xfrm>
          <a:custGeom>
            <a:avLst/>
            <a:gdLst>
              <a:gd name="connsiteX0" fmla="*/ 0 w 930402"/>
              <a:gd name="connsiteY0" fmla="*/ 76713 h 767129"/>
              <a:gd name="connsiteX1" fmla="*/ 76713 w 930402"/>
              <a:gd name="connsiteY1" fmla="*/ 0 h 767129"/>
              <a:gd name="connsiteX2" fmla="*/ 853689 w 930402"/>
              <a:gd name="connsiteY2" fmla="*/ 0 h 767129"/>
              <a:gd name="connsiteX3" fmla="*/ 930402 w 930402"/>
              <a:gd name="connsiteY3" fmla="*/ 76713 h 767129"/>
              <a:gd name="connsiteX4" fmla="*/ 930402 w 930402"/>
              <a:gd name="connsiteY4" fmla="*/ 690416 h 767129"/>
              <a:gd name="connsiteX5" fmla="*/ 853689 w 930402"/>
              <a:gd name="connsiteY5" fmla="*/ 767129 h 767129"/>
              <a:gd name="connsiteX6" fmla="*/ 76713 w 930402"/>
              <a:gd name="connsiteY6" fmla="*/ 767129 h 767129"/>
              <a:gd name="connsiteX7" fmla="*/ 0 w 930402"/>
              <a:gd name="connsiteY7" fmla="*/ 690416 h 767129"/>
              <a:gd name="connsiteX8" fmla="*/ 0 w 930402"/>
              <a:gd name="connsiteY8" fmla="*/ 76713 h 76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0402" h="767129">
                <a:moveTo>
                  <a:pt x="0" y="76713"/>
                </a:moveTo>
                <a:cubicBezTo>
                  <a:pt x="0" y="34346"/>
                  <a:pt x="34346" y="0"/>
                  <a:pt x="76713" y="0"/>
                </a:cubicBezTo>
                <a:lnTo>
                  <a:pt x="853689" y="0"/>
                </a:lnTo>
                <a:cubicBezTo>
                  <a:pt x="896056" y="0"/>
                  <a:pt x="930402" y="34346"/>
                  <a:pt x="930402" y="76713"/>
                </a:cubicBezTo>
                <a:lnTo>
                  <a:pt x="930402" y="690416"/>
                </a:lnTo>
                <a:cubicBezTo>
                  <a:pt x="930402" y="732783"/>
                  <a:pt x="896056" y="767129"/>
                  <a:pt x="853689" y="767129"/>
                </a:cubicBezTo>
                <a:lnTo>
                  <a:pt x="76713" y="767129"/>
                </a:lnTo>
                <a:cubicBezTo>
                  <a:pt x="34346" y="767129"/>
                  <a:pt x="0" y="732783"/>
                  <a:pt x="0" y="690416"/>
                </a:cubicBezTo>
                <a:lnTo>
                  <a:pt x="0" y="76713"/>
                </a:lnTo>
                <a:close/>
              </a:path>
            </a:pathLst>
          </a:custGeom>
          <a:solidFill>
            <a:srgbClr val="00148C"/>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38100" tIns="38100" rIns="38100" bIns="36576"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Ideation</a:t>
            </a:r>
          </a:p>
        </p:txBody>
      </p:sp>
      <p:sp>
        <p:nvSpPr>
          <p:cNvPr id="14" name="Freeform: Shape 13">
            <a:hlinkClick r:id="" action="ppaction://noaction"/>
            <a:extLst>
              <a:ext uri="{FF2B5EF4-FFF2-40B4-BE49-F238E27FC236}">
                <a16:creationId xmlns:a16="http://schemas.microsoft.com/office/drawing/2014/main" id="{841D86E6-CA5B-4628-B37D-F4A9BD39B596}"/>
              </a:ext>
            </a:extLst>
          </p:cNvPr>
          <p:cNvSpPr/>
          <p:nvPr/>
        </p:nvSpPr>
        <p:spPr>
          <a:xfrm>
            <a:off x="4359635" y="2494068"/>
            <a:ext cx="702110" cy="349743"/>
          </a:xfrm>
          <a:custGeom>
            <a:avLst/>
            <a:gdLst>
              <a:gd name="connsiteX0" fmla="*/ 0 w 1018483"/>
              <a:gd name="connsiteY0" fmla="*/ 76713 h 767129"/>
              <a:gd name="connsiteX1" fmla="*/ 76713 w 1018483"/>
              <a:gd name="connsiteY1" fmla="*/ 0 h 767129"/>
              <a:gd name="connsiteX2" fmla="*/ 941770 w 1018483"/>
              <a:gd name="connsiteY2" fmla="*/ 0 h 767129"/>
              <a:gd name="connsiteX3" fmla="*/ 1018483 w 1018483"/>
              <a:gd name="connsiteY3" fmla="*/ 76713 h 767129"/>
              <a:gd name="connsiteX4" fmla="*/ 1018483 w 1018483"/>
              <a:gd name="connsiteY4" fmla="*/ 690416 h 767129"/>
              <a:gd name="connsiteX5" fmla="*/ 941770 w 1018483"/>
              <a:gd name="connsiteY5" fmla="*/ 767129 h 767129"/>
              <a:gd name="connsiteX6" fmla="*/ 76713 w 1018483"/>
              <a:gd name="connsiteY6" fmla="*/ 767129 h 767129"/>
              <a:gd name="connsiteX7" fmla="*/ 0 w 1018483"/>
              <a:gd name="connsiteY7" fmla="*/ 690416 h 767129"/>
              <a:gd name="connsiteX8" fmla="*/ 0 w 1018483"/>
              <a:gd name="connsiteY8" fmla="*/ 76713 h 76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8483" h="767129">
                <a:moveTo>
                  <a:pt x="0" y="76713"/>
                </a:moveTo>
                <a:cubicBezTo>
                  <a:pt x="0" y="34346"/>
                  <a:pt x="34346" y="0"/>
                  <a:pt x="76713" y="0"/>
                </a:cubicBezTo>
                <a:lnTo>
                  <a:pt x="941770" y="0"/>
                </a:lnTo>
                <a:cubicBezTo>
                  <a:pt x="984137" y="0"/>
                  <a:pt x="1018483" y="34346"/>
                  <a:pt x="1018483" y="76713"/>
                </a:cubicBezTo>
                <a:lnTo>
                  <a:pt x="1018483" y="690416"/>
                </a:lnTo>
                <a:cubicBezTo>
                  <a:pt x="1018483" y="732783"/>
                  <a:pt x="984137" y="767129"/>
                  <a:pt x="941770" y="767129"/>
                </a:cubicBezTo>
                <a:lnTo>
                  <a:pt x="76713" y="767129"/>
                </a:lnTo>
                <a:cubicBezTo>
                  <a:pt x="34346" y="767129"/>
                  <a:pt x="0" y="732783"/>
                  <a:pt x="0" y="690416"/>
                </a:cubicBezTo>
                <a:lnTo>
                  <a:pt x="0" y="76713"/>
                </a:lnTo>
                <a:close/>
              </a:path>
            </a:pathLst>
          </a:custGeom>
          <a:solidFill>
            <a:srgbClr val="00148C"/>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38100" tIns="38100" rIns="38100" bIns="36576" numCol="1" spcCol="1270" anchor="ctr" anchorCtr="0">
            <a:noAutofit/>
          </a:bodyPr>
          <a:lstStyle/>
          <a:p>
            <a:pPr marL="0" lvl="0" indent="0" algn="ctr" defTabSz="444500">
              <a:lnSpc>
                <a:spcPct val="90000"/>
              </a:lnSpc>
              <a:spcBef>
                <a:spcPct val="0"/>
              </a:spcBef>
              <a:spcAft>
                <a:spcPct val="35000"/>
              </a:spcAft>
              <a:buNone/>
            </a:pPr>
            <a:r>
              <a:rPr lang="en-US" sz="1000" b="1" u="none" kern="1200" dirty="0">
                <a:solidFill>
                  <a:schemeClr val="bg1"/>
                </a:solidFill>
              </a:rPr>
              <a:t>Value Potential</a:t>
            </a:r>
          </a:p>
        </p:txBody>
      </p:sp>
      <p:sp>
        <p:nvSpPr>
          <p:cNvPr id="17" name="Freeform: Shape 16">
            <a:hlinkClick r:id="" action="ppaction://noaction"/>
            <a:extLst>
              <a:ext uri="{FF2B5EF4-FFF2-40B4-BE49-F238E27FC236}">
                <a16:creationId xmlns:a16="http://schemas.microsoft.com/office/drawing/2014/main" id="{1BA1A620-F21B-4DC7-9EF2-FFD0F19AEB06}"/>
              </a:ext>
            </a:extLst>
          </p:cNvPr>
          <p:cNvSpPr/>
          <p:nvPr/>
        </p:nvSpPr>
        <p:spPr>
          <a:xfrm>
            <a:off x="5172915" y="2494068"/>
            <a:ext cx="702110" cy="349743"/>
          </a:xfrm>
          <a:custGeom>
            <a:avLst/>
            <a:gdLst>
              <a:gd name="connsiteX0" fmla="*/ 0 w 1018483"/>
              <a:gd name="connsiteY0" fmla="*/ 76713 h 767129"/>
              <a:gd name="connsiteX1" fmla="*/ 76713 w 1018483"/>
              <a:gd name="connsiteY1" fmla="*/ 0 h 767129"/>
              <a:gd name="connsiteX2" fmla="*/ 941770 w 1018483"/>
              <a:gd name="connsiteY2" fmla="*/ 0 h 767129"/>
              <a:gd name="connsiteX3" fmla="*/ 1018483 w 1018483"/>
              <a:gd name="connsiteY3" fmla="*/ 76713 h 767129"/>
              <a:gd name="connsiteX4" fmla="*/ 1018483 w 1018483"/>
              <a:gd name="connsiteY4" fmla="*/ 690416 h 767129"/>
              <a:gd name="connsiteX5" fmla="*/ 941770 w 1018483"/>
              <a:gd name="connsiteY5" fmla="*/ 767129 h 767129"/>
              <a:gd name="connsiteX6" fmla="*/ 76713 w 1018483"/>
              <a:gd name="connsiteY6" fmla="*/ 767129 h 767129"/>
              <a:gd name="connsiteX7" fmla="*/ 0 w 1018483"/>
              <a:gd name="connsiteY7" fmla="*/ 690416 h 767129"/>
              <a:gd name="connsiteX8" fmla="*/ 0 w 1018483"/>
              <a:gd name="connsiteY8" fmla="*/ 76713 h 76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8483" h="767129">
                <a:moveTo>
                  <a:pt x="0" y="76713"/>
                </a:moveTo>
                <a:cubicBezTo>
                  <a:pt x="0" y="34346"/>
                  <a:pt x="34346" y="0"/>
                  <a:pt x="76713" y="0"/>
                </a:cubicBezTo>
                <a:lnTo>
                  <a:pt x="941770" y="0"/>
                </a:lnTo>
                <a:cubicBezTo>
                  <a:pt x="984137" y="0"/>
                  <a:pt x="1018483" y="34346"/>
                  <a:pt x="1018483" y="76713"/>
                </a:cubicBezTo>
                <a:lnTo>
                  <a:pt x="1018483" y="690416"/>
                </a:lnTo>
                <a:cubicBezTo>
                  <a:pt x="1018483" y="732783"/>
                  <a:pt x="984137" y="767129"/>
                  <a:pt x="941770" y="767129"/>
                </a:cubicBezTo>
                <a:lnTo>
                  <a:pt x="76713" y="767129"/>
                </a:lnTo>
                <a:cubicBezTo>
                  <a:pt x="34346" y="767129"/>
                  <a:pt x="0" y="732783"/>
                  <a:pt x="0" y="690416"/>
                </a:cubicBezTo>
                <a:lnTo>
                  <a:pt x="0" y="76713"/>
                </a:lnTo>
                <a:close/>
              </a:path>
            </a:pathLst>
          </a:custGeom>
          <a:solidFill>
            <a:srgbClr val="00148C"/>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38100" tIns="38100" rIns="38100" bIns="36576" numCol="1" spcCol="1270" anchor="ctr" anchorCtr="0">
            <a:noAutofit/>
          </a:bodyPr>
          <a:lstStyle/>
          <a:p>
            <a:pPr marL="0" lvl="0" indent="0" algn="ctr" defTabSz="444500">
              <a:lnSpc>
                <a:spcPct val="90000"/>
              </a:lnSpc>
              <a:spcBef>
                <a:spcPct val="0"/>
              </a:spcBef>
              <a:spcAft>
                <a:spcPct val="35000"/>
              </a:spcAft>
              <a:buNone/>
            </a:pPr>
            <a:r>
              <a:rPr lang="en-US" sz="1000" b="1" u="none" kern="1200" dirty="0">
                <a:solidFill>
                  <a:schemeClr val="bg1"/>
                </a:solidFill>
              </a:rPr>
              <a:t>Proposed</a:t>
            </a:r>
          </a:p>
        </p:txBody>
      </p:sp>
      <p:sp>
        <p:nvSpPr>
          <p:cNvPr id="19" name="Freeform: Shape 18">
            <a:hlinkClick r:id="" action="ppaction://noaction"/>
            <a:extLst>
              <a:ext uri="{FF2B5EF4-FFF2-40B4-BE49-F238E27FC236}">
                <a16:creationId xmlns:a16="http://schemas.microsoft.com/office/drawing/2014/main" id="{057981A0-3179-4A19-A90A-732A1A4276E8}"/>
              </a:ext>
            </a:extLst>
          </p:cNvPr>
          <p:cNvSpPr/>
          <p:nvPr/>
        </p:nvSpPr>
        <p:spPr>
          <a:xfrm>
            <a:off x="5986194" y="2494068"/>
            <a:ext cx="702110" cy="349743"/>
          </a:xfrm>
          <a:custGeom>
            <a:avLst/>
            <a:gdLst>
              <a:gd name="connsiteX0" fmla="*/ 0 w 1018483"/>
              <a:gd name="connsiteY0" fmla="*/ 76713 h 767129"/>
              <a:gd name="connsiteX1" fmla="*/ 76713 w 1018483"/>
              <a:gd name="connsiteY1" fmla="*/ 0 h 767129"/>
              <a:gd name="connsiteX2" fmla="*/ 941770 w 1018483"/>
              <a:gd name="connsiteY2" fmla="*/ 0 h 767129"/>
              <a:gd name="connsiteX3" fmla="*/ 1018483 w 1018483"/>
              <a:gd name="connsiteY3" fmla="*/ 76713 h 767129"/>
              <a:gd name="connsiteX4" fmla="*/ 1018483 w 1018483"/>
              <a:gd name="connsiteY4" fmla="*/ 690416 h 767129"/>
              <a:gd name="connsiteX5" fmla="*/ 941770 w 1018483"/>
              <a:gd name="connsiteY5" fmla="*/ 767129 h 767129"/>
              <a:gd name="connsiteX6" fmla="*/ 76713 w 1018483"/>
              <a:gd name="connsiteY6" fmla="*/ 767129 h 767129"/>
              <a:gd name="connsiteX7" fmla="*/ 0 w 1018483"/>
              <a:gd name="connsiteY7" fmla="*/ 690416 h 767129"/>
              <a:gd name="connsiteX8" fmla="*/ 0 w 1018483"/>
              <a:gd name="connsiteY8" fmla="*/ 76713 h 76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8483" h="767129">
                <a:moveTo>
                  <a:pt x="0" y="76713"/>
                </a:moveTo>
                <a:cubicBezTo>
                  <a:pt x="0" y="34346"/>
                  <a:pt x="34346" y="0"/>
                  <a:pt x="76713" y="0"/>
                </a:cubicBezTo>
                <a:lnTo>
                  <a:pt x="941770" y="0"/>
                </a:lnTo>
                <a:cubicBezTo>
                  <a:pt x="984137" y="0"/>
                  <a:pt x="1018483" y="34346"/>
                  <a:pt x="1018483" y="76713"/>
                </a:cubicBezTo>
                <a:lnTo>
                  <a:pt x="1018483" y="690416"/>
                </a:lnTo>
                <a:cubicBezTo>
                  <a:pt x="1018483" y="732783"/>
                  <a:pt x="984137" y="767129"/>
                  <a:pt x="941770" y="767129"/>
                </a:cubicBezTo>
                <a:lnTo>
                  <a:pt x="76713" y="767129"/>
                </a:lnTo>
                <a:cubicBezTo>
                  <a:pt x="34346" y="767129"/>
                  <a:pt x="0" y="732783"/>
                  <a:pt x="0" y="690416"/>
                </a:cubicBezTo>
                <a:lnTo>
                  <a:pt x="0" y="76713"/>
                </a:lnTo>
                <a:close/>
              </a:path>
            </a:pathLst>
          </a:custGeom>
          <a:solidFill>
            <a:srgbClr val="00148C"/>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38100" tIns="38100" rIns="38100" bIns="36576" numCol="1" spcCol="1270" anchor="ctr" anchorCtr="0">
            <a:noAutofit/>
          </a:bodyPr>
          <a:lstStyle/>
          <a:p>
            <a:pPr marL="0" lvl="0" indent="0" algn="ctr" defTabSz="444500">
              <a:lnSpc>
                <a:spcPct val="90000"/>
              </a:lnSpc>
              <a:spcBef>
                <a:spcPct val="0"/>
              </a:spcBef>
              <a:spcAft>
                <a:spcPct val="35000"/>
              </a:spcAft>
              <a:buNone/>
            </a:pPr>
            <a:r>
              <a:rPr lang="en-US" sz="1000" b="1" u="none" kern="1200" dirty="0">
                <a:solidFill>
                  <a:schemeClr val="bg1"/>
                </a:solidFill>
              </a:rPr>
              <a:t>Backlog</a:t>
            </a:r>
          </a:p>
        </p:txBody>
      </p:sp>
      <p:sp>
        <p:nvSpPr>
          <p:cNvPr id="319" name="Rectangle 318">
            <a:extLst>
              <a:ext uri="{FF2B5EF4-FFF2-40B4-BE49-F238E27FC236}">
                <a16:creationId xmlns:a16="http://schemas.microsoft.com/office/drawing/2014/main" id="{A69CC48C-8D65-6545-825B-6AB931BCDA64}"/>
              </a:ext>
            </a:extLst>
          </p:cNvPr>
          <p:cNvSpPr/>
          <p:nvPr/>
        </p:nvSpPr>
        <p:spPr>
          <a:xfrm>
            <a:off x="2905385" y="3369201"/>
            <a:ext cx="861031" cy="482002"/>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Product</a:t>
            </a:r>
          </a:p>
          <a:p>
            <a:pPr lvl="0" algn="ctr">
              <a:defRPr/>
            </a:pPr>
            <a:r>
              <a:rPr lang="en-US" sz="1000" b="1" dirty="0">
                <a:solidFill>
                  <a:srgbClr val="00148C"/>
                </a:solidFill>
              </a:rPr>
              <a:t>Planning</a:t>
            </a:r>
          </a:p>
          <a:p>
            <a:pPr lvl="0" algn="ctr">
              <a:defRPr/>
            </a:pPr>
            <a:r>
              <a:rPr lang="en-US" sz="1000" dirty="0">
                <a:solidFill>
                  <a:srgbClr val="00148C"/>
                </a:solidFill>
              </a:rPr>
              <a:t>(quarterly)</a:t>
            </a:r>
          </a:p>
        </p:txBody>
      </p:sp>
      <p:sp>
        <p:nvSpPr>
          <p:cNvPr id="328" name="Rectangle 327">
            <a:extLst>
              <a:ext uri="{FF2B5EF4-FFF2-40B4-BE49-F238E27FC236}">
                <a16:creationId xmlns:a16="http://schemas.microsoft.com/office/drawing/2014/main" id="{37447EB6-DBE2-5C4E-B17A-2787127C5FE2}"/>
              </a:ext>
            </a:extLst>
          </p:cNvPr>
          <p:cNvSpPr/>
          <p:nvPr/>
        </p:nvSpPr>
        <p:spPr>
          <a:xfrm>
            <a:off x="3857298" y="3450813"/>
            <a:ext cx="679083" cy="328589"/>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Product</a:t>
            </a:r>
          </a:p>
          <a:p>
            <a:pPr lvl="0" algn="ctr">
              <a:defRPr/>
            </a:pPr>
            <a:r>
              <a:rPr lang="en-US" sz="1000" b="1" dirty="0">
                <a:solidFill>
                  <a:srgbClr val="00148C"/>
                </a:solidFill>
              </a:rPr>
              <a:t>Syncs</a:t>
            </a:r>
            <a:endParaRPr lang="en-US" sz="1000" dirty="0">
              <a:solidFill>
                <a:srgbClr val="00148C"/>
              </a:solidFill>
            </a:endParaRPr>
          </a:p>
        </p:txBody>
      </p:sp>
      <p:sp>
        <p:nvSpPr>
          <p:cNvPr id="833" name="Rectangle 832">
            <a:extLst>
              <a:ext uri="{FF2B5EF4-FFF2-40B4-BE49-F238E27FC236}">
                <a16:creationId xmlns:a16="http://schemas.microsoft.com/office/drawing/2014/main" id="{F54D70BB-300E-4D2B-BAF3-0DD5D9E88593}"/>
              </a:ext>
            </a:extLst>
          </p:cNvPr>
          <p:cNvSpPr/>
          <p:nvPr/>
        </p:nvSpPr>
        <p:spPr>
          <a:xfrm>
            <a:off x="10963680" y="3959699"/>
            <a:ext cx="977139" cy="2000405"/>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a:solidFill>
                  <a:srgbClr val="55555A"/>
                </a:solidFill>
              </a:rPr>
              <a:t>Digital Product C</a:t>
            </a:r>
          </a:p>
        </p:txBody>
      </p:sp>
      <p:sp>
        <p:nvSpPr>
          <p:cNvPr id="12" name="TextBox 11">
            <a:extLst>
              <a:ext uri="{FF2B5EF4-FFF2-40B4-BE49-F238E27FC236}">
                <a16:creationId xmlns:a16="http://schemas.microsoft.com/office/drawing/2014/main" id="{DCC74CAB-9005-BC47-AF5A-810CADEE670A}"/>
              </a:ext>
            </a:extLst>
          </p:cNvPr>
          <p:cNvSpPr txBox="1"/>
          <p:nvPr/>
        </p:nvSpPr>
        <p:spPr>
          <a:xfrm>
            <a:off x="13170140" y="383607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284" name="Rectangle 283">
            <a:extLst>
              <a:ext uri="{FF2B5EF4-FFF2-40B4-BE49-F238E27FC236}">
                <a16:creationId xmlns:a16="http://schemas.microsoft.com/office/drawing/2014/main" id="{97DA959D-CE1D-4A70-8942-26104CB3A476}"/>
              </a:ext>
            </a:extLst>
          </p:cNvPr>
          <p:cNvSpPr/>
          <p:nvPr/>
        </p:nvSpPr>
        <p:spPr>
          <a:xfrm>
            <a:off x="9842158" y="3959699"/>
            <a:ext cx="977139" cy="2000405"/>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a:solidFill>
                  <a:srgbClr val="55555A"/>
                </a:solidFill>
              </a:rPr>
              <a:t>Digital Product B</a:t>
            </a:r>
          </a:p>
        </p:txBody>
      </p:sp>
      <p:sp>
        <p:nvSpPr>
          <p:cNvPr id="285" name="Rectangle 284">
            <a:extLst>
              <a:ext uri="{FF2B5EF4-FFF2-40B4-BE49-F238E27FC236}">
                <a16:creationId xmlns:a16="http://schemas.microsoft.com/office/drawing/2014/main" id="{218B7C0D-ECE8-46A6-9996-241620AB317A}"/>
              </a:ext>
            </a:extLst>
          </p:cNvPr>
          <p:cNvSpPr/>
          <p:nvPr/>
        </p:nvSpPr>
        <p:spPr>
          <a:xfrm>
            <a:off x="8743838" y="3959699"/>
            <a:ext cx="977139" cy="2000405"/>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a:solidFill>
                  <a:srgbClr val="55555A"/>
                </a:solidFill>
              </a:rPr>
              <a:t>Digital Product A</a:t>
            </a:r>
          </a:p>
        </p:txBody>
      </p:sp>
      <p:sp>
        <p:nvSpPr>
          <p:cNvPr id="288" name="Parallelogram 287">
            <a:extLst>
              <a:ext uri="{FF2B5EF4-FFF2-40B4-BE49-F238E27FC236}">
                <a16:creationId xmlns:a16="http://schemas.microsoft.com/office/drawing/2014/main" id="{31067E32-65F2-433A-87AD-49F75260954A}"/>
              </a:ext>
            </a:extLst>
          </p:cNvPr>
          <p:cNvSpPr/>
          <p:nvPr/>
        </p:nvSpPr>
        <p:spPr>
          <a:xfrm>
            <a:off x="8753646" y="3193644"/>
            <a:ext cx="3078445" cy="256135"/>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PRODUCT LINE 1</a:t>
            </a:r>
          </a:p>
        </p:txBody>
      </p:sp>
      <p:sp>
        <p:nvSpPr>
          <p:cNvPr id="292" name="Rectangle 291">
            <a:extLst>
              <a:ext uri="{FF2B5EF4-FFF2-40B4-BE49-F238E27FC236}">
                <a16:creationId xmlns:a16="http://schemas.microsoft.com/office/drawing/2014/main" id="{C677D568-C823-4919-8BFD-863C36583051}"/>
              </a:ext>
            </a:extLst>
          </p:cNvPr>
          <p:cNvSpPr/>
          <p:nvPr/>
        </p:nvSpPr>
        <p:spPr>
          <a:xfrm>
            <a:off x="8225314" y="591579"/>
            <a:ext cx="3867331" cy="1755863"/>
          </a:xfrm>
          <a:prstGeom prst="rect">
            <a:avLst/>
          </a:prstGeom>
          <a:noFill/>
          <a:ln w="19050" cap="rnd" cmpd="sng" algn="ctr">
            <a:solidFill>
              <a:schemeClr val="tx2"/>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148C"/>
              </a:solidFill>
              <a:effectLst/>
              <a:uLnTx/>
              <a:uFillTx/>
              <a:latin typeface="Arial"/>
              <a:ea typeface="+mn-ea"/>
              <a:cs typeface="Arial"/>
            </a:endParaRPr>
          </a:p>
        </p:txBody>
      </p:sp>
      <p:sp>
        <p:nvSpPr>
          <p:cNvPr id="294" name="Rectangle 293">
            <a:extLst>
              <a:ext uri="{FF2B5EF4-FFF2-40B4-BE49-F238E27FC236}">
                <a16:creationId xmlns:a16="http://schemas.microsoft.com/office/drawing/2014/main" id="{A9CE89B6-5A5D-436D-8115-BC2889296A90}"/>
              </a:ext>
            </a:extLst>
          </p:cNvPr>
          <p:cNvSpPr/>
          <p:nvPr/>
        </p:nvSpPr>
        <p:spPr>
          <a:xfrm>
            <a:off x="9138150" y="513520"/>
            <a:ext cx="2314100"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148C"/>
                </a:solidFill>
                <a:effectLst/>
                <a:uLnTx/>
                <a:uFillTx/>
                <a:latin typeface="Arial"/>
                <a:ea typeface="+mn-ea"/>
                <a:cs typeface="Arial"/>
              </a:rPr>
              <a:t>BU SPOKE LEADERSHIP</a:t>
            </a:r>
          </a:p>
        </p:txBody>
      </p:sp>
      <p:sp>
        <p:nvSpPr>
          <p:cNvPr id="296" name="Rectangle 295">
            <a:extLst>
              <a:ext uri="{FF2B5EF4-FFF2-40B4-BE49-F238E27FC236}">
                <a16:creationId xmlns:a16="http://schemas.microsoft.com/office/drawing/2014/main" id="{5A790DF1-30C8-4F31-A7AD-4DE178E13682}"/>
              </a:ext>
            </a:extLst>
          </p:cNvPr>
          <p:cNvSpPr/>
          <p:nvPr/>
        </p:nvSpPr>
        <p:spPr>
          <a:xfrm>
            <a:off x="460207" y="2880243"/>
            <a:ext cx="1338828" cy="276999"/>
          </a:xfrm>
          <a:prstGeom prst="rect">
            <a:avLst/>
          </a:prstGeom>
        </p:spPr>
        <p:txBody>
          <a:bodyPr wrap="none">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5"/>
                </a:solidFill>
                <a:latin typeface="Arial"/>
                <a:cs typeface="Arial"/>
              </a:rPr>
              <a:t>PRODUCT</a:t>
            </a:r>
          </a:p>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5"/>
                </a:solidFill>
                <a:latin typeface="Arial"/>
                <a:cs typeface="Arial"/>
              </a:rPr>
              <a:t>LINE</a:t>
            </a:r>
            <a:endParaRPr kumimoji="0" lang="en-US" sz="1200" b="1" i="0" u="none" strike="noStrike" kern="1200" cap="none" spc="0" normalizeH="0" baseline="0" noProof="0" dirty="0">
              <a:ln>
                <a:noFill/>
              </a:ln>
              <a:solidFill>
                <a:schemeClr val="accent5"/>
              </a:solidFill>
              <a:effectLst/>
              <a:uLnTx/>
              <a:uFillTx/>
              <a:latin typeface="Arial"/>
              <a:ea typeface="+mn-ea"/>
              <a:cs typeface="Arial"/>
            </a:endParaRPr>
          </a:p>
        </p:txBody>
      </p:sp>
      <p:sp>
        <p:nvSpPr>
          <p:cNvPr id="300" name="Rectangle 299">
            <a:extLst>
              <a:ext uri="{FF2B5EF4-FFF2-40B4-BE49-F238E27FC236}">
                <a16:creationId xmlns:a16="http://schemas.microsoft.com/office/drawing/2014/main" id="{76D1641B-5324-41A1-8FF9-734AE4ED4A4F}"/>
              </a:ext>
            </a:extLst>
          </p:cNvPr>
          <p:cNvSpPr/>
          <p:nvPr/>
        </p:nvSpPr>
        <p:spPr>
          <a:xfrm>
            <a:off x="422240" y="5105189"/>
            <a:ext cx="841897" cy="276999"/>
          </a:xfrm>
          <a:prstGeom prst="rect">
            <a:avLst/>
          </a:prstGeom>
        </p:spPr>
        <p:txBody>
          <a:bodyPr wrap="none">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5"/>
                </a:solidFill>
                <a:effectLst/>
                <a:uLnTx/>
                <a:uFillTx/>
                <a:latin typeface="Arial"/>
                <a:ea typeface="+mn-ea"/>
                <a:cs typeface="Arial"/>
              </a:rPr>
              <a:t>SQUADS</a:t>
            </a:r>
          </a:p>
        </p:txBody>
      </p:sp>
      <p:cxnSp>
        <p:nvCxnSpPr>
          <p:cNvPr id="313" name="Straight Connector 312">
            <a:extLst>
              <a:ext uri="{FF2B5EF4-FFF2-40B4-BE49-F238E27FC236}">
                <a16:creationId xmlns:a16="http://schemas.microsoft.com/office/drawing/2014/main" id="{1351544A-D776-4BAB-B8F9-B97CF7367BB1}"/>
              </a:ext>
            </a:extLst>
          </p:cNvPr>
          <p:cNvCxnSpPr>
            <a:cxnSpLocks/>
          </p:cNvCxnSpPr>
          <p:nvPr/>
        </p:nvCxnSpPr>
        <p:spPr>
          <a:xfrm flipV="1">
            <a:off x="517721" y="4909858"/>
            <a:ext cx="11241219" cy="11395"/>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320" name="Group 319">
            <a:extLst>
              <a:ext uri="{FF2B5EF4-FFF2-40B4-BE49-F238E27FC236}">
                <a16:creationId xmlns:a16="http://schemas.microsoft.com/office/drawing/2014/main" id="{5FF567F1-7D5F-491F-880A-B2A8C4615304}"/>
              </a:ext>
            </a:extLst>
          </p:cNvPr>
          <p:cNvGrpSpPr/>
          <p:nvPr/>
        </p:nvGrpSpPr>
        <p:grpSpPr>
          <a:xfrm>
            <a:off x="9731011" y="6109484"/>
            <a:ext cx="1308065" cy="387797"/>
            <a:chOff x="9017035" y="929360"/>
            <a:chExt cx="1308065" cy="387797"/>
          </a:xfrm>
        </p:grpSpPr>
        <p:grpSp>
          <p:nvGrpSpPr>
            <p:cNvPr id="321" name="Google Shape;18115;p1604">
              <a:extLst>
                <a:ext uri="{FF2B5EF4-FFF2-40B4-BE49-F238E27FC236}">
                  <a16:creationId xmlns:a16="http://schemas.microsoft.com/office/drawing/2014/main" id="{32A73BB2-3A63-473F-83C3-7C6299A9AF85}"/>
                </a:ext>
              </a:extLst>
            </p:cNvPr>
            <p:cNvGrpSpPr/>
            <p:nvPr/>
          </p:nvGrpSpPr>
          <p:grpSpPr>
            <a:xfrm>
              <a:off x="9124035" y="1001409"/>
              <a:ext cx="217843" cy="217845"/>
              <a:chOff x="1932810" y="1349835"/>
              <a:chExt cx="185335" cy="185337"/>
            </a:xfrm>
            <a:solidFill>
              <a:srgbClr val="FFE02B"/>
            </a:solidFill>
          </p:grpSpPr>
          <p:sp>
            <p:nvSpPr>
              <p:cNvPr id="340" name="Google Shape;18116;p1604">
                <a:extLst>
                  <a:ext uri="{FF2B5EF4-FFF2-40B4-BE49-F238E27FC236}">
                    <a16:creationId xmlns:a16="http://schemas.microsoft.com/office/drawing/2014/main" id="{756BBAED-9BE4-41C9-998D-647DDC2158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341" name="Google Shape;18117;p1604">
                <a:extLst>
                  <a:ext uri="{FF2B5EF4-FFF2-40B4-BE49-F238E27FC236}">
                    <a16:creationId xmlns:a16="http://schemas.microsoft.com/office/drawing/2014/main" id="{A4C7399A-B6CF-4E1B-9EE2-3C43CB39B7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322" name="Google Shape;18115;p1604">
              <a:extLst>
                <a:ext uri="{FF2B5EF4-FFF2-40B4-BE49-F238E27FC236}">
                  <a16:creationId xmlns:a16="http://schemas.microsoft.com/office/drawing/2014/main" id="{B4D3FF7D-8E07-46B6-A532-DC88758E48D8}"/>
                </a:ext>
              </a:extLst>
            </p:cNvPr>
            <p:cNvGrpSpPr/>
            <p:nvPr/>
          </p:nvGrpSpPr>
          <p:grpSpPr>
            <a:xfrm>
              <a:off x="9885521" y="1006760"/>
              <a:ext cx="217843" cy="217845"/>
              <a:chOff x="1932810" y="1349835"/>
              <a:chExt cx="185335" cy="185337"/>
            </a:xfrm>
            <a:solidFill>
              <a:srgbClr val="FFE02B"/>
            </a:solidFill>
          </p:grpSpPr>
          <p:sp>
            <p:nvSpPr>
              <p:cNvPr id="338" name="Google Shape;18116;p1604">
                <a:extLst>
                  <a:ext uri="{FF2B5EF4-FFF2-40B4-BE49-F238E27FC236}">
                    <a16:creationId xmlns:a16="http://schemas.microsoft.com/office/drawing/2014/main" id="{D41A8239-6CBA-4BEC-92F8-57DE9281BA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339" name="Google Shape;18117;p1604">
                <a:extLst>
                  <a:ext uri="{FF2B5EF4-FFF2-40B4-BE49-F238E27FC236}">
                    <a16:creationId xmlns:a16="http://schemas.microsoft.com/office/drawing/2014/main" id="{9111D89F-B7D0-456E-84EA-0F2D350B4B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323" name="Google Shape;18108;p1604">
              <a:extLst>
                <a:ext uri="{FF2B5EF4-FFF2-40B4-BE49-F238E27FC236}">
                  <a16:creationId xmlns:a16="http://schemas.microsoft.com/office/drawing/2014/main" id="{67FE42AC-8007-4C5B-B3F6-245F3DEEFB26}"/>
                </a:ext>
              </a:extLst>
            </p:cNvPr>
            <p:cNvSpPr txBox="1"/>
            <p:nvPr/>
          </p:nvSpPr>
          <p:spPr>
            <a:xfrm>
              <a:off x="9381411" y="1025973"/>
              <a:ext cx="410289" cy="14188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r>
                <a:rPr lang="en-US" sz="900" dirty="0">
                  <a:solidFill>
                    <a:srgbClr val="212121"/>
                  </a:solidFill>
                  <a:sym typeface="Century Gothic" panose="020B0502020202020204" pitchFamily="34" charset="0"/>
                </a:rPr>
                <a:t>Business</a:t>
              </a:r>
            </a:p>
          </p:txBody>
        </p:sp>
        <p:sp>
          <p:nvSpPr>
            <p:cNvPr id="324" name="Google Shape;18108;p1604">
              <a:extLst>
                <a:ext uri="{FF2B5EF4-FFF2-40B4-BE49-F238E27FC236}">
                  <a16:creationId xmlns:a16="http://schemas.microsoft.com/office/drawing/2014/main" id="{0CD1EC2C-E76A-402E-9253-A0CA9C06127C}"/>
                </a:ext>
              </a:extLst>
            </p:cNvPr>
            <p:cNvSpPr txBox="1"/>
            <p:nvPr/>
          </p:nvSpPr>
          <p:spPr>
            <a:xfrm>
              <a:off x="10168819" y="1025973"/>
              <a:ext cx="156281" cy="206469"/>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r>
                <a:rPr lang="en-US" sz="900" dirty="0">
                  <a:solidFill>
                    <a:srgbClr val="212121"/>
                  </a:solidFill>
                  <a:sym typeface="Century Gothic" panose="020B0502020202020204" pitchFamily="34" charset="0"/>
                </a:rPr>
                <a:t>IT</a:t>
              </a:r>
            </a:p>
          </p:txBody>
        </p:sp>
        <p:sp>
          <p:nvSpPr>
            <p:cNvPr id="325" name="Rectangle 324">
              <a:extLst>
                <a:ext uri="{FF2B5EF4-FFF2-40B4-BE49-F238E27FC236}">
                  <a16:creationId xmlns:a16="http://schemas.microsoft.com/office/drawing/2014/main" id="{80AFB90A-8957-445D-8E3A-627613720D9C}"/>
                </a:ext>
              </a:extLst>
            </p:cNvPr>
            <p:cNvSpPr/>
            <p:nvPr/>
          </p:nvSpPr>
          <p:spPr>
            <a:xfrm>
              <a:off x="9017035" y="929360"/>
              <a:ext cx="1308065" cy="387797"/>
            </a:xfrm>
            <a:prstGeom prst="rect">
              <a:avLst/>
            </a:prstGeom>
            <a:noFill/>
            <a:ln w="9525" cap="rnd" cmpd="sng" algn="ctr">
              <a:solidFill>
                <a:srgbClr val="A6A6A6"/>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458" name="Rectangle 457">
            <a:extLst>
              <a:ext uri="{FF2B5EF4-FFF2-40B4-BE49-F238E27FC236}">
                <a16:creationId xmlns:a16="http://schemas.microsoft.com/office/drawing/2014/main" id="{5EFE185D-47DD-4B48-BBBC-59C4619FAB08}"/>
              </a:ext>
            </a:extLst>
          </p:cNvPr>
          <p:cNvSpPr/>
          <p:nvPr/>
        </p:nvSpPr>
        <p:spPr>
          <a:xfrm>
            <a:off x="8526523" y="929697"/>
            <a:ext cx="1738830" cy="311983"/>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050" b="1" dirty="0">
                <a:solidFill>
                  <a:schemeClr val="tx2"/>
                </a:solidFill>
                <a:latin typeface="Arial" panose="020B0604020202020204"/>
              </a:rPr>
              <a:t>Transformation Leader</a:t>
            </a:r>
          </a:p>
        </p:txBody>
      </p:sp>
      <p:sp>
        <p:nvSpPr>
          <p:cNvPr id="470" name="Rectangle 469">
            <a:extLst>
              <a:ext uri="{FF2B5EF4-FFF2-40B4-BE49-F238E27FC236}">
                <a16:creationId xmlns:a16="http://schemas.microsoft.com/office/drawing/2014/main" id="{382BEBDF-131C-4EE1-B87D-63F0AA34EF73}"/>
              </a:ext>
            </a:extLst>
          </p:cNvPr>
          <p:cNvSpPr/>
          <p:nvPr/>
        </p:nvSpPr>
        <p:spPr>
          <a:xfrm>
            <a:off x="10999999" y="925632"/>
            <a:ext cx="543387" cy="333486"/>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1050" b="1" dirty="0">
                <a:solidFill>
                  <a:srgbClr val="00148C"/>
                </a:solidFill>
                <a:latin typeface="Arial"/>
                <a:cs typeface="Arial"/>
              </a:rPr>
              <a:t>CIO</a:t>
            </a:r>
          </a:p>
        </p:txBody>
      </p:sp>
      <p:grpSp>
        <p:nvGrpSpPr>
          <p:cNvPr id="475" name="Google Shape;18115;p1604">
            <a:extLst>
              <a:ext uri="{FF2B5EF4-FFF2-40B4-BE49-F238E27FC236}">
                <a16:creationId xmlns:a16="http://schemas.microsoft.com/office/drawing/2014/main" id="{EB316195-68E1-4C8F-8C96-3F97FD155265}"/>
              </a:ext>
            </a:extLst>
          </p:cNvPr>
          <p:cNvGrpSpPr/>
          <p:nvPr/>
        </p:nvGrpSpPr>
        <p:grpSpPr>
          <a:xfrm>
            <a:off x="8325531" y="941274"/>
            <a:ext cx="195067" cy="235260"/>
            <a:chOff x="1932810" y="1349835"/>
            <a:chExt cx="185335" cy="185337"/>
          </a:xfrm>
          <a:solidFill>
            <a:schemeClr val="tx2"/>
          </a:solidFill>
        </p:grpSpPr>
        <p:sp>
          <p:nvSpPr>
            <p:cNvPr id="476" name="Google Shape;18116;p1604">
              <a:extLst>
                <a:ext uri="{FF2B5EF4-FFF2-40B4-BE49-F238E27FC236}">
                  <a16:creationId xmlns:a16="http://schemas.microsoft.com/office/drawing/2014/main" id="{285DAB9A-C6DE-4A03-BC70-687013BA3DB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900" dirty="0">
                <a:solidFill>
                  <a:srgbClr val="0E0E0E"/>
                </a:solidFill>
                <a:ea typeface="Century Gothic"/>
                <a:cs typeface="Century Gothic"/>
                <a:sym typeface="Century Gothic" panose="020B0502020202020204" pitchFamily="34" charset="0"/>
              </a:endParaRPr>
            </a:p>
          </p:txBody>
        </p:sp>
        <p:sp>
          <p:nvSpPr>
            <p:cNvPr id="479" name="Google Shape;18117;p1604">
              <a:extLst>
                <a:ext uri="{FF2B5EF4-FFF2-40B4-BE49-F238E27FC236}">
                  <a16:creationId xmlns:a16="http://schemas.microsoft.com/office/drawing/2014/main" id="{C26D5254-D81C-4BE5-93DD-734CCDF9936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900" dirty="0">
                <a:solidFill>
                  <a:srgbClr val="0E0E0E"/>
                </a:solidFill>
                <a:ea typeface="Century Gothic"/>
                <a:cs typeface="Century Gothic"/>
                <a:sym typeface="Century Gothic" panose="020B0502020202020204" pitchFamily="34" charset="0"/>
              </a:endParaRPr>
            </a:p>
          </p:txBody>
        </p:sp>
      </p:grpSp>
      <p:grpSp>
        <p:nvGrpSpPr>
          <p:cNvPr id="527" name="Group 526">
            <a:extLst>
              <a:ext uri="{FF2B5EF4-FFF2-40B4-BE49-F238E27FC236}">
                <a16:creationId xmlns:a16="http://schemas.microsoft.com/office/drawing/2014/main" id="{C4D537D1-ACD4-4858-9CD8-4D6BF57FE3E9}"/>
              </a:ext>
            </a:extLst>
          </p:cNvPr>
          <p:cNvGrpSpPr>
            <a:grpSpLocks/>
          </p:cNvGrpSpPr>
          <p:nvPr/>
        </p:nvGrpSpPr>
        <p:grpSpPr>
          <a:xfrm>
            <a:off x="8811064" y="5147941"/>
            <a:ext cx="436569" cy="419720"/>
            <a:chOff x="2511970" y="2806214"/>
            <a:chExt cx="2598626" cy="2498332"/>
          </a:xfrm>
        </p:grpSpPr>
        <p:grpSp>
          <p:nvGrpSpPr>
            <p:cNvPr id="540" name="Google Shape;18115;p1604">
              <a:extLst>
                <a:ext uri="{FF2B5EF4-FFF2-40B4-BE49-F238E27FC236}">
                  <a16:creationId xmlns:a16="http://schemas.microsoft.com/office/drawing/2014/main" id="{B7E75B9D-71D7-4584-BD0B-D2BDEB273B8C}"/>
                </a:ext>
              </a:extLst>
            </p:cNvPr>
            <p:cNvGrpSpPr/>
            <p:nvPr/>
          </p:nvGrpSpPr>
          <p:grpSpPr>
            <a:xfrm>
              <a:off x="4214405" y="2806214"/>
              <a:ext cx="346511" cy="346515"/>
              <a:chOff x="1932810" y="1349835"/>
              <a:chExt cx="185335" cy="185337"/>
            </a:xfrm>
            <a:solidFill>
              <a:schemeClr val="tx2"/>
            </a:solidFill>
          </p:grpSpPr>
          <p:sp>
            <p:nvSpPr>
              <p:cNvPr id="563" name="Google Shape;18116;p1604">
                <a:extLst>
                  <a:ext uri="{FF2B5EF4-FFF2-40B4-BE49-F238E27FC236}">
                    <a16:creationId xmlns:a16="http://schemas.microsoft.com/office/drawing/2014/main" id="{37CFC4BC-6C63-425E-B8D6-209BAD5DD5D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64" name="Google Shape;18117;p1604">
                <a:extLst>
                  <a:ext uri="{FF2B5EF4-FFF2-40B4-BE49-F238E27FC236}">
                    <a16:creationId xmlns:a16="http://schemas.microsoft.com/office/drawing/2014/main" id="{B00272C8-66B4-45E3-B987-4A88486DF2E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541" name="Oval 540">
              <a:extLst>
                <a:ext uri="{FF2B5EF4-FFF2-40B4-BE49-F238E27FC236}">
                  <a16:creationId xmlns:a16="http://schemas.microsoft.com/office/drawing/2014/main" id="{D59F5778-8473-44C9-AAD7-528521202C87}"/>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42" name="Google Shape;18115;p1604">
              <a:extLst>
                <a:ext uri="{FF2B5EF4-FFF2-40B4-BE49-F238E27FC236}">
                  <a16:creationId xmlns:a16="http://schemas.microsoft.com/office/drawing/2014/main" id="{5CCD25A2-C235-463E-98B1-53C55302824A}"/>
                </a:ext>
              </a:extLst>
            </p:cNvPr>
            <p:cNvGrpSpPr/>
            <p:nvPr/>
          </p:nvGrpSpPr>
          <p:grpSpPr>
            <a:xfrm>
              <a:off x="4402332" y="4548551"/>
              <a:ext cx="346511" cy="346515"/>
              <a:chOff x="1932810" y="1349835"/>
              <a:chExt cx="185335" cy="185337"/>
            </a:xfrm>
            <a:solidFill>
              <a:schemeClr val="tx2"/>
            </a:solidFill>
          </p:grpSpPr>
          <p:sp>
            <p:nvSpPr>
              <p:cNvPr id="561" name="Google Shape;18116;p1604">
                <a:extLst>
                  <a:ext uri="{FF2B5EF4-FFF2-40B4-BE49-F238E27FC236}">
                    <a16:creationId xmlns:a16="http://schemas.microsoft.com/office/drawing/2014/main" id="{7969954F-28E2-488E-AA76-B710058D0F2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62" name="Google Shape;18117;p1604">
                <a:extLst>
                  <a:ext uri="{FF2B5EF4-FFF2-40B4-BE49-F238E27FC236}">
                    <a16:creationId xmlns:a16="http://schemas.microsoft.com/office/drawing/2014/main" id="{7F18DDCE-E3CB-47AE-A2CA-544C332CA97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3" name="Google Shape;18115;p1604">
              <a:extLst>
                <a:ext uri="{FF2B5EF4-FFF2-40B4-BE49-F238E27FC236}">
                  <a16:creationId xmlns:a16="http://schemas.microsoft.com/office/drawing/2014/main" id="{AC68537C-14D5-4AE2-8491-080995366175}"/>
                </a:ext>
              </a:extLst>
            </p:cNvPr>
            <p:cNvGrpSpPr/>
            <p:nvPr/>
          </p:nvGrpSpPr>
          <p:grpSpPr>
            <a:xfrm>
              <a:off x="3578880" y="4958031"/>
              <a:ext cx="346511" cy="346515"/>
              <a:chOff x="1932810" y="1349835"/>
              <a:chExt cx="185335" cy="185337"/>
            </a:xfrm>
            <a:solidFill>
              <a:schemeClr val="tx2"/>
            </a:solidFill>
          </p:grpSpPr>
          <p:sp>
            <p:nvSpPr>
              <p:cNvPr id="559" name="Google Shape;18116;p1604">
                <a:extLst>
                  <a:ext uri="{FF2B5EF4-FFF2-40B4-BE49-F238E27FC236}">
                    <a16:creationId xmlns:a16="http://schemas.microsoft.com/office/drawing/2014/main" id="{0A66CA9E-8C2D-4636-BA5B-D90BA1071D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60" name="Google Shape;18117;p1604">
                <a:extLst>
                  <a:ext uri="{FF2B5EF4-FFF2-40B4-BE49-F238E27FC236}">
                    <a16:creationId xmlns:a16="http://schemas.microsoft.com/office/drawing/2014/main" id="{F37C9E4C-EADC-4E72-899A-FB15EB9F4EC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4" name="Google Shape;18115;p1604">
              <a:extLst>
                <a:ext uri="{FF2B5EF4-FFF2-40B4-BE49-F238E27FC236}">
                  <a16:creationId xmlns:a16="http://schemas.microsoft.com/office/drawing/2014/main" id="{9641AF78-C1D4-4E87-B4C0-239FDC5E8DA7}"/>
                </a:ext>
              </a:extLst>
            </p:cNvPr>
            <p:cNvGrpSpPr/>
            <p:nvPr/>
          </p:nvGrpSpPr>
          <p:grpSpPr>
            <a:xfrm>
              <a:off x="2511970" y="3644968"/>
              <a:ext cx="346511" cy="346515"/>
              <a:chOff x="1932810" y="1349835"/>
              <a:chExt cx="185335" cy="185337"/>
            </a:xfrm>
            <a:solidFill>
              <a:schemeClr val="tx2"/>
            </a:solidFill>
          </p:grpSpPr>
          <p:sp>
            <p:nvSpPr>
              <p:cNvPr id="557" name="Google Shape;18116;p1604">
                <a:extLst>
                  <a:ext uri="{FF2B5EF4-FFF2-40B4-BE49-F238E27FC236}">
                    <a16:creationId xmlns:a16="http://schemas.microsoft.com/office/drawing/2014/main" id="{23AD8BEB-C6A7-4C2A-BE28-D132045794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8" name="Google Shape;18117;p1604">
                <a:extLst>
                  <a:ext uri="{FF2B5EF4-FFF2-40B4-BE49-F238E27FC236}">
                    <a16:creationId xmlns:a16="http://schemas.microsoft.com/office/drawing/2014/main" id="{20498B3A-2E07-48D2-9BFC-F95F1243504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5" name="Google Shape;18115;p1604">
              <a:extLst>
                <a:ext uri="{FF2B5EF4-FFF2-40B4-BE49-F238E27FC236}">
                  <a16:creationId xmlns:a16="http://schemas.microsoft.com/office/drawing/2014/main" id="{DF7BA4D9-DAC3-4DA0-B188-2DCD540835AA}"/>
                </a:ext>
              </a:extLst>
            </p:cNvPr>
            <p:cNvGrpSpPr/>
            <p:nvPr/>
          </p:nvGrpSpPr>
          <p:grpSpPr>
            <a:xfrm>
              <a:off x="4754363" y="4548551"/>
              <a:ext cx="346511" cy="346515"/>
              <a:chOff x="1932810" y="1349835"/>
              <a:chExt cx="185335" cy="185337"/>
            </a:xfrm>
            <a:solidFill>
              <a:schemeClr val="tx2"/>
            </a:solidFill>
          </p:grpSpPr>
          <p:sp>
            <p:nvSpPr>
              <p:cNvPr id="555" name="Google Shape;18116;p1604">
                <a:extLst>
                  <a:ext uri="{FF2B5EF4-FFF2-40B4-BE49-F238E27FC236}">
                    <a16:creationId xmlns:a16="http://schemas.microsoft.com/office/drawing/2014/main" id="{6C5D7EAF-887C-415D-BDEC-244648874C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6" name="Google Shape;18117;p1604">
                <a:extLst>
                  <a:ext uri="{FF2B5EF4-FFF2-40B4-BE49-F238E27FC236}">
                    <a16:creationId xmlns:a16="http://schemas.microsoft.com/office/drawing/2014/main" id="{25DD2496-C0B4-4153-9359-B9554A8C9E2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6" name="Google Shape;18115;p1604">
              <a:extLst>
                <a:ext uri="{FF2B5EF4-FFF2-40B4-BE49-F238E27FC236}">
                  <a16:creationId xmlns:a16="http://schemas.microsoft.com/office/drawing/2014/main" id="{4635226B-8B22-45D0-8CD5-837FBBDAEABD}"/>
                </a:ext>
              </a:extLst>
            </p:cNvPr>
            <p:cNvGrpSpPr/>
            <p:nvPr/>
          </p:nvGrpSpPr>
          <p:grpSpPr>
            <a:xfrm>
              <a:off x="2644688" y="4493428"/>
              <a:ext cx="346511" cy="346515"/>
              <a:chOff x="1932810" y="1349835"/>
              <a:chExt cx="185335" cy="185337"/>
            </a:xfrm>
            <a:solidFill>
              <a:schemeClr val="tx2"/>
            </a:solidFill>
          </p:grpSpPr>
          <p:sp>
            <p:nvSpPr>
              <p:cNvPr id="553" name="Google Shape;18116;p1604">
                <a:extLst>
                  <a:ext uri="{FF2B5EF4-FFF2-40B4-BE49-F238E27FC236}">
                    <a16:creationId xmlns:a16="http://schemas.microsoft.com/office/drawing/2014/main" id="{AB26F851-C9D5-492E-8A0D-D6D2DACA70A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4" name="Google Shape;18117;p1604">
                <a:extLst>
                  <a:ext uri="{FF2B5EF4-FFF2-40B4-BE49-F238E27FC236}">
                    <a16:creationId xmlns:a16="http://schemas.microsoft.com/office/drawing/2014/main" id="{6F5FDFF8-9C33-413C-AA2C-F0AA4A5885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7" name="Google Shape;18115;p1604">
              <a:extLst>
                <a:ext uri="{FF2B5EF4-FFF2-40B4-BE49-F238E27FC236}">
                  <a16:creationId xmlns:a16="http://schemas.microsoft.com/office/drawing/2014/main" id="{6CD31ABA-A795-436C-B5EB-3DFE4BCF7112}"/>
                </a:ext>
              </a:extLst>
            </p:cNvPr>
            <p:cNvGrpSpPr/>
            <p:nvPr/>
          </p:nvGrpSpPr>
          <p:grpSpPr>
            <a:xfrm>
              <a:off x="4764085" y="3612568"/>
              <a:ext cx="346511" cy="346515"/>
              <a:chOff x="1932810" y="1349835"/>
              <a:chExt cx="185335" cy="185337"/>
            </a:xfrm>
            <a:solidFill>
              <a:schemeClr val="tx2"/>
            </a:solidFill>
          </p:grpSpPr>
          <p:sp>
            <p:nvSpPr>
              <p:cNvPr id="551" name="Google Shape;18116;p1604">
                <a:extLst>
                  <a:ext uri="{FF2B5EF4-FFF2-40B4-BE49-F238E27FC236}">
                    <a16:creationId xmlns:a16="http://schemas.microsoft.com/office/drawing/2014/main" id="{BC3109E1-E6EF-4363-8CDB-D4DAD5C341F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2" name="Google Shape;18117;p1604">
                <a:extLst>
                  <a:ext uri="{FF2B5EF4-FFF2-40B4-BE49-F238E27FC236}">
                    <a16:creationId xmlns:a16="http://schemas.microsoft.com/office/drawing/2014/main" id="{572DDCAA-A270-43EC-8607-D17A5B1CB0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8" name="Google Shape;18115;p1604">
              <a:extLst>
                <a:ext uri="{FF2B5EF4-FFF2-40B4-BE49-F238E27FC236}">
                  <a16:creationId xmlns:a16="http://schemas.microsoft.com/office/drawing/2014/main" id="{0197E915-6112-4158-AA74-B3F8F3CA7A61}"/>
                </a:ext>
              </a:extLst>
            </p:cNvPr>
            <p:cNvGrpSpPr/>
            <p:nvPr/>
          </p:nvGrpSpPr>
          <p:grpSpPr>
            <a:xfrm>
              <a:off x="3091300" y="2809102"/>
              <a:ext cx="346511" cy="346515"/>
              <a:chOff x="1932810" y="1349835"/>
              <a:chExt cx="185335" cy="185337"/>
            </a:xfrm>
            <a:solidFill>
              <a:schemeClr val="tx2"/>
            </a:solidFill>
          </p:grpSpPr>
          <p:sp>
            <p:nvSpPr>
              <p:cNvPr id="549" name="Google Shape;18116;p1604">
                <a:extLst>
                  <a:ext uri="{FF2B5EF4-FFF2-40B4-BE49-F238E27FC236}">
                    <a16:creationId xmlns:a16="http://schemas.microsoft.com/office/drawing/2014/main" id="{0070FC2E-8C94-41BB-B971-81C62FCF90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0" name="Google Shape;18117;p1604">
                <a:extLst>
                  <a:ext uri="{FF2B5EF4-FFF2-40B4-BE49-F238E27FC236}">
                    <a16:creationId xmlns:a16="http://schemas.microsoft.com/office/drawing/2014/main" id="{839B96C5-C644-4052-A548-63F9FDB77B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565" name="Google Shape;18115;p1604">
            <a:extLst>
              <a:ext uri="{FF2B5EF4-FFF2-40B4-BE49-F238E27FC236}">
                <a16:creationId xmlns:a16="http://schemas.microsoft.com/office/drawing/2014/main" id="{D9F99488-9F26-4E1A-B388-97F6ACEAC156}"/>
              </a:ext>
            </a:extLst>
          </p:cNvPr>
          <p:cNvGrpSpPr/>
          <p:nvPr/>
        </p:nvGrpSpPr>
        <p:grpSpPr>
          <a:xfrm>
            <a:off x="8943501" y="4704358"/>
            <a:ext cx="193423" cy="193425"/>
            <a:chOff x="1932810" y="1349835"/>
            <a:chExt cx="185335" cy="185337"/>
          </a:xfrm>
          <a:solidFill>
            <a:schemeClr val="tx2"/>
          </a:solidFill>
        </p:grpSpPr>
        <p:sp>
          <p:nvSpPr>
            <p:cNvPr id="566" name="Google Shape;18116;p1604">
              <a:extLst>
                <a:ext uri="{FF2B5EF4-FFF2-40B4-BE49-F238E27FC236}">
                  <a16:creationId xmlns:a16="http://schemas.microsoft.com/office/drawing/2014/main" id="{E95D8F28-35E2-4E54-BC95-1CF3FBE4785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67" name="Google Shape;18117;p1604">
              <a:extLst>
                <a:ext uri="{FF2B5EF4-FFF2-40B4-BE49-F238E27FC236}">
                  <a16:creationId xmlns:a16="http://schemas.microsoft.com/office/drawing/2014/main" id="{B0F14680-A820-4CF4-B581-E04CD68D9D9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68" name="Google Shape;18115;p1604">
            <a:extLst>
              <a:ext uri="{FF2B5EF4-FFF2-40B4-BE49-F238E27FC236}">
                <a16:creationId xmlns:a16="http://schemas.microsoft.com/office/drawing/2014/main" id="{AF43C2E6-9376-4AFA-979A-C096FBFBE6D1}"/>
              </a:ext>
            </a:extLst>
          </p:cNvPr>
          <p:cNvGrpSpPr/>
          <p:nvPr/>
        </p:nvGrpSpPr>
        <p:grpSpPr>
          <a:xfrm>
            <a:off x="9336442" y="4704358"/>
            <a:ext cx="193423" cy="193425"/>
            <a:chOff x="1932810" y="1349835"/>
            <a:chExt cx="185335" cy="185337"/>
          </a:xfrm>
          <a:solidFill>
            <a:schemeClr val="tx2"/>
          </a:solidFill>
        </p:grpSpPr>
        <p:sp>
          <p:nvSpPr>
            <p:cNvPr id="569" name="Google Shape;18116;p1604">
              <a:extLst>
                <a:ext uri="{FF2B5EF4-FFF2-40B4-BE49-F238E27FC236}">
                  <a16:creationId xmlns:a16="http://schemas.microsoft.com/office/drawing/2014/main" id="{FDEA6EC5-2404-4C1D-B251-CF37934005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70" name="Google Shape;18117;p1604">
              <a:extLst>
                <a:ext uri="{FF2B5EF4-FFF2-40B4-BE49-F238E27FC236}">
                  <a16:creationId xmlns:a16="http://schemas.microsoft.com/office/drawing/2014/main" id="{F7AC9721-0BE7-49A3-862F-9C9AE454222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1" name="Group 570">
            <a:extLst>
              <a:ext uri="{FF2B5EF4-FFF2-40B4-BE49-F238E27FC236}">
                <a16:creationId xmlns:a16="http://schemas.microsoft.com/office/drawing/2014/main" id="{1389293C-CF1B-422A-B8FC-96014B157633}"/>
              </a:ext>
            </a:extLst>
          </p:cNvPr>
          <p:cNvGrpSpPr>
            <a:grpSpLocks/>
          </p:cNvGrpSpPr>
          <p:nvPr/>
        </p:nvGrpSpPr>
        <p:grpSpPr>
          <a:xfrm>
            <a:off x="9204112" y="5430975"/>
            <a:ext cx="436569" cy="419720"/>
            <a:chOff x="2511970" y="2806214"/>
            <a:chExt cx="2598626" cy="2498332"/>
          </a:xfrm>
        </p:grpSpPr>
        <p:grpSp>
          <p:nvGrpSpPr>
            <p:cNvPr id="572" name="Google Shape;18115;p1604">
              <a:extLst>
                <a:ext uri="{FF2B5EF4-FFF2-40B4-BE49-F238E27FC236}">
                  <a16:creationId xmlns:a16="http://schemas.microsoft.com/office/drawing/2014/main" id="{6847869F-2579-4F15-9A29-8C6AC8E0342D}"/>
                </a:ext>
              </a:extLst>
            </p:cNvPr>
            <p:cNvGrpSpPr/>
            <p:nvPr/>
          </p:nvGrpSpPr>
          <p:grpSpPr>
            <a:xfrm>
              <a:off x="4214405" y="2806214"/>
              <a:ext cx="346511" cy="346515"/>
              <a:chOff x="1932810" y="1349835"/>
              <a:chExt cx="185335" cy="185337"/>
            </a:xfrm>
            <a:solidFill>
              <a:schemeClr val="tx2"/>
            </a:solidFill>
          </p:grpSpPr>
          <p:sp>
            <p:nvSpPr>
              <p:cNvPr id="595" name="Google Shape;18116;p1604">
                <a:extLst>
                  <a:ext uri="{FF2B5EF4-FFF2-40B4-BE49-F238E27FC236}">
                    <a16:creationId xmlns:a16="http://schemas.microsoft.com/office/drawing/2014/main" id="{727506B5-1237-4549-970E-A259172412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96" name="Google Shape;18117;p1604">
                <a:extLst>
                  <a:ext uri="{FF2B5EF4-FFF2-40B4-BE49-F238E27FC236}">
                    <a16:creationId xmlns:a16="http://schemas.microsoft.com/office/drawing/2014/main" id="{CEBFE35B-DE7D-4E7B-AD83-E5BAA92372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573" name="Oval 572">
              <a:extLst>
                <a:ext uri="{FF2B5EF4-FFF2-40B4-BE49-F238E27FC236}">
                  <a16:creationId xmlns:a16="http://schemas.microsoft.com/office/drawing/2014/main" id="{8382EA04-59E2-4E91-ACBF-BFB908F1B132}"/>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74" name="Google Shape;18115;p1604">
              <a:extLst>
                <a:ext uri="{FF2B5EF4-FFF2-40B4-BE49-F238E27FC236}">
                  <a16:creationId xmlns:a16="http://schemas.microsoft.com/office/drawing/2014/main" id="{9A7E5D0E-35C9-432E-B064-7C1900AE18A8}"/>
                </a:ext>
              </a:extLst>
            </p:cNvPr>
            <p:cNvGrpSpPr/>
            <p:nvPr/>
          </p:nvGrpSpPr>
          <p:grpSpPr>
            <a:xfrm>
              <a:off x="4402332" y="4548551"/>
              <a:ext cx="346511" cy="346515"/>
              <a:chOff x="1932810" y="1349835"/>
              <a:chExt cx="185335" cy="185337"/>
            </a:xfrm>
            <a:solidFill>
              <a:schemeClr val="tx2"/>
            </a:solidFill>
          </p:grpSpPr>
          <p:sp>
            <p:nvSpPr>
              <p:cNvPr id="593" name="Google Shape;18116;p1604">
                <a:extLst>
                  <a:ext uri="{FF2B5EF4-FFF2-40B4-BE49-F238E27FC236}">
                    <a16:creationId xmlns:a16="http://schemas.microsoft.com/office/drawing/2014/main" id="{CEEDCDAF-C0A8-4BA8-B605-58C996F7AA0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94" name="Google Shape;18117;p1604">
                <a:extLst>
                  <a:ext uri="{FF2B5EF4-FFF2-40B4-BE49-F238E27FC236}">
                    <a16:creationId xmlns:a16="http://schemas.microsoft.com/office/drawing/2014/main" id="{1CCA840F-0DD2-4DED-A6D9-8BB92E32486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5" name="Google Shape;18115;p1604">
              <a:extLst>
                <a:ext uri="{FF2B5EF4-FFF2-40B4-BE49-F238E27FC236}">
                  <a16:creationId xmlns:a16="http://schemas.microsoft.com/office/drawing/2014/main" id="{E8C6F9DE-CDF5-488B-8995-45F8188237C5}"/>
                </a:ext>
              </a:extLst>
            </p:cNvPr>
            <p:cNvGrpSpPr/>
            <p:nvPr/>
          </p:nvGrpSpPr>
          <p:grpSpPr>
            <a:xfrm>
              <a:off x="3578880" y="4958031"/>
              <a:ext cx="346511" cy="346515"/>
              <a:chOff x="1932810" y="1349835"/>
              <a:chExt cx="185335" cy="185337"/>
            </a:xfrm>
            <a:solidFill>
              <a:schemeClr val="tx2"/>
            </a:solidFill>
          </p:grpSpPr>
          <p:sp>
            <p:nvSpPr>
              <p:cNvPr id="591" name="Google Shape;18116;p1604">
                <a:extLst>
                  <a:ext uri="{FF2B5EF4-FFF2-40B4-BE49-F238E27FC236}">
                    <a16:creationId xmlns:a16="http://schemas.microsoft.com/office/drawing/2014/main" id="{55B9AAE2-E328-477A-9AA1-F9B59F2C389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92" name="Google Shape;18117;p1604">
                <a:extLst>
                  <a:ext uri="{FF2B5EF4-FFF2-40B4-BE49-F238E27FC236}">
                    <a16:creationId xmlns:a16="http://schemas.microsoft.com/office/drawing/2014/main" id="{1CC7B9FE-4862-43DF-8DD2-927366662C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6" name="Google Shape;18115;p1604">
              <a:extLst>
                <a:ext uri="{FF2B5EF4-FFF2-40B4-BE49-F238E27FC236}">
                  <a16:creationId xmlns:a16="http://schemas.microsoft.com/office/drawing/2014/main" id="{269EDD1A-D308-4B9E-9F51-EAAEDDF63678}"/>
                </a:ext>
              </a:extLst>
            </p:cNvPr>
            <p:cNvGrpSpPr/>
            <p:nvPr/>
          </p:nvGrpSpPr>
          <p:grpSpPr>
            <a:xfrm>
              <a:off x="2511970" y="3644968"/>
              <a:ext cx="346511" cy="346515"/>
              <a:chOff x="1932810" y="1349835"/>
              <a:chExt cx="185335" cy="185337"/>
            </a:xfrm>
            <a:solidFill>
              <a:schemeClr val="tx2"/>
            </a:solidFill>
          </p:grpSpPr>
          <p:sp>
            <p:nvSpPr>
              <p:cNvPr id="589" name="Google Shape;18116;p1604">
                <a:extLst>
                  <a:ext uri="{FF2B5EF4-FFF2-40B4-BE49-F238E27FC236}">
                    <a16:creationId xmlns:a16="http://schemas.microsoft.com/office/drawing/2014/main" id="{971F01AC-0708-413E-BAA0-DE7D988115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90" name="Google Shape;18117;p1604">
                <a:extLst>
                  <a:ext uri="{FF2B5EF4-FFF2-40B4-BE49-F238E27FC236}">
                    <a16:creationId xmlns:a16="http://schemas.microsoft.com/office/drawing/2014/main" id="{B24E6C50-D8A9-4323-83BD-BD2E6A4F5BA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7" name="Google Shape;18115;p1604">
              <a:extLst>
                <a:ext uri="{FF2B5EF4-FFF2-40B4-BE49-F238E27FC236}">
                  <a16:creationId xmlns:a16="http://schemas.microsoft.com/office/drawing/2014/main" id="{0429E9F0-468F-4382-B907-F60BE5FB5282}"/>
                </a:ext>
              </a:extLst>
            </p:cNvPr>
            <p:cNvGrpSpPr/>
            <p:nvPr/>
          </p:nvGrpSpPr>
          <p:grpSpPr>
            <a:xfrm>
              <a:off x="4754363" y="4548551"/>
              <a:ext cx="346511" cy="346515"/>
              <a:chOff x="1932810" y="1349835"/>
              <a:chExt cx="185335" cy="185337"/>
            </a:xfrm>
            <a:solidFill>
              <a:schemeClr val="tx2"/>
            </a:solidFill>
          </p:grpSpPr>
          <p:sp>
            <p:nvSpPr>
              <p:cNvPr id="587" name="Google Shape;18116;p1604">
                <a:extLst>
                  <a:ext uri="{FF2B5EF4-FFF2-40B4-BE49-F238E27FC236}">
                    <a16:creationId xmlns:a16="http://schemas.microsoft.com/office/drawing/2014/main" id="{D708F69F-561B-4298-AE37-90F99D1DD82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88" name="Google Shape;18117;p1604">
                <a:extLst>
                  <a:ext uri="{FF2B5EF4-FFF2-40B4-BE49-F238E27FC236}">
                    <a16:creationId xmlns:a16="http://schemas.microsoft.com/office/drawing/2014/main" id="{E7C8E1CA-E840-4F63-BE67-22363CE78E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8" name="Google Shape;18115;p1604">
              <a:extLst>
                <a:ext uri="{FF2B5EF4-FFF2-40B4-BE49-F238E27FC236}">
                  <a16:creationId xmlns:a16="http://schemas.microsoft.com/office/drawing/2014/main" id="{ABFC9067-948D-4B25-B641-5E6A1E1453BF}"/>
                </a:ext>
              </a:extLst>
            </p:cNvPr>
            <p:cNvGrpSpPr/>
            <p:nvPr/>
          </p:nvGrpSpPr>
          <p:grpSpPr>
            <a:xfrm>
              <a:off x="2644688" y="4493428"/>
              <a:ext cx="346511" cy="346515"/>
              <a:chOff x="1932810" y="1349835"/>
              <a:chExt cx="185335" cy="185337"/>
            </a:xfrm>
            <a:solidFill>
              <a:schemeClr val="tx2"/>
            </a:solidFill>
          </p:grpSpPr>
          <p:sp>
            <p:nvSpPr>
              <p:cNvPr id="585" name="Google Shape;18116;p1604">
                <a:extLst>
                  <a:ext uri="{FF2B5EF4-FFF2-40B4-BE49-F238E27FC236}">
                    <a16:creationId xmlns:a16="http://schemas.microsoft.com/office/drawing/2014/main" id="{AACBE879-3BA9-4D48-AFF0-8EF32131049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86" name="Google Shape;18117;p1604">
                <a:extLst>
                  <a:ext uri="{FF2B5EF4-FFF2-40B4-BE49-F238E27FC236}">
                    <a16:creationId xmlns:a16="http://schemas.microsoft.com/office/drawing/2014/main" id="{C6B1CAC6-BC2B-471B-9E85-8AF7C17493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9" name="Google Shape;18115;p1604">
              <a:extLst>
                <a:ext uri="{FF2B5EF4-FFF2-40B4-BE49-F238E27FC236}">
                  <a16:creationId xmlns:a16="http://schemas.microsoft.com/office/drawing/2014/main" id="{12DAB7C7-6FC6-4E70-8115-8FF035AB14C3}"/>
                </a:ext>
              </a:extLst>
            </p:cNvPr>
            <p:cNvGrpSpPr/>
            <p:nvPr/>
          </p:nvGrpSpPr>
          <p:grpSpPr>
            <a:xfrm>
              <a:off x="4764085" y="3612568"/>
              <a:ext cx="346511" cy="346515"/>
              <a:chOff x="1932810" y="1349835"/>
              <a:chExt cx="185335" cy="185337"/>
            </a:xfrm>
            <a:solidFill>
              <a:schemeClr val="tx2"/>
            </a:solidFill>
          </p:grpSpPr>
          <p:sp>
            <p:nvSpPr>
              <p:cNvPr id="583" name="Google Shape;18116;p1604">
                <a:extLst>
                  <a:ext uri="{FF2B5EF4-FFF2-40B4-BE49-F238E27FC236}">
                    <a16:creationId xmlns:a16="http://schemas.microsoft.com/office/drawing/2014/main" id="{CB6A7866-6D89-4284-AC3A-25AC7957E0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84" name="Google Shape;18117;p1604">
                <a:extLst>
                  <a:ext uri="{FF2B5EF4-FFF2-40B4-BE49-F238E27FC236}">
                    <a16:creationId xmlns:a16="http://schemas.microsoft.com/office/drawing/2014/main" id="{D3F97FAA-5AC5-481F-87E8-8755A04E1F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80" name="Google Shape;18115;p1604">
              <a:extLst>
                <a:ext uri="{FF2B5EF4-FFF2-40B4-BE49-F238E27FC236}">
                  <a16:creationId xmlns:a16="http://schemas.microsoft.com/office/drawing/2014/main" id="{D745DEE0-9ABC-476E-9EEC-2F0414C73C81}"/>
                </a:ext>
              </a:extLst>
            </p:cNvPr>
            <p:cNvGrpSpPr/>
            <p:nvPr/>
          </p:nvGrpSpPr>
          <p:grpSpPr>
            <a:xfrm>
              <a:off x="3091300" y="2809102"/>
              <a:ext cx="346511" cy="346515"/>
              <a:chOff x="1932810" y="1349835"/>
              <a:chExt cx="185335" cy="185337"/>
            </a:xfrm>
            <a:solidFill>
              <a:schemeClr val="tx2"/>
            </a:solidFill>
          </p:grpSpPr>
          <p:sp>
            <p:nvSpPr>
              <p:cNvPr id="581" name="Google Shape;18116;p1604">
                <a:extLst>
                  <a:ext uri="{FF2B5EF4-FFF2-40B4-BE49-F238E27FC236}">
                    <a16:creationId xmlns:a16="http://schemas.microsoft.com/office/drawing/2014/main" id="{CF441640-1D3E-41DB-8611-D035B92872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82" name="Google Shape;18117;p1604">
                <a:extLst>
                  <a:ext uri="{FF2B5EF4-FFF2-40B4-BE49-F238E27FC236}">
                    <a16:creationId xmlns:a16="http://schemas.microsoft.com/office/drawing/2014/main" id="{052FCE40-B3B6-4DD2-A08E-80FB816CB97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597" name="Group 596">
            <a:extLst>
              <a:ext uri="{FF2B5EF4-FFF2-40B4-BE49-F238E27FC236}">
                <a16:creationId xmlns:a16="http://schemas.microsoft.com/office/drawing/2014/main" id="{7DD45960-DBC3-4047-9309-A6F01D9B92B9}"/>
              </a:ext>
            </a:extLst>
          </p:cNvPr>
          <p:cNvGrpSpPr>
            <a:grpSpLocks/>
          </p:cNvGrpSpPr>
          <p:nvPr/>
        </p:nvGrpSpPr>
        <p:grpSpPr>
          <a:xfrm>
            <a:off x="9911485" y="5357964"/>
            <a:ext cx="436569" cy="419720"/>
            <a:chOff x="2511970" y="2806214"/>
            <a:chExt cx="2598626" cy="2498332"/>
          </a:xfrm>
        </p:grpSpPr>
        <p:grpSp>
          <p:nvGrpSpPr>
            <p:cNvPr id="598" name="Google Shape;18115;p1604">
              <a:extLst>
                <a:ext uri="{FF2B5EF4-FFF2-40B4-BE49-F238E27FC236}">
                  <a16:creationId xmlns:a16="http://schemas.microsoft.com/office/drawing/2014/main" id="{2D613FB1-5D44-4C40-816D-398FD1944831}"/>
                </a:ext>
              </a:extLst>
            </p:cNvPr>
            <p:cNvGrpSpPr/>
            <p:nvPr/>
          </p:nvGrpSpPr>
          <p:grpSpPr>
            <a:xfrm>
              <a:off x="4214405" y="2806214"/>
              <a:ext cx="346511" cy="346515"/>
              <a:chOff x="1932810" y="1349835"/>
              <a:chExt cx="185335" cy="185337"/>
            </a:xfrm>
            <a:solidFill>
              <a:schemeClr val="tx2"/>
            </a:solidFill>
          </p:grpSpPr>
          <p:sp>
            <p:nvSpPr>
              <p:cNvPr id="621" name="Google Shape;18116;p1604">
                <a:extLst>
                  <a:ext uri="{FF2B5EF4-FFF2-40B4-BE49-F238E27FC236}">
                    <a16:creationId xmlns:a16="http://schemas.microsoft.com/office/drawing/2014/main" id="{725280EE-20BF-409E-8954-DF537668A9D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22" name="Google Shape;18117;p1604">
                <a:extLst>
                  <a:ext uri="{FF2B5EF4-FFF2-40B4-BE49-F238E27FC236}">
                    <a16:creationId xmlns:a16="http://schemas.microsoft.com/office/drawing/2014/main" id="{6B3EA345-7194-43AA-9C8C-7E71C3E4C2D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599" name="Oval 598">
              <a:extLst>
                <a:ext uri="{FF2B5EF4-FFF2-40B4-BE49-F238E27FC236}">
                  <a16:creationId xmlns:a16="http://schemas.microsoft.com/office/drawing/2014/main" id="{D1692635-290F-4196-B8AE-1808AF90361D}"/>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00" name="Google Shape;18115;p1604">
              <a:extLst>
                <a:ext uri="{FF2B5EF4-FFF2-40B4-BE49-F238E27FC236}">
                  <a16:creationId xmlns:a16="http://schemas.microsoft.com/office/drawing/2014/main" id="{2B131143-D7F1-444D-AD92-A9671BA4FE6C}"/>
                </a:ext>
              </a:extLst>
            </p:cNvPr>
            <p:cNvGrpSpPr/>
            <p:nvPr/>
          </p:nvGrpSpPr>
          <p:grpSpPr>
            <a:xfrm>
              <a:off x="4402332" y="4548551"/>
              <a:ext cx="346511" cy="346515"/>
              <a:chOff x="1932810" y="1349835"/>
              <a:chExt cx="185335" cy="185337"/>
            </a:xfrm>
            <a:solidFill>
              <a:schemeClr val="tx2"/>
            </a:solidFill>
          </p:grpSpPr>
          <p:sp>
            <p:nvSpPr>
              <p:cNvPr id="619" name="Google Shape;18116;p1604">
                <a:extLst>
                  <a:ext uri="{FF2B5EF4-FFF2-40B4-BE49-F238E27FC236}">
                    <a16:creationId xmlns:a16="http://schemas.microsoft.com/office/drawing/2014/main" id="{AD81EAC6-BD43-4FD4-AA1C-2D8DC41E6E1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20" name="Google Shape;18117;p1604">
                <a:extLst>
                  <a:ext uri="{FF2B5EF4-FFF2-40B4-BE49-F238E27FC236}">
                    <a16:creationId xmlns:a16="http://schemas.microsoft.com/office/drawing/2014/main" id="{2F6078BE-9A9D-4372-B7EB-58CF2233B8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1" name="Google Shape;18115;p1604">
              <a:extLst>
                <a:ext uri="{FF2B5EF4-FFF2-40B4-BE49-F238E27FC236}">
                  <a16:creationId xmlns:a16="http://schemas.microsoft.com/office/drawing/2014/main" id="{26E591FC-260E-4DB1-9774-B9D36A0C84FE}"/>
                </a:ext>
              </a:extLst>
            </p:cNvPr>
            <p:cNvGrpSpPr/>
            <p:nvPr/>
          </p:nvGrpSpPr>
          <p:grpSpPr>
            <a:xfrm>
              <a:off x="3578880" y="4958031"/>
              <a:ext cx="346511" cy="346515"/>
              <a:chOff x="1932810" y="1349835"/>
              <a:chExt cx="185335" cy="185337"/>
            </a:xfrm>
            <a:solidFill>
              <a:schemeClr val="tx2"/>
            </a:solidFill>
          </p:grpSpPr>
          <p:sp>
            <p:nvSpPr>
              <p:cNvPr id="617" name="Google Shape;18116;p1604">
                <a:extLst>
                  <a:ext uri="{FF2B5EF4-FFF2-40B4-BE49-F238E27FC236}">
                    <a16:creationId xmlns:a16="http://schemas.microsoft.com/office/drawing/2014/main" id="{A28EEF6E-204E-47AE-B1B0-F54FE6EBB00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8" name="Google Shape;18117;p1604">
                <a:extLst>
                  <a:ext uri="{FF2B5EF4-FFF2-40B4-BE49-F238E27FC236}">
                    <a16:creationId xmlns:a16="http://schemas.microsoft.com/office/drawing/2014/main" id="{94FC0278-8DDA-4371-A175-7DC2CC0C948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2" name="Google Shape;18115;p1604">
              <a:extLst>
                <a:ext uri="{FF2B5EF4-FFF2-40B4-BE49-F238E27FC236}">
                  <a16:creationId xmlns:a16="http://schemas.microsoft.com/office/drawing/2014/main" id="{7CD5BA3A-A721-455E-A52A-9F2B193EB6B8}"/>
                </a:ext>
              </a:extLst>
            </p:cNvPr>
            <p:cNvGrpSpPr/>
            <p:nvPr/>
          </p:nvGrpSpPr>
          <p:grpSpPr>
            <a:xfrm>
              <a:off x="2511970" y="3644968"/>
              <a:ext cx="346511" cy="346515"/>
              <a:chOff x="1932810" y="1349835"/>
              <a:chExt cx="185335" cy="185337"/>
            </a:xfrm>
            <a:solidFill>
              <a:schemeClr val="tx2"/>
            </a:solidFill>
          </p:grpSpPr>
          <p:sp>
            <p:nvSpPr>
              <p:cNvPr id="615" name="Google Shape;18116;p1604">
                <a:extLst>
                  <a:ext uri="{FF2B5EF4-FFF2-40B4-BE49-F238E27FC236}">
                    <a16:creationId xmlns:a16="http://schemas.microsoft.com/office/drawing/2014/main" id="{6FD1210C-37F1-4AD9-AFA6-056FEF74393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6" name="Google Shape;18117;p1604">
                <a:extLst>
                  <a:ext uri="{FF2B5EF4-FFF2-40B4-BE49-F238E27FC236}">
                    <a16:creationId xmlns:a16="http://schemas.microsoft.com/office/drawing/2014/main" id="{02CD2D8B-A897-4936-BA80-889C4E6D275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3" name="Google Shape;18115;p1604">
              <a:extLst>
                <a:ext uri="{FF2B5EF4-FFF2-40B4-BE49-F238E27FC236}">
                  <a16:creationId xmlns:a16="http://schemas.microsoft.com/office/drawing/2014/main" id="{51C7A45B-218C-4BF3-B9C2-625045707781}"/>
                </a:ext>
              </a:extLst>
            </p:cNvPr>
            <p:cNvGrpSpPr/>
            <p:nvPr/>
          </p:nvGrpSpPr>
          <p:grpSpPr>
            <a:xfrm>
              <a:off x="4754363" y="4548551"/>
              <a:ext cx="346511" cy="346515"/>
              <a:chOff x="1932810" y="1349835"/>
              <a:chExt cx="185335" cy="185337"/>
            </a:xfrm>
            <a:solidFill>
              <a:schemeClr val="tx2"/>
            </a:solidFill>
          </p:grpSpPr>
          <p:sp>
            <p:nvSpPr>
              <p:cNvPr id="613" name="Google Shape;18116;p1604">
                <a:extLst>
                  <a:ext uri="{FF2B5EF4-FFF2-40B4-BE49-F238E27FC236}">
                    <a16:creationId xmlns:a16="http://schemas.microsoft.com/office/drawing/2014/main" id="{430853AC-14CA-40FB-9CA7-BEB4CC2AAD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4" name="Google Shape;18117;p1604">
                <a:extLst>
                  <a:ext uri="{FF2B5EF4-FFF2-40B4-BE49-F238E27FC236}">
                    <a16:creationId xmlns:a16="http://schemas.microsoft.com/office/drawing/2014/main" id="{DA1B5DD1-5BFA-44C2-A5AE-8F628C3760D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4" name="Google Shape;18115;p1604">
              <a:extLst>
                <a:ext uri="{FF2B5EF4-FFF2-40B4-BE49-F238E27FC236}">
                  <a16:creationId xmlns:a16="http://schemas.microsoft.com/office/drawing/2014/main" id="{2E476BEA-A69B-490C-BFB0-FE185941B717}"/>
                </a:ext>
              </a:extLst>
            </p:cNvPr>
            <p:cNvGrpSpPr/>
            <p:nvPr/>
          </p:nvGrpSpPr>
          <p:grpSpPr>
            <a:xfrm>
              <a:off x="2644688" y="4493428"/>
              <a:ext cx="346511" cy="346515"/>
              <a:chOff x="1932810" y="1349835"/>
              <a:chExt cx="185335" cy="185337"/>
            </a:xfrm>
            <a:solidFill>
              <a:schemeClr val="tx2"/>
            </a:solidFill>
          </p:grpSpPr>
          <p:sp>
            <p:nvSpPr>
              <p:cNvPr id="611" name="Google Shape;18116;p1604">
                <a:extLst>
                  <a:ext uri="{FF2B5EF4-FFF2-40B4-BE49-F238E27FC236}">
                    <a16:creationId xmlns:a16="http://schemas.microsoft.com/office/drawing/2014/main" id="{B923C069-16C6-41C3-8DC8-FE15C8F74D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2" name="Google Shape;18117;p1604">
                <a:extLst>
                  <a:ext uri="{FF2B5EF4-FFF2-40B4-BE49-F238E27FC236}">
                    <a16:creationId xmlns:a16="http://schemas.microsoft.com/office/drawing/2014/main" id="{801FEADA-5D19-4AD1-95DC-6A6C2A007D1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5" name="Google Shape;18115;p1604">
              <a:extLst>
                <a:ext uri="{FF2B5EF4-FFF2-40B4-BE49-F238E27FC236}">
                  <a16:creationId xmlns:a16="http://schemas.microsoft.com/office/drawing/2014/main" id="{3C9A8C79-F289-46B6-BB26-E4AF28082958}"/>
                </a:ext>
              </a:extLst>
            </p:cNvPr>
            <p:cNvGrpSpPr/>
            <p:nvPr/>
          </p:nvGrpSpPr>
          <p:grpSpPr>
            <a:xfrm>
              <a:off x="4764085" y="3612568"/>
              <a:ext cx="346511" cy="346515"/>
              <a:chOff x="1932810" y="1349835"/>
              <a:chExt cx="185335" cy="185337"/>
            </a:xfrm>
            <a:solidFill>
              <a:schemeClr val="tx2"/>
            </a:solidFill>
          </p:grpSpPr>
          <p:sp>
            <p:nvSpPr>
              <p:cNvPr id="609" name="Google Shape;18116;p1604">
                <a:extLst>
                  <a:ext uri="{FF2B5EF4-FFF2-40B4-BE49-F238E27FC236}">
                    <a16:creationId xmlns:a16="http://schemas.microsoft.com/office/drawing/2014/main" id="{A7313060-DCAD-4064-985A-833B01E61B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0" name="Google Shape;18117;p1604">
                <a:extLst>
                  <a:ext uri="{FF2B5EF4-FFF2-40B4-BE49-F238E27FC236}">
                    <a16:creationId xmlns:a16="http://schemas.microsoft.com/office/drawing/2014/main" id="{398402B2-C156-4539-A41E-6C4DE1CCDB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6" name="Google Shape;18115;p1604">
              <a:extLst>
                <a:ext uri="{FF2B5EF4-FFF2-40B4-BE49-F238E27FC236}">
                  <a16:creationId xmlns:a16="http://schemas.microsoft.com/office/drawing/2014/main" id="{AA1CC301-06D8-4503-80BD-48843F735A3F}"/>
                </a:ext>
              </a:extLst>
            </p:cNvPr>
            <p:cNvGrpSpPr/>
            <p:nvPr/>
          </p:nvGrpSpPr>
          <p:grpSpPr>
            <a:xfrm>
              <a:off x="3091300" y="2809102"/>
              <a:ext cx="346511" cy="346515"/>
              <a:chOff x="1932810" y="1349835"/>
              <a:chExt cx="185335" cy="185337"/>
            </a:xfrm>
            <a:solidFill>
              <a:schemeClr val="tx2"/>
            </a:solidFill>
          </p:grpSpPr>
          <p:sp>
            <p:nvSpPr>
              <p:cNvPr id="607" name="Google Shape;18116;p1604">
                <a:extLst>
                  <a:ext uri="{FF2B5EF4-FFF2-40B4-BE49-F238E27FC236}">
                    <a16:creationId xmlns:a16="http://schemas.microsoft.com/office/drawing/2014/main" id="{886E20E5-E229-4F79-A584-5B5C2F61FB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08" name="Google Shape;18117;p1604">
                <a:extLst>
                  <a:ext uri="{FF2B5EF4-FFF2-40B4-BE49-F238E27FC236}">
                    <a16:creationId xmlns:a16="http://schemas.microsoft.com/office/drawing/2014/main" id="{3DE7D54F-178E-425B-B335-63E39265C41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623" name="Group 622">
            <a:extLst>
              <a:ext uri="{FF2B5EF4-FFF2-40B4-BE49-F238E27FC236}">
                <a16:creationId xmlns:a16="http://schemas.microsoft.com/office/drawing/2014/main" id="{7762D87F-72B4-4EEF-823E-6EDC5E1D0A1E}"/>
              </a:ext>
            </a:extLst>
          </p:cNvPr>
          <p:cNvGrpSpPr>
            <a:grpSpLocks/>
          </p:cNvGrpSpPr>
          <p:nvPr/>
        </p:nvGrpSpPr>
        <p:grpSpPr>
          <a:xfrm>
            <a:off x="10304533" y="5112576"/>
            <a:ext cx="436569" cy="419720"/>
            <a:chOff x="2511970" y="2806214"/>
            <a:chExt cx="2598626" cy="2498332"/>
          </a:xfrm>
        </p:grpSpPr>
        <p:grpSp>
          <p:nvGrpSpPr>
            <p:cNvPr id="624" name="Google Shape;18115;p1604">
              <a:extLst>
                <a:ext uri="{FF2B5EF4-FFF2-40B4-BE49-F238E27FC236}">
                  <a16:creationId xmlns:a16="http://schemas.microsoft.com/office/drawing/2014/main" id="{405CD522-35F7-4021-B852-E8DE9F116D51}"/>
                </a:ext>
              </a:extLst>
            </p:cNvPr>
            <p:cNvGrpSpPr/>
            <p:nvPr/>
          </p:nvGrpSpPr>
          <p:grpSpPr>
            <a:xfrm>
              <a:off x="4214405" y="2806214"/>
              <a:ext cx="346511" cy="346515"/>
              <a:chOff x="1932810" y="1349835"/>
              <a:chExt cx="185335" cy="185337"/>
            </a:xfrm>
            <a:solidFill>
              <a:schemeClr val="tx2"/>
            </a:solidFill>
          </p:grpSpPr>
          <p:sp>
            <p:nvSpPr>
              <p:cNvPr id="647" name="Google Shape;18116;p1604">
                <a:extLst>
                  <a:ext uri="{FF2B5EF4-FFF2-40B4-BE49-F238E27FC236}">
                    <a16:creationId xmlns:a16="http://schemas.microsoft.com/office/drawing/2014/main" id="{EEB1A7CB-9824-4CE6-8665-99478A1398D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8" name="Google Shape;18117;p1604">
                <a:extLst>
                  <a:ext uri="{FF2B5EF4-FFF2-40B4-BE49-F238E27FC236}">
                    <a16:creationId xmlns:a16="http://schemas.microsoft.com/office/drawing/2014/main" id="{13B556CD-8507-4D87-9868-8D146539F06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625" name="Oval 624">
              <a:extLst>
                <a:ext uri="{FF2B5EF4-FFF2-40B4-BE49-F238E27FC236}">
                  <a16:creationId xmlns:a16="http://schemas.microsoft.com/office/drawing/2014/main" id="{061B950F-37B5-441E-95BB-F7B3C58F98AB}"/>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6" name="Google Shape;18115;p1604">
              <a:extLst>
                <a:ext uri="{FF2B5EF4-FFF2-40B4-BE49-F238E27FC236}">
                  <a16:creationId xmlns:a16="http://schemas.microsoft.com/office/drawing/2014/main" id="{5BBC528E-4CEE-4F15-B772-95B349802BD1}"/>
                </a:ext>
              </a:extLst>
            </p:cNvPr>
            <p:cNvGrpSpPr/>
            <p:nvPr/>
          </p:nvGrpSpPr>
          <p:grpSpPr>
            <a:xfrm>
              <a:off x="4402332" y="4548551"/>
              <a:ext cx="346511" cy="346515"/>
              <a:chOff x="1932810" y="1349835"/>
              <a:chExt cx="185335" cy="185337"/>
            </a:xfrm>
            <a:solidFill>
              <a:schemeClr val="tx2"/>
            </a:solidFill>
          </p:grpSpPr>
          <p:sp>
            <p:nvSpPr>
              <p:cNvPr id="645" name="Google Shape;18116;p1604">
                <a:extLst>
                  <a:ext uri="{FF2B5EF4-FFF2-40B4-BE49-F238E27FC236}">
                    <a16:creationId xmlns:a16="http://schemas.microsoft.com/office/drawing/2014/main" id="{51AD6084-4FBB-4430-B658-C2576DC5E7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6" name="Google Shape;18117;p1604">
                <a:extLst>
                  <a:ext uri="{FF2B5EF4-FFF2-40B4-BE49-F238E27FC236}">
                    <a16:creationId xmlns:a16="http://schemas.microsoft.com/office/drawing/2014/main" id="{99CBCA11-AEA0-4004-B109-E48E55A5A0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27" name="Google Shape;18115;p1604">
              <a:extLst>
                <a:ext uri="{FF2B5EF4-FFF2-40B4-BE49-F238E27FC236}">
                  <a16:creationId xmlns:a16="http://schemas.microsoft.com/office/drawing/2014/main" id="{D7DB159A-5A53-4B27-9300-ACCD1E4E87DD}"/>
                </a:ext>
              </a:extLst>
            </p:cNvPr>
            <p:cNvGrpSpPr/>
            <p:nvPr/>
          </p:nvGrpSpPr>
          <p:grpSpPr>
            <a:xfrm>
              <a:off x="3578880" y="4958031"/>
              <a:ext cx="346511" cy="346515"/>
              <a:chOff x="1932810" y="1349835"/>
              <a:chExt cx="185335" cy="185337"/>
            </a:xfrm>
            <a:solidFill>
              <a:schemeClr val="tx2"/>
            </a:solidFill>
          </p:grpSpPr>
          <p:sp>
            <p:nvSpPr>
              <p:cNvPr id="643" name="Google Shape;18116;p1604">
                <a:extLst>
                  <a:ext uri="{FF2B5EF4-FFF2-40B4-BE49-F238E27FC236}">
                    <a16:creationId xmlns:a16="http://schemas.microsoft.com/office/drawing/2014/main" id="{D8E70B6A-FAE1-418C-8C79-A85AECEF99E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4" name="Google Shape;18117;p1604">
                <a:extLst>
                  <a:ext uri="{FF2B5EF4-FFF2-40B4-BE49-F238E27FC236}">
                    <a16:creationId xmlns:a16="http://schemas.microsoft.com/office/drawing/2014/main" id="{A94B8E26-3116-4A10-A620-C8B8F71CAD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28" name="Google Shape;18115;p1604">
              <a:extLst>
                <a:ext uri="{FF2B5EF4-FFF2-40B4-BE49-F238E27FC236}">
                  <a16:creationId xmlns:a16="http://schemas.microsoft.com/office/drawing/2014/main" id="{9CD4FBD7-F416-42AA-B587-A25B66C45FD3}"/>
                </a:ext>
              </a:extLst>
            </p:cNvPr>
            <p:cNvGrpSpPr/>
            <p:nvPr/>
          </p:nvGrpSpPr>
          <p:grpSpPr>
            <a:xfrm>
              <a:off x="2511970" y="3644968"/>
              <a:ext cx="346511" cy="346515"/>
              <a:chOff x="1932810" y="1349835"/>
              <a:chExt cx="185335" cy="185337"/>
            </a:xfrm>
            <a:solidFill>
              <a:schemeClr val="tx2"/>
            </a:solidFill>
          </p:grpSpPr>
          <p:sp>
            <p:nvSpPr>
              <p:cNvPr id="641" name="Google Shape;18116;p1604">
                <a:extLst>
                  <a:ext uri="{FF2B5EF4-FFF2-40B4-BE49-F238E27FC236}">
                    <a16:creationId xmlns:a16="http://schemas.microsoft.com/office/drawing/2014/main" id="{E0CBC874-C5AF-4FDC-9C7A-F5C438932C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2" name="Google Shape;18117;p1604">
                <a:extLst>
                  <a:ext uri="{FF2B5EF4-FFF2-40B4-BE49-F238E27FC236}">
                    <a16:creationId xmlns:a16="http://schemas.microsoft.com/office/drawing/2014/main" id="{9BB0345C-A846-4041-8B18-DE40454E50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29" name="Google Shape;18115;p1604">
              <a:extLst>
                <a:ext uri="{FF2B5EF4-FFF2-40B4-BE49-F238E27FC236}">
                  <a16:creationId xmlns:a16="http://schemas.microsoft.com/office/drawing/2014/main" id="{5751123B-BB83-48CA-B92C-461EF622495E}"/>
                </a:ext>
              </a:extLst>
            </p:cNvPr>
            <p:cNvGrpSpPr/>
            <p:nvPr/>
          </p:nvGrpSpPr>
          <p:grpSpPr>
            <a:xfrm>
              <a:off x="4754363" y="4548551"/>
              <a:ext cx="346511" cy="346515"/>
              <a:chOff x="1932810" y="1349835"/>
              <a:chExt cx="185335" cy="185337"/>
            </a:xfrm>
            <a:solidFill>
              <a:schemeClr val="tx2"/>
            </a:solidFill>
          </p:grpSpPr>
          <p:sp>
            <p:nvSpPr>
              <p:cNvPr id="639" name="Google Shape;18116;p1604">
                <a:extLst>
                  <a:ext uri="{FF2B5EF4-FFF2-40B4-BE49-F238E27FC236}">
                    <a16:creationId xmlns:a16="http://schemas.microsoft.com/office/drawing/2014/main" id="{CD5500CA-B59C-4664-BF95-0E5A81C122F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0" name="Google Shape;18117;p1604">
                <a:extLst>
                  <a:ext uri="{FF2B5EF4-FFF2-40B4-BE49-F238E27FC236}">
                    <a16:creationId xmlns:a16="http://schemas.microsoft.com/office/drawing/2014/main" id="{4D93F681-32F5-4490-ADC6-B33CD98831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30" name="Google Shape;18115;p1604">
              <a:extLst>
                <a:ext uri="{FF2B5EF4-FFF2-40B4-BE49-F238E27FC236}">
                  <a16:creationId xmlns:a16="http://schemas.microsoft.com/office/drawing/2014/main" id="{70B68510-3DCC-4E88-A543-7D9494355490}"/>
                </a:ext>
              </a:extLst>
            </p:cNvPr>
            <p:cNvGrpSpPr/>
            <p:nvPr/>
          </p:nvGrpSpPr>
          <p:grpSpPr>
            <a:xfrm>
              <a:off x="2644688" y="4493428"/>
              <a:ext cx="346511" cy="346515"/>
              <a:chOff x="1932810" y="1349835"/>
              <a:chExt cx="185335" cy="185337"/>
            </a:xfrm>
            <a:solidFill>
              <a:schemeClr val="tx2"/>
            </a:solidFill>
          </p:grpSpPr>
          <p:sp>
            <p:nvSpPr>
              <p:cNvPr id="637" name="Google Shape;18116;p1604">
                <a:extLst>
                  <a:ext uri="{FF2B5EF4-FFF2-40B4-BE49-F238E27FC236}">
                    <a16:creationId xmlns:a16="http://schemas.microsoft.com/office/drawing/2014/main" id="{030B1DC6-3363-4F69-85D1-99EA352765F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38" name="Google Shape;18117;p1604">
                <a:extLst>
                  <a:ext uri="{FF2B5EF4-FFF2-40B4-BE49-F238E27FC236}">
                    <a16:creationId xmlns:a16="http://schemas.microsoft.com/office/drawing/2014/main" id="{19B1ABCB-57F4-4DB9-A0B7-8F987445AF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31" name="Google Shape;18115;p1604">
              <a:extLst>
                <a:ext uri="{FF2B5EF4-FFF2-40B4-BE49-F238E27FC236}">
                  <a16:creationId xmlns:a16="http://schemas.microsoft.com/office/drawing/2014/main" id="{BFB9265E-DE96-4761-AD56-09D3624D0393}"/>
                </a:ext>
              </a:extLst>
            </p:cNvPr>
            <p:cNvGrpSpPr/>
            <p:nvPr/>
          </p:nvGrpSpPr>
          <p:grpSpPr>
            <a:xfrm>
              <a:off x="4764085" y="3612568"/>
              <a:ext cx="346511" cy="346515"/>
              <a:chOff x="1932810" y="1349835"/>
              <a:chExt cx="185335" cy="185337"/>
            </a:xfrm>
            <a:solidFill>
              <a:schemeClr val="tx2"/>
            </a:solidFill>
          </p:grpSpPr>
          <p:sp>
            <p:nvSpPr>
              <p:cNvPr id="635" name="Google Shape;18116;p1604">
                <a:extLst>
                  <a:ext uri="{FF2B5EF4-FFF2-40B4-BE49-F238E27FC236}">
                    <a16:creationId xmlns:a16="http://schemas.microsoft.com/office/drawing/2014/main" id="{9CA5A657-68D8-4E8B-964F-967DE776ED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36" name="Google Shape;18117;p1604">
                <a:extLst>
                  <a:ext uri="{FF2B5EF4-FFF2-40B4-BE49-F238E27FC236}">
                    <a16:creationId xmlns:a16="http://schemas.microsoft.com/office/drawing/2014/main" id="{213DCD1D-E8E5-445F-898E-265379D3B25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32" name="Google Shape;18115;p1604">
              <a:extLst>
                <a:ext uri="{FF2B5EF4-FFF2-40B4-BE49-F238E27FC236}">
                  <a16:creationId xmlns:a16="http://schemas.microsoft.com/office/drawing/2014/main" id="{ACBB4C0F-7984-4F56-95E3-D3B0F61B728F}"/>
                </a:ext>
              </a:extLst>
            </p:cNvPr>
            <p:cNvGrpSpPr/>
            <p:nvPr/>
          </p:nvGrpSpPr>
          <p:grpSpPr>
            <a:xfrm>
              <a:off x="3091300" y="2809102"/>
              <a:ext cx="346511" cy="346515"/>
              <a:chOff x="1932810" y="1349835"/>
              <a:chExt cx="185335" cy="185337"/>
            </a:xfrm>
            <a:solidFill>
              <a:schemeClr val="tx2"/>
            </a:solidFill>
          </p:grpSpPr>
          <p:sp>
            <p:nvSpPr>
              <p:cNvPr id="633" name="Google Shape;18116;p1604">
                <a:extLst>
                  <a:ext uri="{FF2B5EF4-FFF2-40B4-BE49-F238E27FC236}">
                    <a16:creationId xmlns:a16="http://schemas.microsoft.com/office/drawing/2014/main" id="{009C19AC-666D-4BD0-823E-673AAA55F79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34" name="Google Shape;18117;p1604">
                <a:extLst>
                  <a:ext uri="{FF2B5EF4-FFF2-40B4-BE49-F238E27FC236}">
                    <a16:creationId xmlns:a16="http://schemas.microsoft.com/office/drawing/2014/main" id="{1D64CC8C-FBAC-4634-8C66-BD896BEECC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649" name="Group 648">
            <a:extLst>
              <a:ext uri="{FF2B5EF4-FFF2-40B4-BE49-F238E27FC236}">
                <a16:creationId xmlns:a16="http://schemas.microsoft.com/office/drawing/2014/main" id="{E3F82067-BADF-404E-82D6-53A40BA2DD55}"/>
              </a:ext>
            </a:extLst>
          </p:cNvPr>
          <p:cNvGrpSpPr>
            <a:grpSpLocks/>
          </p:cNvGrpSpPr>
          <p:nvPr/>
        </p:nvGrpSpPr>
        <p:grpSpPr>
          <a:xfrm>
            <a:off x="10304533" y="5539814"/>
            <a:ext cx="436569" cy="419720"/>
            <a:chOff x="2511970" y="2806214"/>
            <a:chExt cx="2598626" cy="2498332"/>
          </a:xfrm>
        </p:grpSpPr>
        <p:grpSp>
          <p:nvGrpSpPr>
            <p:cNvPr id="650" name="Google Shape;18115;p1604">
              <a:extLst>
                <a:ext uri="{FF2B5EF4-FFF2-40B4-BE49-F238E27FC236}">
                  <a16:creationId xmlns:a16="http://schemas.microsoft.com/office/drawing/2014/main" id="{B011C4FC-AA28-4940-A798-33B12C7FA739}"/>
                </a:ext>
              </a:extLst>
            </p:cNvPr>
            <p:cNvGrpSpPr/>
            <p:nvPr/>
          </p:nvGrpSpPr>
          <p:grpSpPr>
            <a:xfrm>
              <a:off x="4214405" y="2806214"/>
              <a:ext cx="346511" cy="346515"/>
              <a:chOff x="1932810" y="1349835"/>
              <a:chExt cx="185335" cy="185337"/>
            </a:xfrm>
            <a:solidFill>
              <a:schemeClr val="tx2"/>
            </a:solidFill>
          </p:grpSpPr>
          <p:sp>
            <p:nvSpPr>
              <p:cNvPr id="673" name="Google Shape;18116;p1604">
                <a:extLst>
                  <a:ext uri="{FF2B5EF4-FFF2-40B4-BE49-F238E27FC236}">
                    <a16:creationId xmlns:a16="http://schemas.microsoft.com/office/drawing/2014/main" id="{4D3CBB00-2833-4AE5-98AC-D5B117E0B19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74" name="Google Shape;18117;p1604">
                <a:extLst>
                  <a:ext uri="{FF2B5EF4-FFF2-40B4-BE49-F238E27FC236}">
                    <a16:creationId xmlns:a16="http://schemas.microsoft.com/office/drawing/2014/main" id="{EFB98890-1349-4728-9252-EAB341D254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651" name="Oval 650">
              <a:extLst>
                <a:ext uri="{FF2B5EF4-FFF2-40B4-BE49-F238E27FC236}">
                  <a16:creationId xmlns:a16="http://schemas.microsoft.com/office/drawing/2014/main" id="{36297B4E-8822-4F87-B722-5C8EDF8BB49A}"/>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52" name="Google Shape;18115;p1604">
              <a:extLst>
                <a:ext uri="{FF2B5EF4-FFF2-40B4-BE49-F238E27FC236}">
                  <a16:creationId xmlns:a16="http://schemas.microsoft.com/office/drawing/2014/main" id="{4BE8A3AB-B85C-40F3-96F6-7268E26B8539}"/>
                </a:ext>
              </a:extLst>
            </p:cNvPr>
            <p:cNvGrpSpPr/>
            <p:nvPr/>
          </p:nvGrpSpPr>
          <p:grpSpPr>
            <a:xfrm>
              <a:off x="4402332" y="4548551"/>
              <a:ext cx="346511" cy="346515"/>
              <a:chOff x="1932810" y="1349835"/>
              <a:chExt cx="185335" cy="185337"/>
            </a:xfrm>
            <a:solidFill>
              <a:schemeClr val="tx2"/>
            </a:solidFill>
          </p:grpSpPr>
          <p:sp>
            <p:nvSpPr>
              <p:cNvPr id="671" name="Google Shape;18116;p1604">
                <a:extLst>
                  <a:ext uri="{FF2B5EF4-FFF2-40B4-BE49-F238E27FC236}">
                    <a16:creationId xmlns:a16="http://schemas.microsoft.com/office/drawing/2014/main" id="{9D956369-3332-499D-8DD2-F7FDD85513D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72" name="Google Shape;18117;p1604">
                <a:extLst>
                  <a:ext uri="{FF2B5EF4-FFF2-40B4-BE49-F238E27FC236}">
                    <a16:creationId xmlns:a16="http://schemas.microsoft.com/office/drawing/2014/main" id="{F9FAF3D7-ECA4-4C02-80E0-9BA611F9A8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3" name="Google Shape;18115;p1604">
              <a:extLst>
                <a:ext uri="{FF2B5EF4-FFF2-40B4-BE49-F238E27FC236}">
                  <a16:creationId xmlns:a16="http://schemas.microsoft.com/office/drawing/2014/main" id="{27CA54E6-E20B-4810-8E83-CBB6886FA783}"/>
                </a:ext>
              </a:extLst>
            </p:cNvPr>
            <p:cNvGrpSpPr/>
            <p:nvPr/>
          </p:nvGrpSpPr>
          <p:grpSpPr>
            <a:xfrm>
              <a:off x="3578880" y="4958031"/>
              <a:ext cx="346511" cy="346515"/>
              <a:chOff x="1932810" y="1349835"/>
              <a:chExt cx="185335" cy="185337"/>
            </a:xfrm>
            <a:solidFill>
              <a:schemeClr val="tx2"/>
            </a:solidFill>
          </p:grpSpPr>
          <p:sp>
            <p:nvSpPr>
              <p:cNvPr id="669" name="Google Shape;18116;p1604">
                <a:extLst>
                  <a:ext uri="{FF2B5EF4-FFF2-40B4-BE49-F238E27FC236}">
                    <a16:creationId xmlns:a16="http://schemas.microsoft.com/office/drawing/2014/main" id="{EE652F02-C0C6-4CC5-8C4F-13FBC7BDB70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70" name="Google Shape;18117;p1604">
                <a:extLst>
                  <a:ext uri="{FF2B5EF4-FFF2-40B4-BE49-F238E27FC236}">
                    <a16:creationId xmlns:a16="http://schemas.microsoft.com/office/drawing/2014/main" id="{E4C6A9FD-4DC6-4BA2-906F-93321A68D81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4" name="Google Shape;18115;p1604">
              <a:extLst>
                <a:ext uri="{FF2B5EF4-FFF2-40B4-BE49-F238E27FC236}">
                  <a16:creationId xmlns:a16="http://schemas.microsoft.com/office/drawing/2014/main" id="{00298B52-5D8C-45F9-9BB0-864D71805454}"/>
                </a:ext>
              </a:extLst>
            </p:cNvPr>
            <p:cNvGrpSpPr/>
            <p:nvPr/>
          </p:nvGrpSpPr>
          <p:grpSpPr>
            <a:xfrm>
              <a:off x="2511970" y="3644968"/>
              <a:ext cx="346511" cy="346515"/>
              <a:chOff x="1932810" y="1349835"/>
              <a:chExt cx="185335" cy="185337"/>
            </a:xfrm>
            <a:solidFill>
              <a:schemeClr val="tx2"/>
            </a:solidFill>
          </p:grpSpPr>
          <p:sp>
            <p:nvSpPr>
              <p:cNvPr id="667" name="Google Shape;18116;p1604">
                <a:extLst>
                  <a:ext uri="{FF2B5EF4-FFF2-40B4-BE49-F238E27FC236}">
                    <a16:creationId xmlns:a16="http://schemas.microsoft.com/office/drawing/2014/main" id="{538AAFDE-125B-456F-8320-AC1DE8FEFC5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8" name="Google Shape;18117;p1604">
                <a:extLst>
                  <a:ext uri="{FF2B5EF4-FFF2-40B4-BE49-F238E27FC236}">
                    <a16:creationId xmlns:a16="http://schemas.microsoft.com/office/drawing/2014/main" id="{E19E55F7-7EA2-4244-A86B-2751CEE554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5" name="Google Shape;18115;p1604">
              <a:extLst>
                <a:ext uri="{FF2B5EF4-FFF2-40B4-BE49-F238E27FC236}">
                  <a16:creationId xmlns:a16="http://schemas.microsoft.com/office/drawing/2014/main" id="{9768005C-CF77-4D32-B619-5623D1002EF4}"/>
                </a:ext>
              </a:extLst>
            </p:cNvPr>
            <p:cNvGrpSpPr/>
            <p:nvPr/>
          </p:nvGrpSpPr>
          <p:grpSpPr>
            <a:xfrm>
              <a:off x="4754363" y="4548551"/>
              <a:ext cx="346511" cy="346515"/>
              <a:chOff x="1932810" y="1349835"/>
              <a:chExt cx="185335" cy="185337"/>
            </a:xfrm>
            <a:solidFill>
              <a:schemeClr val="tx2"/>
            </a:solidFill>
          </p:grpSpPr>
          <p:sp>
            <p:nvSpPr>
              <p:cNvPr id="665" name="Google Shape;18116;p1604">
                <a:extLst>
                  <a:ext uri="{FF2B5EF4-FFF2-40B4-BE49-F238E27FC236}">
                    <a16:creationId xmlns:a16="http://schemas.microsoft.com/office/drawing/2014/main" id="{F584C495-C28D-4020-8BB4-1FAB2BDB548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6" name="Google Shape;18117;p1604">
                <a:extLst>
                  <a:ext uri="{FF2B5EF4-FFF2-40B4-BE49-F238E27FC236}">
                    <a16:creationId xmlns:a16="http://schemas.microsoft.com/office/drawing/2014/main" id="{02DAA472-480E-47D9-A368-78971989945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6" name="Google Shape;18115;p1604">
              <a:extLst>
                <a:ext uri="{FF2B5EF4-FFF2-40B4-BE49-F238E27FC236}">
                  <a16:creationId xmlns:a16="http://schemas.microsoft.com/office/drawing/2014/main" id="{47D90331-46AF-430D-AFD7-6FE6ACB302D9}"/>
                </a:ext>
              </a:extLst>
            </p:cNvPr>
            <p:cNvGrpSpPr/>
            <p:nvPr/>
          </p:nvGrpSpPr>
          <p:grpSpPr>
            <a:xfrm>
              <a:off x="2644688" y="4493428"/>
              <a:ext cx="346511" cy="346515"/>
              <a:chOff x="1932810" y="1349835"/>
              <a:chExt cx="185335" cy="185337"/>
            </a:xfrm>
            <a:solidFill>
              <a:schemeClr val="tx2"/>
            </a:solidFill>
          </p:grpSpPr>
          <p:sp>
            <p:nvSpPr>
              <p:cNvPr id="663" name="Google Shape;18116;p1604">
                <a:extLst>
                  <a:ext uri="{FF2B5EF4-FFF2-40B4-BE49-F238E27FC236}">
                    <a16:creationId xmlns:a16="http://schemas.microsoft.com/office/drawing/2014/main" id="{2EE3069C-4E6A-4D0A-AADA-E96EC1C3CA9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4" name="Google Shape;18117;p1604">
                <a:extLst>
                  <a:ext uri="{FF2B5EF4-FFF2-40B4-BE49-F238E27FC236}">
                    <a16:creationId xmlns:a16="http://schemas.microsoft.com/office/drawing/2014/main" id="{A64CE07D-274F-45B7-9C52-6DCAA3724AF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7" name="Google Shape;18115;p1604">
              <a:extLst>
                <a:ext uri="{FF2B5EF4-FFF2-40B4-BE49-F238E27FC236}">
                  <a16:creationId xmlns:a16="http://schemas.microsoft.com/office/drawing/2014/main" id="{65E7D922-F52A-464F-B128-E00BC001AF61}"/>
                </a:ext>
              </a:extLst>
            </p:cNvPr>
            <p:cNvGrpSpPr/>
            <p:nvPr/>
          </p:nvGrpSpPr>
          <p:grpSpPr>
            <a:xfrm>
              <a:off x="4764085" y="3612568"/>
              <a:ext cx="346511" cy="346515"/>
              <a:chOff x="1932810" y="1349835"/>
              <a:chExt cx="185335" cy="185337"/>
            </a:xfrm>
            <a:solidFill>
              <a:schemeClr val="tx2"/>
            </a:solidFill>
          </p:grpSpPr>
          <p:sp>
            <p:nvSpPr>
              <p:cNvPr id="661" name="Google Shape;18116;p1604">
                <a:extLst>
                  <a:ext uri="{FF2B5EF4-FFF2-40B4-BE49-F238E27FC236}">
                    <a16:creationId xmlns:a16="http://schemas.microsoft.com/office/drawing/2014/main" id="{A01DEA1A-8290-4F29-94BF-E95567FC826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2" name="Google Shape;18117;p1604">
                <a:extLst>
                  <a:ext uri="{FF2B5EF4-FFF2-40B4-BE49-F238E27FC236}">
                    <a16:creationId xmlns:a16="http://schemas.microsoft.com/office/drawing/2014/main" id="{70473B6B-048D-4307-8411-C67AB004289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8" name="Google Shape;18115;p1604">
              <a:extLst>
                <a:ext uri="{FF2B5EF4-FFF2-40B4-BE49-F238E27FC236}">
                  <a16:creationId xmlns:a16="http://schemas.microsoft.com/office/drawing/2014/main" id="{F6C88913-C93A-4C6D-BFC5-B16FC2D87E9C}"/>
                </a:ext>
              </a:extLst>
            </p:cNvPr>
            <p:cNvGrpSpPr/>
            <p:nvPr/>
          </p:nvGrpSpPr>
          <p:grpSpPr>
            <a:xfrm>
              <a:off x="3091300" y="2809102"/>
              <a:ext cx="346511" cy="346515"/>
              <a:chOff x="1932810" y="1349835"/>
              <a:chExt cx="185335" cy="185337"/>
            </a:xfrm>
            <a:solidFill>
              <a:schemeClr val="tx2"/>
            </a:solidFill>
          </p:grpSpPr>
          <p:sp>
            <p:nvSpPr>
              <p:cNvPr id="659" name="Google Shape;18116;p1604">
                <a:extLst>
                  <a:ext uri="{FF2B5EF4-FFF2-40B4-BE49-F238E27FC236}">
                    <a16:creationId xmlns:a16="http://schemas.microsoft.com/office/drawing/2014/main" id="{D10C3E2E-F5DB-46D8-B035-A2F7B0C47C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0" name="Google Shape;18117;p1604">
                <a:extLst>
                  <a:ext uri="{FF2B5EF4-FFF2-40B4-BE49-F238E27FC236}">
                    <a16:creationId xmlns:a16="http://schemas.microsoft.com/office/drawing/2014/main" id="{E765B874-13C1-46A4-ACFC-B42FEAD94B9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675" name="Google Shape;18115;p1604">
            <a:extLst>
              <a:ext uri="{FF2B5EF4-FFF2-40B4-BE49-F238E27FC236}">
                <a16:creationId xmlns:a16="http://schemas.microsoft.com/office/drawing/2014/main" id="{28822D6C-8BBC-4B1B-B294-1E5A5A8433A5}"/>
              </a:ext>
            </a:extLst>
          </p:cNvPr>
          <p:cNvGrpSpPr/>
          <p:nvPr/>
        </p:nvGrpSpPr>
        <p:grpSpPr>
          <a:xfrm>
            <a:off x="10025445" y="4704358"/>
            <a:ext cx="193423" cy="193425"/>
            <a:chOff x="1932810" y="1349835"/>
            <a:chExt cx="185335" cy="185337"/>
          </a:xfrm>
          <a:solidFill>
            <a:schemeClr val="tx2"/>
          </a:solidFill>
        </p:grpSpPr>
        <p:sp>
          <p:nvSpPr>
            <p:cNvPr id="676" name="Google Shape;18116;p1604">
              <a:extLst>
                <a:ext uri="{FF2B5EF4-FFF2-40B4-BE49-F238E27FC236}">
                  <a16:creationId xmlns:a16="http://schemas.microsoft.com/office/drawing/2014/main" id="{4C1FFE8E-4830-4663-83C7-EFA50B091D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77" name="Google Shape;18117;p1604">
              <a:extLst>
                <a:ext uri="{FF2B5EF4-FFF2-40B4-BE49-F238E27FC236}">
                  <a16:creationId xmlns:a16="http://schemas.microsoft.com/office/drawing/2014/main" id="{CF5BD9CF-BEE5-4755-8C61-AFB4217390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78" name="Google Shape;18115;p1604">
            <a:extLst>
              <a:ext uri="{FF2B5EF4-FFF2-40B4-BE49-F238E27FC236}">
                <a16:creationId xmlns:a16="http://schemas.microsoft.com/office/drawing/2014/main" id="{AECEB99A-A63A-493F-83E2-8180058632BB}"/>
              </a:ext>
            </a:extLst>
          </p:cNvPr>
          <p:cNvGrpSpPr/>
          <p:nvPr/>
        </p:nvGrpSpPr>
        <p:grpSpPr>
          <a:xfrm>
            <a:off x="10418386" y="4704358"/>
            <a:ext cx="193423" cy="193425"/>
            <a:chOff x="1932810" y="1349835"/>
            <a:chExt cx="185335" cy="185337"/>
          </a:xfrm>
          <a:solidFill>
            <a:schemeClr val="tx2"/>
          </a:solidFill>
        </p:grpSpPr>
        <p:sp>
          <p:nvSpPr>
            <p:cNvPr id="679" name="Google Shape;18116;p1604">
              <a:extLst>
                <a:ext uri="{FF2B5EF4-FFF2-40B4-BE49-F238E27FC236}">
                  <a16:creationId xmlns:a16="http://schemas.microsoft.com/office/drawing/2014/main" id="{D200788E-1821-4BBF-A8EC-E4EAD90813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80" name="Google Shape;18117;p1604">
              <a:extLst>
                <a:ext uri="{FF2B5EF4-FFF2-40B4-BE49-F238E27FC236}">
                  <a16:creationId xmlns:a16="http://schemas.microsoft.com/office/drawing/2014/main" id="{20524E5E-C1C0-499A-8700-A549AF7534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702" name="Rectangle 701">
            <a:extLst>
              <a:ext uri="{FF2B5EF4-FFF2-40B4-BE49-F238E27FC236}">
                <a16:creationId xmlns:a16="http://schemas.microsoft.com/office/drawing/2014/main" id="{DE93861F-870B-46E1-BC93-D5EEFD9AECE9}"/>
              </a:ext>
            </a:extLst>
          </p:cNvPr>
          <p:cNvSpPr/>
          <p:nvPr/>
        </p:nvSpPr>
        <p:spPr>
          <a:xfrm>
            <a:off x="9204112" y="441769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PM</a:t>
            </a:r>
          </a:p>
        </p:txBody>
      </p:sp>
      <p:sp>
        <p:nvSpPr>
          <p:cNvPr id="703" name="Rectangle 702">
            <a:extLst>
              <a:ext uri="{FF2B5EF4-FFF2-40B4-BE49-F238E27FC236}">
                <a16:creationId xmlns:a16="http://schemas.microsoft.com/office/drawing/2014/main" id="{16D376F6-5A9F-4A83-997A-4B258813DFF5}"/>
              </a:ext>
            </a:extLst>
          </p:cNvPr>
          <p:cNvSpPr/>
          <p:nvPr/>
        </p:nvSpPr>
        <p:spPr>
          <a:xfrm>
            <a:off x="8743838" y="4417695"/>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704" name="Rectangle 703">
            <a:extLst>
              <a:ext uri="{FF2B5EF4-FFF2-40B4-BE49-F238E27FC236}">
                <a16:creationId xmlns:a16="http://schemas.microsoft.com/office/drawing/2014/main" id="{B5703443-91C8-4656-B7BA-C0AB5163E333}"/>
              </a:ext>
            </a:extLst>
          </p:cNvPr>
          <p:cNvSpPr/>
          <p:nvPr/>
        </p:nvSpPr>
        <p:spPr>
          <a:xfrm>
            <a:off x="10294209" y="441769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PM</a:t>
            </a:r>
          </a:p>
        </p:txBody>
      </p:sp>
      <p:sp>
        <p:nvSpPr>
          <p:cNvPr id="705" name="Rectangle 704">
            <a:extLst>
              <a:ext uri="{FF2B5EF4-FFF2-40B4-BE49-F238E27FC236}">
                <a16:creationId xmlns:a16="http://schemas.microsoft.com/office/drawing/2014/main" id="{6A593270-0A41-40CA-A53A-9FCA01C7D8EF}"/>
              </a:ext>
            </a:extLst>
          </p:cNvPr>
          <p:cNvSpPr/>
          <p:nvPr/>
        </p:nvSpPr>
        <p:spPr>
          <a:xfrm>
            <a:off x="9833935" y="4417695"/>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p>
        </p:txBody>
      </p:sp>
      <p:grpSp>
        <p:nvGrpSpPr>
          <p:cNvPr id="834" name="Group 833">
            <a:extLst>
              <a:ext uri="{FF2B5EF4-FFF2-40B4-BE49-F238E27FC236}">
                <a16:creationId xmlns:a16="http://schemas.microsoft.com/office/drawing/2014/main" id="{86E2BE8A-2193-40CF-8F0B-57B9D4544C3A}"/>
              </a:ext>
            </a:extLst>
          </p:cNvPr>
          <p:cNvGrpSpPr>
            <a:grpSpLocks/>
          </p:cNvGrpSpPr>
          <p:nvPr/>
        </p:nvGrpSpPr>
        <p:grpSpPr>
          <a:xfrm>
            <a:off x="11033007" y="5357964"/>
            <a:ext cx="436569" cy="419720"/>
            <a:chOff x="2511970" y="2806214"/>
            <a:chExt cx="2598626" cy="2498332"/>
          </a:xfrm>
        </p:grpSpPr>
        <p:grpSp>
          <p:nvGrpSpPr>
            <p:cNvPr id="835" name="Google Shape;18115;p1604">
              <a:extLst>
                <a:ext uri="{FF2B5EF4-FFF2-40B4-BE49-F238E27FC236}">
                  <a16:creationId xmlns:a16="http://schemas.microsoft.com/office/drawing/2014/main" id="{AAE96564-BE15-4D2F-B2C3-4F9AF22DE028}"/>
                </a:ext>
              </a:extLst>
            </p:cNvPr>
            <p:cNvGrpSpPr/>
            <p:nvPr/>
          </p:nvGrpSpPr>
          <p:grpSpPr>
            <a:xfrm>
              <a:off x="4214405" y="2806214"/>
              <a:ext cx="346511" cy="346515"/>
              <a:chOff x="1932810" y="1349835"/>
              <a:chExt cx="185335" cy="185337"/>
            </a:xfrm>
            <a:solidFill>
              <a:schemeClr val="tx2"/>
            </a:solidFill>
          </p:grpSpPr>
          <p:sp>
            <p:nvSpPr>
              <p:cNvPr id="858" name="Google Shape;18116;p1604">
                <a:extLst>
                  <a:ext uri="{FF2B5EF4-FFF2-40B4-BE49-F238E27FC236}">
                    <a16:creationId xmlns:a16="http://schemas.microsoft.com/office/drawing/2014/main" id="{82C54F6D-3181-4B81-8D90-4FAB731BBAB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9" name="Google Shape;18117;p1604">
                <a:extLst>
                  <a:ext uri="{FF2B5EF4-FFF2-40B4-BE49-F238E27FC236}">
                    <a16:creationId xmlns:a16="http://schemas.microsoft.com/office/drawing/2014/main" id="{75A433B4-0F7C-47C5-B397-F363143D4EE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36" name="Oval 835">
              <a:extLst>
                <a:ext uri="{FF2B5EF4-FFF2-40B4-BE49-F238E27FC236}">
                  <a16:creationId xmlns:a16="http://schemas.microsoft.com/office/drawing/2014/main" id="{B25D9786-6FE8-4FCD-B0A4-6FF19584EA0C}"/>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837" name="Google Shape;18115;p1604">
              <a:extLst>
                <a:ext uri="{FF2B5EF4-FFF2-40B4-BE49-F238E27FC236}">
                  <a16:creationId xmlns:a16="http://schemas.microsoft.com/office/drawing/2014/main" id="{E7DC9C5F-761F-40E9-930F-DE7219FD6EB2}"/>
                </a:ext>
              </a:extLst>
            </p:cNvPr>
            <p:cNvGrpSpPr/>
            <p:nvPr/>
          </p:nvGrpSpPr>
          <p:grpSpPr>
            <a:xfrm>
              <a:off x="4402332" y="4548551"/>
              <a:ext cx="346511" cy="346515"/>
              <a:chOff x="1932810" y="1349835"/>
              <a:chExt cx="185335" cy="185337"/>
            </a:xfrm>
            <a:solidFill>
              <a:schemeClr val="tx2"/>
            </a:solidFill>
          </p:grpSpPr>
          <p:sp>
            <p:nvSpPr>
              <p:cNvPr id="856" name="Google Shape;18116;p1604">
                <a:extLst>
                  <a:ext uri="{FF2B5EF4-FFF2-40B4-BE49-F238E27FC236}">
                    <a16:creationId xmlns:a16="http://schemas.microsoft.com/office/drawing/2014/main" id="{7DBCBB2E-42FD-4243-8119-2BE4FFD17D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7" name="Google Shape;18117;p1604">
                <a:extLst>
                  <a:ext uri="{FF2B5EF4-FFF2-40B4-BE49-F238E27FC236}">
                    <a16:creationId xmlns:a16="http://schemas.microsoft.com/office/drawing/2014/main" id="{2AABDE3A-20D1-4985-8E8E-C4CE5D0A8A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38" name="Google Shape;18115;p1604">
              <a:extLst>
                <a:ext uri="{FF2B5EF4-FFF2-40B4-BE49-F238E27FC236}">
                  <a16:creationId xmlns:a16="http://schemas.microsoft.com/office/drawing/2014/main" id="{3AB2E15B-221A-4F88-8C4B-116CAB31C1EE}"/>
                </a:ext>
              </a:extLst>
            </p:cNvPr>
            <p:cNvGrpSpPr/>
            <p:nvPr/>
          </p:nvGrpSpPr>
          <p:grpSpPr>
            <a:xfrm>
              <a:off x="3578880" y="4958031"/>
              <a:ext cx="346511" cy="346515"/>
              <a:chOff x="1932810" y="1349835"/>
              <a:chExt cx="185335" cy="185337"/>
            </a:xfrm>
            <a:solidFill>
              <a:schemeClr val="tx2"/>
            </a:solidFill>
          </p:grpSpPr>
          <p:sp>
            <p:nvSpPr>
              <p:cNvPr id="854" name="Google Shape;18116;p1604">
                <a:extLst>
                  <a:ext uri="{FF2B5EF4-FFF2-40B4-BE49-F238E27FC236}">
                    <a16:creationId xmlns:a16="http://schemas.microsoft.com/office/drawing/2014/main" id="{25B3BDF2-0D5B-4CAF-956E-FB71E2E4A47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5" name="Google Shape;18117;p1604">
                <a:extLst>
                  <a:ext uri="{FF2B5EF4-FFF2-40B4-BE49-F238E27FC236}">
                    <a16:creationId xmlns:a16="http://schemas.microsoft.com/office/drawing/2014/main" id="{2C51FF6E-9C5B-4E32-BB79-B1E78F6721C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39" name="Google Shape;18115;p1604">
              <a:extLst>
                <a:ext uri="{FF2B5EF4-FFF2-40B4-BE49-F238E27FC236}">
                  <a16:creationId xmlns:a16="http://schemas.microsoft.com/office/drawing/2014/main" id="{FA14BF82-D77A-4A89-9624-2E5721F8DD1E}"/>
                </a:ext>
              </a:extLst>
            </p:cNvPr>
            <p:cNvGrpSpPr/>
            <p:nvPr/>
          </p:nvGrpSpPr>
          <p:grpSpPr>
            <a:xfrm>
              <a:off x="2511970" y="3644968"/>
              <a:ext cx="346511" cy="346515"/>
              <a:chOff x="1932810" y="1349835"/>
              <a:chExt cx="185335" cy="185337"/>
            </a:xfrm>
            <a:solidFill>
              <a:schemeClr val="tx2"/>
            </a:solidFill>
          </p:grpSpPr>
          <p:sp>
            <p:nvSpPr>
              <p:cNvPr id="852" name="Google Shape;18116;p1604">
                <a:extLst>
                  <a:ext uri="{FF2B5EF4-FFF2-40B4-BE49-F238E27FC236}">
                    <a16:creationId xmlns:a16="http://schemas.microsoft.com/office/drawing/2014/main" id="{4F6E33FA-5643-4A64-9460-32DFF36F91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3" name="Google Shape;18117;p1604">
                <a:extLst>
                  <a:ext uri="{FF2B5EF4-FFF2-40B4-BE49-F238E27FC236}">
                    <a16:creationId xmlns:a16="http://schemas.microsoft.com/office/drawing/2014/main" id="{046231E4-DCFA-4EBF-9104-0D944737ABD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0" name="Google Shape;18115;p1604">
              <a:extLst>
                <a:ext uri="{FF2B5EF4-FFF2-40B4-BE49-F238E27FC236}">
                  <a16:creationId xmlns:a16="http://schemas.microsoft.com/office/drawing/2014/main" id="{62D12CF2-C122-4228-BC96-62E59C095A7E}"/>
                </a:ext>
              </a:extLst>
            </p:cNvPr>
            <p:cNvGrpSpPr/>
            <p:nvPr/>
          </p:nvGrpSpPr>
          <p:grpSpPr>
            <a:xfrm>
              <a:off x="4754363" y="4548551"/>
              <a:ext cx="346511" cy="346515"/>
              <a:chOff x="1932810" y="1349835"/>
              <a:chExt cx="185335" cy="185337"/>
            </a:xfrm>
            <a:solidFill>
              <a:schemeClr val="tx2"/>
            </a:solidFill>
          </p:grpSpPr>
          <p:sp>
            <p:nvSpPr>
              <p:cNvPr id="850" name="Google Shape;18116;p1604">
                <a:extLst>
                  <a:ext uri="{FF2B5EF4-FFF2-40B4-BE49-F238E27FC236}">
                    <a16:creationId xmlns:a16="http://schemas.microsoft.com/office/drawing/2014/main" id="{98C67AE4-D941-4DC3-8FE3-A678AF75A6D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1" name="Google Shape;18117;p1604">
                <a:extLst>
                  <a:ext uri="{FF2B5EF4-FFF2-40B4-BE49-F238E27FC236}">
                    <a16:creationId xmlns:a16="http://schemas.microsoft.com/office/drawing/2014/main" id="{AAC900C5-F740-488C-8437-31F10625CFF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1" name="Google Shape;18115;p1604">
              <a:extLst>
                <a:ext uri="{FF2B5EF4-FFF2-40B4-BE49-F238E27FC236}">
                  <a16:creationId xmlns:a16="http://schemas.microsoft.com/office/drawing/2014/main" id="{B5345D6E-0E62-43A8-9333-00227569961B}"/>
                </a:ext>
              </a:extLst>
            </p:cNvPr>
            <p:cNvGrpSpPr/>
            <p:nvPr/>
          </p:nvGrpSpPr>
          <p:grpSpPr>
            <a:xfrm>
              <a:off x="2644688" y="4493428"/>
              <a:ext cx="346511" cy="346515"/>
              <a:chOff x="1932810" y="1349835"/>
              <a:chExt cx="185335" cy="185337"/>
            </a:xfrm>
            <a:solidFill>
              <a:schemeClr val="tx2"/>
            </a:solidFill>
          </p:grpSpPr>
          <p:sp>
            <p:nvSpPr>
              <p:cNvPr id="848" name="Google Shape;18116;p1604">
                <a:extLst>
                  <a:ext uri="{FF2B5EF4-FFF2-40B4-BE49-F238E27FC236}">
                    <a16:creationId xmlns:a16="http://schemas.microsoft.com/office/drawing/2014/main" id="{F3F10761-5BD1-4757-97D9-C157C1DE421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9" name="Google Shape;18117;p1604">
                <a:extLst>
                  <a:ext uri="{FF2B5EF4-FFF2-40B4-BE49-F238E27FC236}">
                    <a16:creationId xmlns:a16="http://schemas.microsoft.com/office/drawing/2014/main" id="{113B0529-E520-418E-A745-EF2002E1AFC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2" name="Google Shape;18115;p1604">
              <a:extLst>
                <a:ext uri="{FF2B5EF4-FFF2-40B4-BE49-F238E27FC236}">
                  <a16:creationId xmlns:a16="http://schemas.microsoft.com/office/drawing/2014/main" id="{F21164B8-3192-41BA-B3E0-68E4ECEACC55}"/>
                </a:ext>
              </a:extLst>
            </p:cNvPr>
            <p:cNvGrpSpPr/>
            <p:nvPr/>
          </p:nvGrpSpPr>
          <p:grpSpPr>
            <a:xfrm>
              <a:off x="4764085" y="3612568"/>
              <a:ext cx="346511" cy="346515"/>
              <a:chOff x="1932810" y="1349835"/>
              <a:chExt cx="185335" cy="185337"/>
            </a:xfrm>
            <a:solidFill>
              <a:schemeClr val="tx2"/>
            </a:solidFill>
          </p:grpSpPr>
          <p:sp>
            <p:nvSpPr>
              <p:cNvPr id="846" name="Google Shape;18116;p1604">
                <a:extLst>
                  <a:ext uri="{FF2B5EF4-FFF2-40B4-BE49-F238E27FC236}">
                    <a16:creationId xmlns:a16="http://schemas.microsoft.com/office/drawing/2014/main" id="{A5FA9444-7409-49A0-A4E8-B92D1683F6A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7" name="Google Shape;18117;p1604">
                <a:extLst>
                  <a:ext uri="{FF2B5EF4-FFF2-40B4-BE49-F238E27FC236}">
                    <a16:creationId xmlns:a16="http://schemas.microsoft.com/office/drawing/2014/main" id="{9FC9AF67-DA43-483D-B605-4E5A3CEEDE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3" name="Google Shape;18115;p1604">
              <a:extLst>
                <a:ext uri="{FF2B5EF4-FFF2-40B4-BE49-F238E27FC236}">
                  <a16:creationId xmlns:a16="http://schemas.microsoft.com/office/drawing/2014/main" id="{17EE8656-D150-42C0-A655-762FE478A054}"/>
                </a:ext>
              </a:extLst>
            </p:cNvPr>
            <p:cNvGrpSpPr/>
            <p:nvPr/>
          </p:nvGrpSpPr>
          <p:grpSpPr>
            <a:xfrm>
              <a:off x="3091300" y="2809102"/>
              <a:ext cx="346511" cy="346515"/>
              <a:chOff x="1932810" y="1349835"/>
              <a:chExt cx="185335" cy="185337"/>
            </a:xfrm>
            <a:solidFill>
              <a:schemeClr val="tx2"/>
            </a:solidFill>
          </p:grpSpPr>
          <p:sp>
            <p:nvSpPr>
              <p:cNvPr id="844" name="Google Shape;18116;p1604">
                <a:extLst>
                  <a:ext uri="{FF2B5EF4-FFF2-40B4-BE49-F238E27FC236}">
                    <a16:creationId xmlns:a16="http://schemas.microsoft.com/office/drawing/2014/main" id="{15224410-7C93-4AB8-89AE-310DFA49F76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5" name="Google Shape;18117;p1604">
                <a:extLst>
                  <a:ext uri="{FF2B5EF4-FFF2-40B4-BE49-F238E27FC236}">
                    <a16:creationId xmlns:a16="http://schemas.microsoft.com/office/drawing/2014/main" id="{0793ACB6-CBB6-402B-9FDB-C5F0F88C1ED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860" name="Group 859">
            <a:extLst>
              <a:ext uri="{FF2B5EF4-FFF2-40B4-BE49-F238E27FC236}">
                <a16:creationId xmlns:a16="http://schemas.microsoft.com/office/drawing/2014/main" id="{51AF2B72-D633-4B92-9E39-6ADFBC85898B}"/>
              </a:ext>
            </a:extLst>
          </p:cNvPr>
          <p:cNvGrpSpPr>
            <a:grpSpLocks/>
          </p:cNvGrpSpPr>
          <p:nvPr/>
        </p:nvGrpSpPr>
        <p:grpSpPr>
          <a:xfrm>
            <a:off x="11426055" y="5112576"/>
            <a:ext cx="436569" cy="419720"/>
            <a:chOff x="2511970" y="2806214"/>
            <a:chExt cx="2598626" cy="2498332"/>
          </a:xfrm>
        </p:grpSpPr>
        <p:grpSp>
          <p:nvGrpSpPr>
            <p:cNvPr id="861" name="Google Shape;18115;p1604">
              <a:extLst>
                <a:ext uri="{FF2B5EF4-FFF2-40B4-BE49-F238E27FC236}">
                  <a16:creationId xmlns:a16="http://schemas.microsoft.com/office/drawing/2014/main" id="{D45363AD-6869-414A-88FF-3759DE6A3456}"/>
                </a:ext>
              </a:extLst>
            </p:cNvPr>
            <p:cNvGrpSpPr/>
            <p:nvPr/>
          </p:nvGrpSpPr>
          <p:grpSpPr>
            <a:xfrm>
              <a:off x="4214405" y="2806214"/>
              <a:ext cx="346511" cy="346515"/>
              <a:chOff x="1932810" y="1349835"/>
              <a:chExt cx="185335" cy="185337"/>
            </a:xfrm>
            <a:solidFill>
              <a:schemeClr val="tx2"/>
            </a:solidFill>
          </p:grpSpPr>
          <p:sp>
            <p:nvSpPr>
              <p:cNvPr id="884" name="Google Shape;18116;p1604">
                <a:extLst>
                  <a:ext uri="{FF2B5EF4-FFF2-40B4-BE49-F238E27FC236}">
                    <a16:creationId xmlns:a16="http://schemas.microsoft.com/office/drawing/2014/main" id="{CEB32CE6-2111-4087-B24B-C5A5C64CC2B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5" name="Google Shape;18117;p1604">
                <a:extLst>
                  <a:ext uri="{FF2B5EF4-FFF2-40B4-BE49-F238E27FC236}">
                    <a16:creationId xmlns:a16="http://schemas.microsoft.com/office/drawing/2014/main" id="{44654C89-6028-4C85-94BF-DE4766D3503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62" name="Oval 861">
              <a:extLst>
                <a:ext uri="{FF2B5EF4-FFF2-40B4-BE49-F238E27FC236}">
                  <a16:creationId xmlns:a16="http://schemas.microsoft.com/office/drawing/2014/main" id="{B54F42B0-BCE7-4B55-89BF-A64C5668D8AD}"/>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863" name="Google Shape;18115;p1604">
              <a:extLst>
                <a:ext uri="{FF2B5EF4-FFF2-40B4-BE49-F238E27FC236}">
                  <a16:creationId xmlns:a16="http://schemas.microsoft.com/office/drawing/2014/main" id="{DE4D0DE9-2842-4314-BA44-32CFF1D9CEDE}"/>
                </a:ext>
              </a:extLst>
            </p:cNvPr>
            <p:cNvGrpSpPr/>
            <p:nvPr/>
          </p:nvGrpSpPr>
          <p:grpSpPr>
            <a:xfrm>
              <a:off x="4402332" y="4548551"/>
              <a:ext cx="346511" cy="346515"/>
              <a:chOff x="1932810" y="1349835"/>
              <a:chExt cx="185335" cy="185337"/>
            </a:xfrm>
            <a:solidFill>
              <a:schemeClr val="tx2"/>
            </a:solidFill>
          </p:grpSpPr>
          <p:sp>
            <p:nvSpPr>
              <p:cNvPr id="882" name="Google Shape;18116;p1604">
                <a:extLst>
                  <a:ext uri="{FF2B5EF4-FFF2-40B4-BE49-F238E27FC236}">
                    <a16:creationId xmlns:a16="http://schemas.microsoft.com/office/drawing/2014/main" id="{CC612F1B-55C1-43EB-B7F7-0F5EA7E1DC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3" name="Google Shape;18117;p1604">
                <a:extLst>
                  <a:ext uri="{FF2B5EF4-FFF2-40B4-BE49-F238E27FC236}">
                    <a16:creationId xmlns:a16="http://schemas.microsoft.com/office/drawing/2014/main" id="{B084ED9F-5837-4148-B16E-1793A86CB1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4" name="Google Shape;18115;p1604">
              <a:extLst>
                <a:ext uri="{FF2B5EF4-FFF2-40B4-BE49-F238E27FC236}">
                  <a16:creationId xmlns:a16="http://schemas.microsoft.com/office/drawing/2014/main" id="{3A444B9C-1AD8-414D-B1B1-26E10B0AF181}"/>
                </a:ext>
              </a:extLst>
            </p:cNvPr>
            <p:cNvGrpSpPr/>
            <p:nvPr/>
          </p:nvGrpSpPr>
          <p:grpSpPr>
            <a:xfrm>
              <a:off x="3578880" y="4958031"/>
              <a:ext cx="346511" cy="346515"/>
              <a:chOff x="1932810" y="1349835"/>
              <a:chExt cx="185335" cy="185337"/>
            </a:xfrm>
            <a:solidFill>
              <a:schemeClr val="tx2"/>
            </a:solidFill>
          </p:grpSpPr>
          <p:sp>
            <p:nvSpPr>
              <p:cNvPr id="880" name="Google Shape;18116;p1604">
                <a:extLst>
                  <a:ext uri="{FF2B5EF4-FFF2-40B4-BE49-F238E27FC236}">
                    <a16:creationId xmlns:a16="http://schemas.microsoft.com/office/drawing/2014/main" id="{07822770-CFF8-4FBB-B635-348BFF5BC5B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1" name="Google Shape;18117;p1604">
                <a:extLst>
                  <a:ext uri="{FF2B5EF4-FFF2-40B4-BE49-F238E27FC236}">
                    <a16:creationId xmlns:a16="http://schemas.microsoft.com/office/drawing/2014/main" id="{16BC71E3-9C95-4165-983E-3F9E51C343B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5" name="Google Shape;18115;p1604">
              <a:extLst>
                <a:ext uri="{FF2B5EF4-FFF2-40B4-BE49-F238E27FC236}">
                  <a16:creationId xmlns:a16="http://schemas.microsoft.com/office/drawing/2014/main" id="{A40712B0-1618-4A86-A77E-176CFD90F213}"/>
                </a:ext>
              </a:extLst>
            </p:cNvPr>
            <p:cNvGrpSpPr/>
            <p:nvPr/>
          </p:nvGrpSpPr>
          <p:grpSpPr>
            <a:xfrm>
              <a:off x="2511970" y="3644968"/>
              <a:ext cx="346511" cy="346515"/>
              <a:chOff x="1932810" y="1349835"/>
              <a:chExt cx="185335" cy="185337"/>
            </a:xfrm>
            <a:solidFill>
              <a:schemeClr val="tx2"/>
            </a:solidFill>
          </p:grpSpPr>
          <p:sp>
            <p:nvSpPr>
              <p:cNvPr id="878" name="Google Shape;18116;p1604">
                <a:extLst>
                  <a:ext uri="{FF2B5EF4-FFF2-40B4-BE49-F238E27FC236}">
                    <a16:creationId xmlns:a16="http://schemas.microsoft.com/office/drawing/2014/main" id="{76EF65B6-229D-46C5-B8B7-713A5369406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9" name="Google Shape;18117;p1604">
                <a:extLst>
                  <a:ext uri="{FF2B5EF4-FFF2-40B4-BE49-F238E27FC236}">
                    <a16:creationId xmlns:a16="http://schemas.microsoft.com/office/drawing/2014/main" id="{19881F42-E040-4202-8F97-3C1194D60F0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6" name="Google Shape;18115;p1604">
              <a:extLst>
                <a:ext uri="{FF2B5EF4-FFF2-40B4-BE49-F238E27FC236}">
                  <a16:creationId xmlns:a16="http://schemas.microsoft.com/office/drawing/2014/main" id="{DBD5ABB6-F87B-413A-9ACE-39E2F88F3823}"/>
                </a:ext>
              </a:extLst>
            </p:cNvPr>
            <p:cNvGrpSpPr/>
            <p:nvPr/>
          </p:nvGrpSpPr>
          <p:grpSpPr>
            <a:xfrm>
              <a:off x="4754363" y="4548551"/>
              <a:ext cx="346511" cy="346515"/>
              <a:chOff x="1932810" y="1349835"/>
              <a:chExt cx="185335" cy="185337"/>
            </a:xfrm>
            <a:solidFill>
              <a:schemeClr val="tx2"/>
            </a:solidFill>
          </p:grpSpPr>
          <p:sp>
            <p:nvSpPr>
              <p:cNvPr id="876" name="Google Shape;18116;p1604">
                <a:extLst>
                  <a:ext uri="{FF2B5EF4-FFF2-40B4-BE49-F238E27FC236}">
                    <a16:creationId xmlns:a16="http://schemas.microsoft.com/office/drawing/2014/main" id="{4926007C-C8E8-48E4-9C35-0E764359D07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7" name="Google Shape;18117;p1604">
                <a:extLst>
                  <a:ext uri="{FF2B5EF4-FFF2-40B4-BE49-F238E27FC236}">
                    <a16:creationId xmlns:a16="http://schemas.microsoft.com/office/drawing/2014/main" id="{C5B0F743-14B0-4750-8AAE-0C308EA1AE7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7" name="Google Shape;18115;p1604">
              <a:extLst>
                <a:ext uri="{FF2B5EF4-FFF2-40B4-BE49-F238E27FC236}">
                  <a16:creationId xmlns:a16="http://schemas.microsoft.com/office/drawing/2014/main" id="{D05F9FBE-E287-41FF-B313-22BDCE4D5DBE}"/>
                </a:ext>
              </a:extLst>
            </p:cNvPr>
            <p:cNvGrpSpPr/>
            <p:nvPr/>
          </p:nvGrpSpPr>
          <p:grpSpPr>
            <a:xfrm>
              <a:off x="2644688" y="4493428"/>
              <a:ext cx="346511" cy="346515"/>
              <a:chOff x="1932810" y="1349835"/>
              <a:chExt cx="185335" cy="185337"/>
            </a:xfrm>
            <a:solidFill>
              <a:schemeClr val="tx2"/>
            </a:solidFill>
          </p:grpSpPr>
          <p:sp>
            <p:nvSpPr>
              <p:cNvPr id="874" name="Google Shape;18116;p1604">
                <a:extLst>
                  <a:ext uri="{FF2B5EF4-FFF2-40B4-BE49-F238E27FC236}">
                    <a16:creationId xmlns:a16="http://schemas.microsoft.com/office/drawing/2014/main" id="{FF97D2B9-2376-4FEA-A5A8-2B92AC010CF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5" name="Google Shape;18117;p1604">
                <a:extLst>
                  <a:ext uri="{FF2B5EF4-FFF2-40B4-BE49-F238E27FC236}">
                    <a16:creationId xmlns:a16="http://schemas.microsoft.com/office/drawing/2014/main" id="{DF5D791C-D4A2-48F8-828B-71F5D3F8788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8" name="Google Shape;18115;p1604">
              <a:extLst>
                <a:ext uri="{FF2B5EF4-FFF2-40B4-BE49-F238E27FC236}">
                  <a16:creationId xmlns:a16="http://schemas.microsoft.com/office/drawing/2014/main" id="{EF110094-CF1E-439B-93DB-7FF878204E27}"/>
                </a:ext>
              </a:extLst>
            </p:cNvPr>
            <p:cNvGrpSpPr/>
            <p:nvPr/>
          </p:nvGrpSpPr>
          <p:grpSpPr>
            <a:xfrm>
              <a:off x="4764085" y="3612568"/>
              <a:ext cx="346511" cy="346515"/>
              <a:chOff x="1932810" y="1349835"/>
              <a:chExt cx="185335" cy="185337"/>
            </a:xfrm>
            <a:solidFill>
              <a:schemeClr val="tx2"/>
            </a:solidFill>
          </p:grpSpPr>
          <p:sp>
            <p:nvSpPr>
              <p:cNvPr id="872" name="Google Shape;18116;p1604">
                <a:extLst>
                  <a:ext uri="{FF2B5EF4-FFF2-40B4-BE49-F238E27FC236}">
                    <a16:creationId xmlns:a16="http://schemas.microsoft.com/office/drawing/2014/main" id="{8A8D5288-D10B-4278-BB20-99FE283218F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3" name="Google Shape;18117;p1604">
                <a:extLst>
                  <a:ext uri="{FF2B5EF4-FFF2-40B4-BE49-F238E27FC236}">
                    <a16:creationId xmlns:a16="http://schemas.microsoft.com/office/drawing/2014/main" id="{DFBC8049-1305-4715-A54B-470A4B9F174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9" name="Google Shape;18115;p1604">
              <a:extLst>
                <a:ext uri="{FF2B5EF4-FFF2-40B4-BE49-F238E27FC236}">
                  <a16:creationId xmlns:a16="http://schemas.microsoft.com/office/drawing/2014/main" id="{F6ECE79D-4634-4F20-8E27-AB60E5BE32DD}"/>
                </a:ext>
              </a:extLst>
            </p:cNvPr>
            <p:cNvGrpSpPr/>
            <p:nvPr/>
          </p:nvGrpSpPr>
          <p:grpSpPr>
            <a:xfrm>
              <a:off x="3091300" y="2809102"/>
              <a:ext cx="346511" cy="346515"/>
              <a:chOff x="1932810" y="1349835"/>
              <a:chExt cx="185335" cy="185337"/>
            </a:xfrm>
            <a:solidFill>
              <a:schemeClr val="tx2"/>
            </a:solidFill>
          </p:grpSpPr>
          <p:sp>
            <p:nvSpPr>
              <p:cNvPr id="870" name="Google Shape;18116;p1604">
                <a:extLst>
                  <a:ext uri="{FF2B5EF4-FFF2-40B4-BE49-F238E27FC236}">
                    <a16:creationId xmlns:a16="http://schemas.microsoft.com/office/drawing/2014/main" id="{B674E06F-673B-41B8-B562-F4C792D8A71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1" name="Google Shape;18117;p1604">
                <a:extLst>
                  <a:ext uri="{FF2B5EF4-FFF2-40B4-BE49-F238E27FC236}">
                    <a16:creationId xmlns:a16="http://schemas.microsoft.com/office/drawing/2014/main" id="{99B91B5C-8ABE-4C57-A962-E38D0B93AF6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886" name="Group 885">
            <a:extLst>
              <a:ext uri="{FF2B5EF4-FFF2-40B4-BE49-F238E27FC236}">
                <a16:creationId xmlns:a16="http://schemas.microsoft.com/office/drawing/2014/main" id="{A4773DCC-EA23-44D6-B734-2DA3564B9587}"/>
              </a:ext>
            </a:extLst>
          </p:cNvPr>
          <p:cNvGrpSpPr>
            <a:grpSpLocks/>
          </p:cNvGrpSpPr>
          <p:nvPr/>
        </p:nvGrpSpPr>
        <p:grpSpPr>
          <a:xfrm>
            <a:off x="11426055" y="5539814"/>
            <a:ext cx="436569" cy="419720"/>
            <a:chOff x="2511970" y="2806214"/>
            <a:chExt cx="2598626" cy="2498332"/>
          </a:xfrm>
        </p:grpSpPr>
        <p:grpSp>
          <p:nvGrpSpPr>
            <p:cNvPr id="887" name="Google Shape;18115;p1604">
              <a:extLst>
                <a:ext uri="{FF2B5EF4-FFF2-40B4-BE49-F238E27FC236}">
                  <a16:creationId xmlns:a16="http://schemas.microsoft.com/office/drawing/2014/main" id="{55420F45-15CC-48A8-9ACE-8A3030457170}"/>
                </a:ext>
              </a:extLst>
            </p:cNvPr>
            <p:cNvGrpSpPr/>
            <p:nvPr/>
          </p:nvGrpSpPr>
          <p:grpSpPr>
            <a:xfrm>
              <a:off x="4214405" y="2806214"/>
              <a:ext cx="346511" cy="346515"/>
              <a:chOff x="1932810" y="1349835"/>
              <a:chExt cx="185335" cy="185337"/>
            </a:xfrm>
            <a:solidFill>
              <a:schemeClr val="tx2"/>
            </a:solidFill>
          </p:grpSpPr>
          <p:sp>
            <p:nvSpPr>
              <p:cNvPr id="910" name="Google Shape;18116;p1604">
                <a:extLst>
                  <a:ext uri="{FF2B5EF4-FFF2-40B4-BE49-F238E27FC236}">
                    <a16:creationId xmlns:a16="http://schemas.microsoft.com/office/drawing/2014/main" id="{0DE50576-C2BD-48CC-B848-ABB29D9B632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11" name="Google Shape;18117;p1604">
                <a:extLst>
                  <a:ext uri="{FF2B5EF4-FFF2-40B4-BE49-F238E27FC236}">
                    <a16:creationId xmlns:a16="http://schemas.microsoft.com/office/drawing/2014/main" id="{81B9057D-0C5E-4C9E-AFBE-DA4F11F17FF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88" name="Oval 887">
              <a:extLst>
                <a:ext uri="{FF2B5EF4-FFF2-40B4-BE49-F238E27FC236}">
                  <a16:creationId xmlns:a16="http://schemas.microsoft.com/office/drawing/2014/main" id="{7F4239C6-60C7-4857-8C83-55C92FC6D1B4}"/>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889" name="Google Shape;18115;p1604">
              <a:extLst>
                <a:ext uri="{FF2B5EF4-FFF2-40B4-BE49-F238E27FC236}">
                  <a16:creationId xmlns:a16="http://schemas.microsoft.com/office/drawing/2014/main" id="{05F4B052-BC00-4272-9FFB-6E6ABFA325E9}"/>
                </a:ext>
              </a:extLst>
            </p:cNvPr>
            <p:cNvGrpSpPr/>
            <p:nvPr/>
          </p:nvGrpSpPr>
          <p:grpSpPr>
            <a:xfrm>
              <a:off x="4402332" y="4548551"/>
              <a:ext cx="346511" cy="346515"/>
              <a:chOff x="1932810" y="1349835"/>
              <a:chExt cx="185335" cy="185337"/>
            </a:xfrm>
            <a:solidFill>
              <a:schemeClr val="tx2"/>
            </a:solidFill>
          </p:grpSpPr>
          <p:sp>
            <p:nvSpPr>
              <p:cNvPr id="908" name="Google Shape;18116;p1604">
                <a:extLst>
                  <a:ext uri="{FF2B5EF4-FFF2-40B4-BE49-F238E27FC236}">
                    <a16:creationId xmlns:a16="http://schemas.microsoft.com/office/drawing/2014/main" id="{3129C4D6-AB38-41AF-8973-07345A8910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9" name="Google Shape;18117;p1604">
                <a:extLst>
                  <a:ext uri="{FF2B5EF4-FFF2-40B4-BE49-F238E27FC236}">
                    <a16:creationId xmlns:a16="http://schemas.microsoft.com/office/drawing/2014/main" id="{248B6D1F-9C61-4696-9CEF-2FA9B3E097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0" name="Google Shape;18115;p1604">
              <a:extLst>
                <a:ext uri="{FF2B5EF4-FFF2-40B4-BE49-F238E27FC236}">
                  <a16:creationId xmlns:a16="http://schemas.microsoft.com/office/drawing/2014/main" id="{F6E12000-D507-48E6-9458-91A0A064057B}"/>
                </a:ext>
              </a:extLst>
            </p:cNvPr>
            <p:cNvGrpSpPr/>
            <p:nvPr/>
          </p:nvGrpSpPr>
          <p:grpSpPr>
            <a:xfrm>
              <a:off x="3578880" y="4958031"/>
              <a:ext cx="346511" cy="346515"/>
              <a:chOff x="1932810" y="1349835"/>
              <a:chExt cx="185335" cy="185337"/>
            </a:xfrm>
            <a:solidFill>
              <a:schemeClr val="tx2"/>
            </a:solidFill>
          </p:grpSpPr>
          <p:sp>
            <p:nvSpPr>
              <p:cNvPr id="906" name="Google Shape;18116;p1604">
                <a:extLst>
                  <a:ext uri="{FF2B5EF4-FFF2-40B4-BE49-F238E27FC236}">
                    <a16:creationId xmlns:a16="http://schemas.microsoft.com/office/drawing/2014/main" id="{D052D570-1A2A-4211-81C7-1965902422D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7" name="Google Shape;18117;p1604">
                <a:extLst>
                  <a:ext uri="{FF2B5EF4-FFF2-40B4-BE49-F238E27FC236}">
                    <a16:creationId xmlns:a16="http://schemas.microsoft.com/office/drawing/2014/main" id="{9AED4EAD-258D-45D0-8D2B-133EEBA88BB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1" name="Google Shape;18115;p1604">
              <a:extLst>
                <a:ext uri="{FF2B5EF4-FFF2-40B4-BE49-F238E27FC236}">
                  <a16:creationId xmlns:a16="http://schemas.microsoft.com/office/drawing/2014/main" id="{A0FAF904-0A34-42F0-95C8-5903A56C8248}"/>
                </a:ext>
              </a:extLst>
            </p:cNvPr>
            <p:cNvGrpSpPr/>
            <p:nvPr/>
          </p:nvGrpSpPr>
          <p:grpSpPr>
            <a:xfrm>
              <a:off x="2511970" y="3644968"/>
              <a:ext cx="346511" cy="346515"/>
              <a:chOff x="1932810" y="1349835"/>
              <a:chExt cx="185335" cy="185337"/>
            </a:xfrm>
            <a:solidFill>
              <a:schemeClr val="tx2"/>
            </a:solidFill>
          </p:grpSpPr>
          <p:sp>
            <p:nvSpPr>
              <p:cNvPr id="904" name="Google Shape;18116;p1604">
                <a:extLst>
                  <a:ext uri="{FF2B5EF4-FFF2-40B4-BE49-F238E27FC236}">
                    <a16:creationId xmlns:a16="http://schemas.microsoft.com/office/drawing/2014/main" id="{DF2E8903-396C-4991-902A-ACFB4A50A14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5" name="Google Shape;18117;p1604">
                <a:extLst>
                  <a:ext uri="{FF2B5EF4-FFF2-40B4-BE49-F238E27FC236}">
                    <a16:creationId xmlns:a16="http://schemas.microsoft.com/office/drawing/2014/main" id="{B08B1AAE-7034-4FB5-B696-D3EE23C45E6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2" name="Google Shape;18115;p1604">
              <a:extLst>
                <a:ext uri="{FF2B5EF4-FFF2-40B4-BE49-F238E27FC236}">
                  <a16:creationId xmlns:a16="http://schemas.microsoft.com/office/drawing/2014/main" id="{7A16447D-4638-42A0-AB03-C6C145A3E779}"/>
                </a:ext>
              </a:extLst>
            </p:cNvPr>
            <p:cNvGrpSpPr/>
            <p:nvPr/>
          </p:nvGrpSpPr>
          <p:grpSpPr>
            <a:xfrm>
              <a:off x="4754363" y="4548551"/>
              <a:ext cx="346511" cy="346515"/>
              <a:chOff x="1932810" y="1349835"/>
              <a:chExt cx="185335" cy="185337"/>
            </a:xfrm>
            <a:solidFill>
              <a:schemeClr val="tx2"/>
            </a:solidFill>
          </p:grpSpPr>
          <p:sp>
            <p:nvSpPr>
              <p:cNvPr id="902" name="Google Shape;18116;p1604">
                <a:extLst>
                  <a:ext uri="{FF2B5EF4-FFF2-40B4-BE49-F238E27FC236}">
                    <a16:creationId xmlns:a16="http://schemas.microsoft.com/office/drawing/2014/main" id="{E17633F8-2B29-4E9B-9083-96E79F5E7E9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3" name="Google Shape;18117;p1604">
                <a:extLst>
                  <a:ext uri="{FF2B5EF4-FFF2-40B4-BE49-F238E27FC236}">
                    <a16:creationId xmlns:a16="http://schemas.microsoft.com/office/drawing/2014/main" id="{25920A80-081B-4AF1-BD6B-9D9E813870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3" name="Google Shape;18115;p1604">
              <a:extLst>
                <a:ext uri="{FF2B5EF4-FFF2-40B4-BE49-F238E27FC236}">
                  <a16:creationId xmlns:a16="http://schemas.microsoft.com/office/drawing/2014/main" id="{9A1B98AB-937F-4770-8B5E-FAAD302CDB72}"/>
                </a:ext>
              </a:extLst>
            </p:cNvPr>
            <p:cNvGrpSpPr/>
            <p:nvPr/>
          </p:nvGrpSpPr>
          <p:grpSpPr>
            <a:xfrm>
              <a:off x="2644688" y="4493428"/>
              <a:ext cx="346511" cy="346515"/>
              <a:chOff x="1932810" y="1349835"/>
              <a:chExt cx="185335" cy="185337"/>
            </a:xfrm>
            <a:solidFill>
              <a:schemeClr val="tx2"/>
            </a:solidFill>
          </p:grpSpPr>
          <p:sp>
            <p:nvSpPr>
              <p:cNvPr id="900" name="Google Shape;18116;p1604">
                <a:extLst>
                  <a:ext uri="{FF2B5EF4-FFF2-40B4-BE49-F238E27FC236}">
                    <a16:creationId xmlns:a16="http://schemas.microsoft.com/office/drawing/2014/main" id="{73561998-9456-4B79-84C9-47F41BAF657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1" name="Google Shape;18117;p1604">
                <a:extLst>
                  <a:ext uri="{FF2B5EF4-FFF2-40B4-BE49-F238E27FC236}">
                    <a16:creationId xmlns:a16="http://schemas.microsoft.com/office/drawing/2014/main" id="{086A3BBF-6432-47EE-BF45-872461640B8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4" name="Google Shape;18115;p1604">
              <a:extLst>
                <a:ext uri="{FF2B5EF4-FFF2-40B4-BE49-F238E27FC236}">
                  <a16:creationId xmlns:a16="http://schemas.microsoft.com/office/drawing/2014/main" id="{5C5E4F3B-7E93-46D9-8567-6E3982460EEC}"/>
                </a:ext>
              </a:extLst>
            </p:cNvPr>
            <p:cNvGrpSpPr/>
            <p:nvPr/>
          </p:nvGrpSpPr>
          <p:grpSpPr>
            <a:xfrm>
              <a:off x="4764085" y="3612568"/>
              <a:ext cx="346511" cy="346515"/>
              <a:chOff x="1932810" y="1349835"/>
              <a:chExt cx="185335" cy="185337"/>
            </a:xfrm>
            <a:solidFill>
              <a:schemeClr val="tx2"/>
            </a:solidFill>
          </p:grpSpPr>
          <p:sp>
            <p:nvSpPr>
              <p:cNvPr id="898" name="Google Shape;18116;p1604">
                <a:extLst>
                  <a:ext uri="{FF2B5EF4-FFF2-40B4-BE49-F238E27FC236}">
                    <a16:creationId xmlns:a16="http://schemas.microsoft.com/office/drawing/2014/main" id="{29395DF7-8207-4FE0-9F52-6F98C32D12A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99" name="Google Shape;18117;p1604">
                <a:extLst>
                  <a:ext uri="{FF2B5EF4-FFF2-40B4-BE49-F238E27FC236}">
                    <a16:creationId xmlns:a16="http://schemas.microsoft.com/office/drawing/2014/main" id="{E5377F8D-F86F-4128-9CD1-05B9F1DC87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5" name="Google Shape;18115;p1604">
              <a:extLst>
                <a:ext uri="{FF2B5EF4-FFF2-40B4-BE49-F238E27FC236}">
                  <a16:creationId xmlns:a16="http://schemas.microsoft.com/office/drawing/2014/main" id="{8FF6F6D9-291D-4FF1-B643-EE35D08DF740}"/>
                </a:ext>
              </a:extLst>
            </p:cNvPr>
            <p:cNvGrpSpPr/>
            <p:nvPr/>
          </p:nvGrpSpPr>
          <p:grpSpPr>
            <a:xfrm>
              <a:off x="3091300" y="2809102"/>
              <a:ext cx="346511" cy="346515"/>
              <a:chOff x="1932810" y="1349835"/>
              <a:chExt cx="185335" cy="185337"/>
            </a:xfrm>
            <a:solidFill>
              <a:schemeClr val="tx2"/>
            </a:solidFill>
          </p:grpSpPr>
          <p:sp>
            <p:nvSpPr>
              <p:cNvPr id="896" name="Google Shape;18116;p1604">
                <a:extLst>
                  <a:ext uri="{FF2B5EF4-FFF2-40B4-BE49-F238E27FC236}">
                    <a16:creationId xmlns:a16="http://schemas.microsoft.com/office/drawing/2014/main" id="{643B08D0-FAB5-4719-AD3B-997152AF671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97" name="Google Shape;18117;p1604">
                <a:extLst>
                  <a:ext uri="{FF2B5EF4-FFF2-40B4-BE49-F238E27FC236}">
                    <a16:creationId xmlns:a16="http://schemas.microsoft.com/office/drawing/2014/main" id="{F488D0C8-C4E2-4DF8-B95B-14E1CF5C446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912" name="Google Shape;18115;p1604">
            <a:extLst>
              <a:ext uri="{FF2B5EF4-FFF2-40B4-BE49-F238E27FC236}">
                <a16:creationId xmlns:a16="http://schemas.microsoft.com/office/drawing/2014/main" id="{C18EB94B-4E89-4BF4-9DE5-753E9437C622}"/>
              </a:ext>
            </a:extLst>
          </p:cNvPr>
          <p:cNvGrpSpPr/>
          <p:nvPr/>
        </p:nvGrpSpPr>
        <p:grpSpPr>
          <a:xfrm>
            <a:off x="11146967" y="4704358"/>
            <a:ext cx="193423" cy="193425"/>
            <a:chOff x="1932810" y="1349835"/>
            <a:chExt cx="185335" cy="185337"/>
          </a:xfrm>
          <a:solidFill>
            <a:schemeClr val="tx2"/>
          </a:solidFill>
        </p:grpSpPr>
        <p:sp>
          <p:nvSpPr>
            <p:cNvPr id="913" name="Google Shape;18116;p1604">
              <a:extLst>
                <a:ext uri="{FF2B5EF4-FFF2-40B4-BE49-F238E27FC236}">
                  <a16:creationId xmlns:a16="http://schemas.microsoft.com/office/drawing/2014/main" id="{D0EA0B34-9F79-44B4-9FA8-6BD5BA1A019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14" name="Google Shape;18117;p1604">
              <a:extLst>
                <a:ext uri="{FF2B5EF4-FFF2-40B4-BE49-F238E27FC236}">
                  <a16:creationId xmlns:a16="http://schemas.microsoft.com/office/drawing/2014/main" id="{39BE4990-4615-4D19-A386-10363B1C188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15" name="Google Shape;18115;p1604">
            <a:extLst>
              <a:ext uri="{FF2B5EF4-FFF2-40B4-BE49-F238E27FC236}">
                <a16:creationId xmlns:a16="http://schemas.microsoft.com/office/drawing/2014/main" id="{D83EF00D-F7A8-41CE-8E4B-0DD448A8BA5D}"/>
              </a:ext>
            </a:extLst>
          </p:cNvPr>
          <p:cNvGrpSpPr/>
          <p:nvPr/>
        </p:nvGrpSpPr>
        <p:grpSpPr>
          <a:xfrm>
            <a:off x="11539908" y="4704358"/>
            <a:ext cx="193423" cy="193425"/>
            <a:chOff x="1932810" y="1349835"/>
            <a:chExt cx="185335" cy="185337"/>
          </a:xfrm>
          <a:solidFill>
            <a:schemeClr val="tx2"/>
          </a:solidFill>
        </p:grpSpPr>
        <p:sp>
          <p:nvSpPr>
            <p:cNvPr id="916" name="Google Shape;18116;p1604">
              <a:extLst>
                <a:ext uri="{FF2B5EF4-FFF2-40B4-BE49-F238E27FC236}">
                  <a16:creationId xmlns:a16="http://schemas.microsoft.com/office/drawing/2014/main" id="{6490BF33-6C3A-4AE6-A5BC-92D28890916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17" name="Google Shape;18117;p1604">
              <a:extLst>
                <a:ext uri="{FF2B5EF4-FFF2-40B4-BE49-F238E27FC236}">
                  <a16:creationId xmlns:a16="http://schemas.microsoft.com/office/drawing/2014/main" id="{9C113E5C-929A-45AC-8B56-18DD8FAB66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918" name="Rectangle 917">
            <a:extLst>
              <a:ext uri="{FF2B5EF4-FFF2-40B4-BE49-F238E27FC236}">
                <a16:creationId xmlns:a16="http://schemas.microsoft.com/office/drawing/2014/main" id="{606E17B3-6644-474E-9455-BE44851D8443}"/>
              </a:ext>
            </a:extLst>
          </p:cNvPr>
          <p:cNvSpPr/>
          <p:nvPr/>
        </p:nvSpPr>
        <p:spPr>
          <a:xfrm>
            <a:off x="11415731" y="441769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PM</a:t>
            </a:r>
          </a:p>
        </p:txBody>
      </p:sp>
      <p:sp>
        <p:nvSpPr>
          <p:cNvPr id="919" name="Rectangle 918">
            <a:extLst>
              <a:ext uri="{FF2B5EF4-FFF2-40B4-BE49-F238E27FC236}">
                <a16:creationId xmlns:a16="http://schemas.microsoft.com/office/drawing/2014/main" id="{8392405E-61FF-4BFD-91B1-38D02831E4F1}"/>
              </a:ext>
            </a:extLst>
          </p:cNvPr>
          <p:cNvSpPr/>
          <p:nvPr/>
        </p:nvSpPr>
        <p:spPr>
          <a:xfrm>
            <a:off x="10955457" y="4417695"/>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1268" name="Rectangle 1267">
            <a:extLst>
              <a:ext uri="{FF2B5EF4-FFF2-40B4-BE49-F238E27FC236}">
                <a16:creationId xmlns:a16="http://schemas.microsoft.com/office/drawing/2014/main" id="{935B052C-D4A9-4E09-9A3F-F18B18D8C39E}"/>
              </a:ext>
            </a:extLst>
          </p:cNvPr>
          <p:cNvSpPr/>
          <p:nvPr/>
        </p:nvSpPr>
        <p:spPr>
          <a:xfrm>
            <a:off x="10423624" y="2799013"/>
            <a:ext cx="1235422" cy="44816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Business Director</a:t>
            </a:r>
          </a:p>
        </p:txBody>
      </p:sp>
      <p:grpSp>
        <p:nvGrpSpPr>
          <p:cNvPr id="1269" name="Google Shape;18115;p1604">
            <a:extLst>
              <a:ext uri="{FF2B5EF4-FFF2-40B4-BE49-F238E27FC236}">
                <a16:creationId xmlns:a16="http://schemas.microsoft.com/office/drawing/2014/main" id="{6A8D2DF1-ED92-4F6C-AC9E-76ED2E61E238}"/>
              </a:ext>
            </a:extLst>
          </p:cNvPr>
          <p:cNvGrpSpPr/>
          <p:nvPr/>
        </p:nvGrpSpPr>
        <p:grpSpPr>
          <a:xfrm>
            <a:off x="11576855" y="2943698"/>
            <a:ext cx="193423" cy="193425"/>
            <a:chOff x="1932810" y="1349835"/>
            <a:chExt cx="185335" cy="185337"/>
          </a:xfrm>
          <a:solidFill>
            <a:schemeClr val="tx2"/>
          </a:solidFill>
        </p:grpSpPr>
        <p:sp>
          <p:nvSpPr>
            <p:cNvPr id="1270" name="Google Shape;18116;p1604">
              <a:extLst>
                <a:ext uri="{FF2B5EF4-FFF2-40B4-BE49-F238E27FC236}">
                  <a16:creationId xmlns:a16="http://schemas.microsoft.com/office/drawing/2014/main" id="{9719763C-6A4A-468B-8585-D8F2EB1708F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71" name="Google Shape;18117;p1604">
              <a:extLst>
                <a:ext uri="{FF2B5EF4-FFF2-40B4-BE49-F238E27FC236}">
                  <a16:creationId xmlns:a16="http://schemas.microsoft.com/office/drawing/2014/main" id="{5C3AE626-5BF1-4D8E-9CDA-8B905915335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546" name="Rectangle 1545">
            <a:extLst>
              <a:ext uri="{FF2B5EF4-FFF2-40B4-BE49-F238E27FC236}">
                <a16:creationId xmlns:a16="http://schemas.microsoft.com/office/drawing/2014/main" id="{94AA3555-4D47-4315-A370-06BEA03D44E2}"/>
              </a:ext>
            </a:extLst>
          </p:cNvPr>
          <p:cNvSpPr/>
          <p:nvPr/>
        </p:nvSpPr>
        <p:spPr>
          <a:xfrm>
            <a:off x="9028368" y="2788442"/>
            <a:ext cx="482224"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Produ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rector</a:t>
            </a:r>
          </a:p>
        </p:txBody>
      </p:sp>
      <p:grpSp>
        <p:nvGrpSpPr>
          <p:cNvPr id="1547" name="Google Shape;18115;p1604">
            <a:extLst>
              <a:ext uri="{FF2B5EF4-FFF2-40B4-BE49-F238E27FC236}">
                <a16:creationId xmlns:a16="http://schemas.microsoft.com/office/drawing/2014/main" id="{54BB7232-D474-4EF9-BDEA-E32F5FA2A37F}"/>
              </a:ext>
            </a:extLst>
          </p:cNvPr>
          <p:cNvGrpSpPr/>
          <p:nvPr/>
        </p:nvGrpSpPr>
        <p:grpSpPr>
          <a:xfrm>
            <a:off x="9736687" y="2927139"/>
            <a:ext cx="193423" cy="193425"/>
            <a:chOff x="1932810" y="1349835"/>
            <a:chExt cx="185335" cy="185337"/>
          </a:xfrm>
          <a:solidFill>
            <a:schemeClr val="tx2"/>
          </a:solidFill>
        </p:grpSpPr>
        <p:sp>
          <p:nvSpPr>
            <p:cNvPr id="1548" name="Google Shape;18116;p1604">
              <a:extLst>
                <a:ext uri="{FF2B5EF4-FFF2-40B4-BE49-F238E27FC236}">
                  <a16:creationId xmlns:a16="http://schemas.microsoft.com/office/drawing/2014/main" id="{285907BC-9B3A-4B9F-8483-BAEC45B88C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49" name="Google Shape;18117;p1604">
              <a:extLst>
                <a:ext uri="{FF2B5EF4-FFF2-40B4-BE49-F238E27FC236}">
                  <a16:creationId xmlns:a16="http://schemas.microsoft.com/office/drawing/2014/main" id="{E969DB24-B4B0-4F6B-9F29-272F67D2D14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315" name="Rectangle 314">
            <a:extLst>
              <a:ext uri="{FF2B5EF4-FFF2-40B4-BE49-F238E27FC236}">
                <a16:creationId xmlns:a16="http://schemas.microsoft.com/office/drawing/2014/main" id="{A8047A5E-3C6B-BA4C-84E4-864C967C568E}"/>
              </a:ext>
            </a:extLst>
          </p:cNvPr>
          <p:cNvSpPr/>
          <p:nvPr/>
        </p:nvSpPr>
        <p:spPr>
          <a:xfrm>
            <a:off x="2373069" y="1586291"/>
            <a:ext cx="779263" cy="629181"/>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Annual Planning</a:t>
            </a:r>
          </a:p>
        </p:txBody>
      </p:sp>
      <p:sp>
        <p:nvSpPr>
          <p:cNvPr id="318" name="Rectangle 317">
            <a:extLst>
              <a:ext uri="{FF2B5EF4-FFF2-40B4-BE49-F238E27FC236}">
                <a16:creationId xmlns:a16="http://schemas.microsoft.com/office/drawing/2014/main" id="{D59AA52C-6B66-AA46-88E0-8CDAE333D77F}"/>
              </a:ext>
            </a:extLst>
          </p:cNvPr>
          <p:cNvSpPr/>
          <p:nvPr/>
        </p:nvSpPr>
        <p:spPr>
          <a:xfrm>
            <a:off x="5264968" y="1586290"/>
            <a:ext cx="779263" cy="629181"/>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Qtly Strategic Review</a:t>
            </a:r>
          </a:p>
        </p:txBody>
      </p:sp>
      <p:sp>
        <p:nvSpPr>
          <p:cNvPr id="326" name="Rectangle 325">
            <a:extLst>
              <a:ext uri="{FF2B5EF4-FFF2-40B4-BE49-F238E27FC236}">
                <a16:creationId xmlns:a16="http://schemas.microsoft.com/office/drawing/2014/main" id="{4945E30C-E4EE-6443-8739-4F45A11E0EB2}"/>
              </a:ext>
            </a:extLst>
          </p:cNvPr>
          <p:cNvSpPr/>
          <p:nvPr/>
        </p:nvSpPr>
        <p:spPr>
          <a:xfrm>
            <a:off x="4180671" y="4426377"/>
            <a:ext cx="2374047" cy="354639"/>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Digital Boards (for each product)</a:t>
            </a:r>
          </a:p>
          <a:p>
            <a:pPr lvl="0" algn="ctr">
              <a:defRPr/>
            </a:pPr>
            <a:r>
              <a:rPr lang="en-US" sz="1000" dirty="0">
                <a:solidFill>
                  <a:srgbClr val="00148C"/>
                </a:solidFill>
              </a:rPr>
              <a:t>(end of each phase)</a:t>
            </a:r>
          </a:p>
        </p:txBody>
      </p:sp>
      <p:sp>
        <p:nvSpPr>
          <p:cNvPr id="327" name="Rectangle 326">
            <a:extLst>
              <a:ext uri="{FF2B5EF4-FFF2-40B4-BE49-F238E27FC236}">
                <a16:creationId xmlns:a16="http://schemas.microsoft.com/office/drawing/2014/main" id="{557DD950-E708-FF4B-92BF-4C5286121D02}"/>
              </a:ext>
            </a:extLst>
          </p:cNvPr>
          <p:cNvSpPr/>
          <p:nvPr/>
        </p:nvSpPr>
        <p:spPr>
          <a:xfrm>
            <a:off x="4065937" y="4956447"/>
            <a:ext cx="779263" cy="629181"/>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Sprint </a:t>
            </a:r>
          </a:p>
          <a:p>
            <a:pPr lvl="0" algn="ctr">
              <a:defRPr/>
            </a:pPr>
            <a:r>
              <a:rPr lang="en-US" sz="1000" b="1" dirty="0">
                <a:solidFill>
                  <a:srgbClr val="00148C"/>
                </a:solidFill>
              </a:rPr>
              <a:t>Demos </a:t>
            </a:r>
            <a:r>
              <a:rPr lang="en-US" sz="1000" dirty="0">
                <a:solidFill>
                  <a:srgbClr val="00148C"/>
                </a:solidFill>
              </a:rPr>
              <a:t>(biweekly)</a:t>
            </a:r>
          </a:p>
        </p:txBody>
      </p:sp>
      <p:grpSp>
        <p:nvGrpSpPr>
          <p:cNvPr id="10" name="Group 9">
            <a:extLst>
              <a:ext uri="{FF2B5EF4-FFF2-40B4-BE49-F238E27FC236}">
                <a16:creationId xmlns:a16="http://schemas.microsoft.com/office/drawing/2014/main" id="{D1CC3FEC-8549-B44B-840E-300FE3A76E32}"/>
              </a:ext>
            </a:extLst>
          </p:cNvPr>
          <p:cNvGrpSpPr/>
          <p:nvPr/>
        </p:nvGrpSpPr>
        <p:grpSpPr>
          <a:xfrm>
            <a:off x="3981727" y="4932179"/>
            <a:ext cx="2895477" cy="1895698"/>
            <a:chOff x="2588352" y="4479631"/>
            <a:chExt cx="2895477" cy="1895698"/>
          </a:xfrm>
        </p:grpSpPr>
        <p:sp>
          <p:nvSpPr>
            <p:cNvPr id="357" name="TextBox 356">
              <a:extLst>
                <a:ext uri="{FF2B5EF4-FFF2-40B4-BE49-F238E27FC236}">
                  <a16:creationId xmlns:a16="http://schemas.microsoft.com/office/drawing/2014/main" id="{8C2594F1-EF50-5544-902D-54F3CD986919}"/>
                </a:ext>
              </a:extLst>
            </p:cNvPr>
            <p:cNvSpPr txBox="1"/>
            <p:nvPr/>
          </p:nvSpPr>
          <p:spPr>
            <a:xfrm>
              <a:off x="4849408" y="4511995"/>
              <a:ext cx="634421" cy="7583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i="1" dirty="0">
                  <a:solidFill>
                    <a:schemeClr val="accent1"/>
                  </a:solidFill>
                </a:rPr>
                <a:t>3. Daily Standup</a:t>
              </a:r>
            </a:p>
          </p:txBody>
        </p:sp>
        <p:sp>
          <p:nvSpPr>
            <p:cNvPr id="358" name="TextBox 357">
              <a:extLst>
                <a:ext uri="{FF2B5EF4-FFF2-40B4-BE49-F238E27FC236}">
                  <a16:creationId xmlns:a16="http://schemas.microsoft.com/office/drawing/2014/main" id="{5639AEC3-3BD9-3841-8617-07079E2FC201}"/>
                </a:ext>
              </a:extLst>
            </p:cNvPr>
            <p:cNvSpPr txBox="1"/>
            <p:nvPr/>
          </p:nvSpPr>
          <p:spPr>
            <a:xfrm>
              <a:off x="3322737" y="4479631"/>
              <a:ext cx="634421" cy="7583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i="1" dirty="0">
                  <a:solidFill>
                    <a:schemeClr val="accent1"/>
                  </a:solidFill>
                </a:rPr>
                <a:t>4. Sprint Review</a:t>
              </a:r>
            </a:p>
          </p:txBody>
        </p:sp>
        <p:grpSp>
          <p:nvGrpSpPr>
            <p:cNvPr id="6" name="Group 5">
              <a:extLst>
                <a:ext uri="{FF2B5EF4-FFF2-40B4-BE49-F238E27FC236}">
                  <a16:creationId xmlns:a16="http://schemas.microsoft.com/office/drawing/2014/main" id="{6C0EC517-3628-C14F-B590-5E1602E09D89}"/>
                </a:ext>
              </a:extLst>
            </p:cNvPr>
            <p:cNvGrpSpPr/>
            <p:nvPr/>
          </p:nvGrpSpPr>
          <p:grpSpPr>
            <a:xfrm>
              <a:off x="3567351" y="4655123"/>
              <a:ext cx="1577089" cy="1239681"/>
              <a:chOff x="3191206" y="3152378"/>
              <a:chExt cx="4760536" cy="3742054"/>
            </a:xfrm>
          </p:grpSpPr>
          <p:sp>
            <p:nvSpPr>
              <p:cNvPr id="329" name="Right Arrow 328">
                <a:extLst>
                  <a:ext uri="{FF2B5EF4-FFF2-40B4-BE49-F238E27FC236}">
                    <a16:creationId xmlns:a16="http://schemas.microsoft.com/office/drawing/2014/main" id="{6099FE48-F3B2-D84E-AAB3-F3263485F06B}"/>
                  </a:ext>
                </a:extLst>
              </p:cNvPr>
              <p:cNvSpPr/>
              <p:nvPr/>
            </p:nvSpPr>
            <p:spPr>
              <a:xfrm>
                <a:off x="5014077" y="6130485"/>
                <a:ext cx="2937665" cy="762038"/>
              </a:xfrm>
              <a:prstGeom prst="rightArrow">
                <a:avLst/>
              </a:prstGeom>
              <a:solidFill>
                <a:srgbClr val="001591"/>
              </a:solidFill>
              <a:ln w="9525" cap="flat" cmpd="sng" algn="ctr">
                <a:noFill/>
                <a:prstDash val="solid"/>
              </a:ln>
              <a:effectLst/>
            </p:spPr>
            <p:txBody>
              <a:bodyPr rtlCol="0" anchor="ctr"/>
              <a:lstStyle/>
              <a:p>
                <a:pPr algn="ctr" defTabSz="609570">
                  <a:defRPr/>
                </a:pPr>
                <a:endParaRPr lang="en-US" sz="1050" kern="0">
                  <a:solidFill>
                    <a:prstClr val="white"/>
                  </a:solidFill>
                  <a:latin typeface="Calibri"/>
                </a:endParaRPr>
              </a:p>
            </p:txBody>
          </p:sp>
          <p:grpSp>
            <p:nvGrpSpPr>
              <p:cNvPr id="330" name="Group 329">
                <a:extLst>
                  <a:ext uri="{FF2B5EF4-FFF2-40B4-BE49-F238E27FC236}">
                    <a16:creationId xmlns:a16="http://schemas.microsoft.com/office/drawing/2014/main" id="{BBC8E895-3DDC-3B41-B415-45A76E10B4C5}"/>
                  </a:ext>
                </a:extLst>
              </p:cNvPr>
              <p:cNvGrpSpPr/>
              <p:nvPr/>
            </p:nvGrpSpPr>
            <p:grpSpPr>
              <a:xfrm>
                <a:off x="3191206" y="3764715"/>
                <a:ext cx="3334893" cy="3129717"/>
                <a:chOff x="3773171" y="1810892"/>
                <a:chExt cx="2501170" cy="2347288"/>
              </a:xfrm>
            </p:grpSpPr>
            <p:grpSp>
              <p:nvGrpSpPr>
                <p:cNvPr id="331" name="Group 330">
                  <a:extLst>
                    <a:ext uri="{FF2B5EF4-FFF2-40B4-BE49-F238E27FC236}">
                      <a16:creationId xmlns:a16="http://schemas.microsoft.com/office/drawing/2014/main" id="{855A06EF-1698-4944-BB21-9DAEDAA7D702}"/>
                    </a:ext>
                  </a:extLst>
                </p:cNvPr>
                <p:cNvGrpSpPr/>
                <p:nvPr/>
              </p:nvGrpSpPr>
              <p:grpSpPr>
                <a:xfrm>
                  <a:off x="4840523" y="2942611"/>
                  <a:ext cx="501602" cy="234083"/>
                  <a:chOff x="4799127" y="2288360"/>
                  <a:chExt cx="909910" cy="424630"/>
                </a:xfrm>
                <a:solidFill>
                  <a:srgbClr val="1D252D">
                    <a:lumMod val="90000"/>
                    <a:lumOff val="10000"/>
                  </a:srgbClr>
                </a:solidFill>
              </p:grpSpPr>
              <p:grpSp>
                <p:nvGrpSpPr>
                  <p:cNvPr id="336" name="Group 335">
                    <a:extLst>
                      <a:ext uri="{FF2B5EF4-FFF2-40B4-BE49-F238E27FC236}">
                        <a16:creationId xmlns:a16="http://schemas.microsoft.com/office/drawing/2014/main" id="{AB53F424-863F-894D-B520-F3B62C2AC910}"/>
                      </a:ext>
                    </a:extLst>
                  </p:cNvPr>
                  <p:cNvGrpSpPr>
                    <a:grpSpLocks noChangeAspect="1"/>
                  </p:cNvGrpSpPr>
                  <p:nvPr/>
                </p:nvGrpSpPr>
                <p:grpSpPr>
                  <a:xfrm>
                    <a:off x="5041770" y="2288365"/>
                    <a:ext cx="667267" cy="424625"/>
                    <a:chOff x="1932810" y="638757"/>
                    <a:chExt cx="291241" cy="185335"/>
                  </a:xfrm>
                  <a:grpFill/>
                </p:grpSpPr>
                <p:sp>
                  <p:nvSpPr>
                    <p:cNvPr id="346" name="Freeform 65">
                      <a:extLst>
                        <a:ext uri="{FF2B5EF4-FFF2-40B4-BE49-F238E27FC236}">
                          <a16:creationId xmlns:a16="http://schemas.microsoft.com/office/drawing/2014/main" id="{B22AF477-DED3-234A-98DC-C5DD6CEBA719}"/>
                        </a:ext>
                      </a:extLst>
                    </p:cNvPr>
                    <p:cNvSpPr>
                      <a:spLocks noChangeArrowheads="1"/>
                    </p:cNvSpPr>
                    <p:nvPr/>
                  </p:nvSpPr>
                  <p:spPr bwMode="auto">
                    <a:xfrm>
                      <a:off x="2091669" y="638757"/>
                      <a:ext cx="79430" cy="79429"/>
                    </a:xfrm>
                    <a:custGeom>
                      <a:avLst/>
                      <a:gdLst>
                        <a:gd name="T0" fmla="*/ 138 w 278"/>
                        <a:gd name="T1" fmla="*/ 278 h 279"/>
                        <a:gd name="T2" fmla="*/ 138 w 278"/>
                        <a:gd name="T3" fmla="*/ 278 h 279"/>
                        <a:gd name="T4" fmla="*/ 277 w 278"/>
                        <a:gd name="T5" fmla="*/ 139 h 279"/>
                        <a:gd name="T6" fmla="*/ 138 w 278"/>
                        <a:gd name="T7" fmla="*/ 0 h 279"/>
                        <a:gd name="T8" fmla="*/ 0 w 278"/>
                        <a:gd name="T9" fmla="*/ 139 h 279"/>
                        <a:gd name="T10" fmla="*/ 138 w 278"/>
                        <a:gd name="T11" fmla="*/ 278 h 279"/>
                      </a:gdLst>
                      <a:ahLst/>
                      <a:cxnLst>
                        <a:cxn ang="0">
                          <a:pos x="T0" y="T1"/>
                        </a:cxn>
                        <a:cxn ang="0">
                          <a:pos x="T2" y="T3"/>
                        </a:cxn>
                        <a:cxn ang="0">
                          <a:pos x="T4" y="T5"/>
                        </a:cxn>
                        <a:cxn ang="0">
                          <a:pos x="T6" y="T7"/>
                        </a:cxn>
                        <a:cxn ang="0">
                          <a:pos x="T8" y="T9"/>
                        </a:cxn>
                        <a:cxn ang="0">
                          <a:pos x="T10" y="T11"/>
                        </a:cxn>
                      </a:cxnLst>
                      <a:rect l="0" t="0" r="r" b="b"/>
                      <a:pathLst>
                        <a:path w="278" h="279">
                          <a:moveTo>
                            <a:pt x="138" y="278"/>
                          </a:moveTo>
                          <a:lnTo>
                            <a:pt x="138" y="278"/>
                          </a:lnTo>
                          <a:cubicBezTo>
                            <a:pt x="208" y="278"/>
                            <a:pt x="277" y="208"/>
                            <a:pt x="277" y="139"/>
                          </a:cubicBezTo>
                          <a:cubicBezTo>
                            <a:pt x="277" y="58"/>
                            <a:pt x="208" y="0"/>
                            <a:pt x="138" y="0"/>
                          </a:cubicBezTo>
                          <a:cubicBezTo>
                            <a:pt x="57" y="0"/>
                            <a:pt x="0" y="58"/>
                            <a:pt x="0" y="139"/>
                          </a:cubicBezTo>
                          <a:cubicBezTo>
                            <a:pt x="0" y="208"/>
                            <a:pt x="57" y="278"/>
                            <a:pt x="138" y="278"/>
                          </a:cubicBezTo>
                        </a:path>
                      </a:pathLst>
                    </a:custGeom>
                    <a:grpFill/>
                    <a:ln>
                      <a:noFill/>
                    </a:ln>
                    <a:effectLst/>
                    <a:extLst>
                      <a:ext uri="{91240B29-F687-4F45-9708-019B960494DF}">
                        <a14:hiddenLine xmlns:a14="http://schemas.microsoft.com/office/drawing/2010/main" w="9525" cap="flat">
                          <a:solidFill>
                            <a:srgbClr val="A7A9AC"/>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09570">
                        <a:defRPr/>
                      </a:pPr>
                      <a:endParaRPr lang="en-US" sz="1050" kern="0">
                        <a:solidFill>
                          <a:prstClr val="black"/>
                        </a:solidFill>
                        <a:latin typeface="Calibri"/>
                      </a:endParaRPr>
                    </a:p>
                  </p:txBody>
                </p:sp>
                <p:sp>
                  <p:nvSpPr>
                    <p:cNvPr id="347" name="Freeform 66">
                      <a:extLst>
                        <a:ext uri="{FF2B5EF4-FFF2-40B4-BE49-F238E27FC236}">
                          <a16:creationId xmlns:a16="http://schemas.microsoft.com/office/drawing/2014/main" id="{B8561A87-AD5F-F046-90BD-D10FE5336821}"/>
                        </a:ext>
                      </a:extLst>
                    </p:cNvPr>
                    <p:cNvSpPr>
                      <a:spLocks noChangeArrowheads="1"/>
                    </p:cNvSpPr>
                    <p:nvPr/>
                  </p:nvSpPr>
                  <p:spPr bwMode="auto">
                    <a:xfrm>
                      <a:off x="1985763" y="638757"/>
                      <a:ext cx="79430" cy="79429"/>
                    </a:xfrm>
                    <a:custGeom>
                      <a:avLst/>
                      <a:gdLst>
                        <a:gd name="T0" fmla="*/ 139 w 279"/>
                        <a:gd name="T1" fmla="*/ 278 h 279"/>
                        <a:gd name="T2" fmla="*/ 139 w 279"/>
                        <a:gd name="T3" fmla="*/ 278 h 279"/>
                        <a:gd name="T4" fmla="*/ 278 w 279"/>
                        <a:gd name="T5" fmla="*/ 139 h 279"/>
                        <a:gd name="T6" fmla="*/ 139 w 279"/>
                        <a:gd name="T7" fmla="*/ 0 h 279"/>
                        <a:gd name="T8" fmla="*/ 0 w 279"/>
                        <a:gd name="T9" fmla="*/ 139 h 279"/>
                        <a:gd name="T10" fmla="*/ 139 w 279"/>
                        <a:gd name="T11" fmla="*/ 278 h 279"/>
                      </a:gdLst>
                      <a:ahLst/>
                      <a:cxnLst>
                        <a:cxn ang="0">
                          <a:pos x="T0" y="T1"/>
                        </a:cxn>
                        <a:cxn ang="0">
                          <a:pos x="T2" y="T3"/>
                        </a:cxn>
                        <a:cxn ang="0">
                          <a:pos x="T4" y="T5"/>
                        </a:cxn>
                        <a:cxn ang="0">
                          <a:pos x="T6" y="T7"/>
                        </a:cxn>
                        <a:cxn ang="0">
                          <a:pos x="T8" y="T9"/>
                        </a:cxn>
                        <a:cxn ang="0">
                          <a:pos x="T10" y="T11"/>
                        </a:cxn>
                      </a:cxnLst>
                      <a:rect l="0" t="0" r="r" b="b"/>
                      <a:pathLst>
                        <a:path w="279" h="279">
                          <a:moveTo>
                            <a:pt x="139" y="278"/>
                          </a:moveTo>
                          <a:lnTo>
                            <a:pt x="139" y="278"/>
                          </a:lnTo>
                          <a:cubicBezTo>
                            <a:pt x="208" y="278"/>
                            <a:pt x="278" y="208"/>
                            <a:pt x="278" y="139"/>
                          </a:cubicBezTo>
                          <a:cubicBezTo>
                            <a:pt x="278" y="58"/>
                            <a:pt x="208" y="0"/>
                            <a:pt x="139" y="0"/>
                          </a:cubicBezTo>
                          <a:cubicBezTo>
                            <a:pt x="58" y="0"/>
                            <a:pt x="0" y="58"/>
                            <a:pt x="0" y="139"/>
                          </a:cubicBezTo>
                          <a:cubicBezTo>
                            <a:pt x="0" y="208"/>
                            <a:pt x="58" y="278"/>
                            <a:pt x="139" y="278"/>
                          </a:cubicBezTo>
                        </a:path>
                      </a:pathLst>
                    </a:custGeom>
                    <a:grpFill/>
                    <a:ln>
                      <a:noFill/>
                    </a:ln>
                    <a:effectLst/>
                    <a:extLst>
                      <a:ext uri="{91240B29-F687-4F45-9708-019B960494DF}">
                        <a14:hiddenLine xmlns:a14="http://schemas.microsoft.com/office/drawing/2010/main" w="9525" cap="flat">
                          <a:solidFill>
                            <a:srgbClr val="A7A9AC"/>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09570">
                        <a:defRPr/>
                      </a:pPr>
                      <a:endParaRPr lang="en-US" sz="1050" kern="0">
                        <a:solidFill>
                          <a:prstClr val="black"/>
                        </a:solidFill>
                        <a:latin typeface="Calibri"/>
                      </a:endParaRPr>
                    </a:p>
                  </p:txBody>
                </p:sp>
                <p:sp>
                  <p:nvSpPr>
                    <p:cNvPr id="349" name="Freeform 67">
                      <a:extLst>
                        <a:ext uri="{FF2B5EF4-FFF2-40B4-BE49-F238E27FC236}">
                          <a16:creationId xmlns:a16="http://schemas.microsoft.com/office/drawing/2014/main" id="{900CBB17-9CDD-6347-BE59-5C70E985E183}"/>
                        </a:ext>
                      </a:extLst>
                    </p:cNvPr>
                    <p:cNvSpPr>
                      <a:spLocks noChangeArrowheads="1"/>
                    </p:cNvSpPr>
                    <p:nvPr/>
                  </p:nvSpPr>
                  <p:spPr bwMode="auto">
                    <a:xfrm>
                      <a:off x="2118145" y="744663"/>
                      <a:ext cx="105906" cy="79429"/>
                    </a:xfrm>
                    <a:custGeom>
                      <a:avLst/>
                      <a:gdLst>
                        <a:gd name="T0" fmla="*/ 46 w 372"/>
                        <a:gd name="T1" fmla="*/ 0 h 279"/>
                        <a:gd name="T2" fmla="*/ 46 w 372"/>
                        <a:gd name="T3" fmla="*/ 0 h 279"/>
                        <a:gd name="T4" fmla="*/ 0 w 372"/>
                        <a:gd name="T5" fmla="*/ 0 h 279"/>
                        <a:gd name="T6" fmla="*/ 93 w 372"/>
                        <a:gd name="T7" fmla="*/ 162 h 279"/>
                        <a:gd name="T8" fmla="*/ 93 w 372"/>
                        <a:gd name="T9" fmla="*/ 278 h 279"/>
                        <a:gd name="T10" fmla="*/ 371 w 372"/>
                        <a:gd name="T11" fmla="*/ 278 h 279"/>
                        <a:gd name="T12" fmla="*/ 371 w 372"/>
                        <a:gd name="T13" fmla="*/ 162 h 279"/>
                        <a:gd name="T14" fmla="*/ 46 w 372"/>
                        <a:gd name="T15" fmla="*/ 0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2" h="279">
                          <a:moveTo>
                            <a:pt x="46" y="0"/>
                          </a:moveTo>
                          <a:lnTo>
                            <a:pt x="46" y="0"/>
                          </a:lnTo>
                          <a:cubicBezTo>
                            <a:pt x="0" y="0"/>
                            <a:pt x="0" y="0"/>
                            <a:pt x="0" y="0"/>
                          </a:cubicBezTo>
                          <a:cubicBezTo>
                            <a:pt x="46" y="35"/>
                            <a:pt x="93" y="93"/>
                            <a:pt x="93" y="162"/>
                          </a:cubicBezTo>
                          <a:cubicBezTo>
                            <a:pt x="93" y="278"/>
                            <a:pt x="93" y="278"/>
                            <a:pt x="93" y="278"/>
                          </a:cubicBezTo>
                          <a:cubicBezTo>
                            <a:pt x="371" y="278"/>
                            <a:pt x="371" y="278"/>
                            <a:pt x="371" y="278"/>
                          </a:cubicBezTo>
                          <a:cubicBezTo>
                            <a:pt x="371" y="162"/>
                            <a:pt x="371" y="162"/>
                            <a:pt x="371" y="162"/>
                          </a:cubicBezTo>
                          <a:cubicBezTo>
                            <a:pt x="371" y="47"/>
                            <a:pt x="151" y="0"/>
                            <a:pt x="46" y="0"/>
                          </a:cubicBezTo>
                        </a:path>
                      </a:pathLst>
                    </a:custGeom>
                    <a:grpFill/>
                    <a:ln>
                      <a:noFill/>
                    </a:ln>
                    <a:effectLst/>
                    <a:extLst>
                      <a:ext uri="{91240B29-F687-4F45-9708-019B960494DF}">
                        <a14:hiddenLine xmlns:a14="http://schemas.microsoft.com/office/drawing/2010/main" w="9525" cap="flat">
                          <a:solidFill>
                            <a:srgbClr val="A7A9AC"/>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09570">
                        <a:defRPr/>
                      </a:pPr>
                      <a:endParaRPr lang="en-US" sz="1050" kern="0">
                        <a:solidFill>
                          <a:prstClr val="black"/>
                        </a:solidFill>
                        <a:latin typeface="Calibri"/>
                      </a:endParaRPr>
                    </a:p>
                  </p:txBody>
                </p:sp>
                <p:sp>
                  <p:nvSpPr>
                    <p:cNvPr id="350" name="Freeform 68">
                      <a:extLst>
                        <a:ext uri="{FF2B5EF4-FFF2-40B4-BE49-F238E27FC236}">
                          <a16:creationId xmlns:a16="http://schemas.microsoft.com/office/drawing/2014/main" id="{BE02F792-3C6F-104A-913F-19C8E80AED6E}"/>
                        </a:ext>
                      </a:extLst>
                    </p:cNvPr>
                    <p:cNvSpPr>
                      <a:spLocks noChangeArrowheads="1"/>
                    </p:cNvSpPr>
                    <p:nvPr/>
                  </p:nvSpPr>
                  <p:spPr bwMode="auto">
                    <a:xfrm>
                      <a:off x="1932810" y="729055"/>
                      <a:ext cx="185336" cy="79428"/>
                    </a:xfrm>
                    <a:custGeom>
                      <a:avLst/>
                      <a:gdLst>
                        <a:gd name="T0" fmla="*/ 324 w 649"/>
                        <a:gd name="T1" fmla="*/ 0 h 279"/>
                        <a:gd name="T2" fmla="*/ 324 w 649"/>
                        <a:gd name="T3" fmla="*/ 0 h 279"/>
                        <a:gd name="T4" fmla="*/ 0 w 649"/>
                        <a:gd name="T5" fmla="*/ 162 h 279"/>
                        <a:gd name="T6" fmla="*/ 0 w 649"/>
                        <a:gd name="T7" fmla="*/ 278 h 279"/>
                        <a:gd name="T8" fmla="*/ 648 w 649"/>
                        <a:gd name="T9" fmla="*/ 278 h 279"/>
                        <a:gd name="T10" fmla="*/ 648 w 649"/>
                        <a:gd name="T11" fmla="*/ 162 h 279"/>
                        <a:gd name="T12" fmla="*/ 324 w 649"/>
                        <a:gd name="T13" fmla="*/ 0 h 279"/>
                      </a:gdLst>
                      <a:ahLst/>
                      <a:cxnLst>
                        <a:cxn ang="0">
                          <a:pos x="T0" y="T1"/>
                        </a:cxn>
                        <a:cxn ang="0">
                          <a:pos x="T2" y="T3"/>
                        </a:cxn>
                        <a:cxn ang="0">
                          <a:pos x="T4" y="T5"/>
                        </a:cxn>
                        <a:cxn ang="0">
                          <a:pos x="T6" y="T7"/>
                        </a:cxn>
                        <a:cxn ang="0">
                          <a:pos x="T8" y="T9"/>
                        </a:cxn>
                        <a:cxn ang="0">
                          <a:pos x="T10" y="T11"/>
                        </a:cxn>
                        <a:cxn ang="0">
                          <a:pos x="T12" y="T13"/>
                        </a:cxn>
                      </a:cxnLst>
                      <a:rect l="0" t="0" r="r" b="b"/>
                      <a:pathLst>
                        <a:path w="649" h="279">
                          <a:moveTo>
                            <a:pt x="324" y="0"/>
                          </a:moveTo>
                          <a:lnTo>
                            <a:pt x="324" y="0"/>
                          </a:lnTo>
                          <a:cubicBezTo>
                            <a:pt x="208" y="0"/>
                            <a:pt x="0" y="47"/>
                            <a:pt x="0" y="162"/>
                          </a:cubicBezTo>
                          <a:cubicBezTo>
                            <a:pt x="0" y="278"/>
                            <a:pt x="0" y="278"/>
                            <a:pt x="0" y="278"/>
                          </a:cubicBezTo>
                          <a:cubicBezTo>
                            <a:pt x="648" y="278"/>
                            <a:pt x="648" y="278"/>
                            <a:pt x="648" y="278"/>
                          </a:cubicBezTo>
                          <a:cubicBezTo>
                            <a:pt x="648" y="162"/>
                            <a:pt x="648" y="162"/>
                            <a:pt x="648" y="162"/>
                          </a:cubicBezTo>
                          <a:cubicBezTo>
                            <a:pt x="648" y="47"/>
                            <a:pt x="428" y="0"/>
                            <a:pt x="324" y="0"/>
                          </a:cubicBezTo>
                        </a:path>
                      </a:pathLst>
                    </a:custGeom>
                    <a:grpFill/>
                    <a:ln>
                      <a:noFill/>
                    </a:ln>
                    <a:effectLst/>
                    <a:extLst>
                      <a:ext uri="{91240B29-F687-4F45-9708-019B960494DF}">
                        <a14:hiddenLine xmlns:a14="http://schemas.microsoft.com/office/drawing/2010/main" w="9525" cap="flat">
                          <a:solidFill>
                            <a:srgbClr val="A7A9AC"/>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09570">
                        <a:defRPr/>
                      </a:pPr>
                      <a:endParaRPr lang="en-US" sz="1050" kern="0">
                        <a:solidFill>
                          <a:prstClr val="black"/>
                        </a:solidFill>
                        <a:latin typeface="Calibri"/>
                      </a:endParaRPr>
                    </a:p>
                  </p:txBody>
                </p:sp>
              </p:grpSp>
              <p:sp>
                <p:nvSpPr>
                  <p:cNvPr id="337" name="Freeform 65">
                    <a:extLst>
                      <a:ext uri="{FF2B5EF4-FFF2-40B4-BE49-F238E27FC236}">
                        <a16:creationId xmlns:a16="http://schemas.microsoft.com/office/drawing/2014/main" id="{913382FF-492F-D648-B849-9F793B5AB67A}"/>
                      </a:ext>
                    </a:extLst>
                  </p:cNvPr>
                  <p:cNvSpPr>
                    <a:spLocks noChangeArrowheads="1"/>
                  </p:cNvSpPr>
                  <p:nvPr/>
                </p:nvSpPr>
                <p:spPr bwMode="auto">
                  <a:xfrm flipH="1">
                    <a:off x="4934379" y="2288360"/>
                    <a:ext cx="181983" cy="181981"/>
                  </a:xfrm>
                  <a:custGeom>
                    <a:avLst/>
                    <a:gdLst>
                      <a:gd name="T0" fmla="*/ 138 w 278"/>
                      <a:gd name="T1" fmla="*/ 278 h 279"/>
                      <a:gd name="T2" fmla="*/ 138 w 278"/>
                      <a:gd name="T3" fmla="*/ 278 h 279"/>
                      <a:gd name="T4" fmla="*/ 277 w 278"/>
                      <a:gd name="T5" fmla="*/ 139 h 279"/>
                      <a:gd name="T6" fmla="*/ 138 w 278"/>
                      <a:gd name="T7" fmla="*/ 0 h 279"/>
                      <a:gd name="T8" fmla="*/ 0 w 278"/>
                      <a:gd name="T9" fmla="*/ 139 h 279"/>
                      <a:gd name="T10" fmla="*/ 138 w 278"/>
                      <a:gd name="T11" fmla="*/ 278 h 279"/>
                    </a:gdLst>
                    <a:ahLst/>
                    <a:cxnLst>
                      <a:cxn ang="0">
                        <a:pos x="T0" y="T1"/>
                      </a:cxn>
                      <a:cxn ang="0">
                        <a:pos x="T2" y="T3"/>
                      </a:cxn>
                      <a:cxn ang="0">
                        <a:pos x="T4" y="T5"/>
                      </a:cxn>
                      <a:cxn ang="0">
                        <a:pos x="T6" y="T7"/>
                      </a:cxn>
                      <a:cxn ang="0">
                        <a:pos x="T8" y="T9"/>
                      </a:cxn>
                      <a:cxn ang="0">
                        <a:pos x="T10" y="T11"/>
                      </a:cxn>
                    </a:cxnLst>
                    <a:rect l="0" t="0" r="r" b="b"/>
                    <a:pathLst>
                      <a:path w="278" h="279">
                        <a:moveTo>
                          <a:pt x="138" y="278"/>
                        </a:moveTo>
                        <a:lnTo>
                          <a:pt x="138" y="278"/>
                        </a:lnTo>
                        <a:cubicBezTo>
                          <a:pt x="208" y="278"/>
                          <a:pt x="277" y="208"/>
                          <a:pt x="277" y="139"/>
                        </a:cubicBezTo>
                        <a:cubicBezTo>
                          <a:pt x="277" y="58"/>
                          <a:pt x="208" y="0"/>
                          <a:pt x="138" y="0"/>
                        </a:cubicBezTo>
                        <a:cubicBezTo>
                          <a:pt x="57" y="0"/>
                          <a:pt x="0" y="58"/>
                          <a:pt x="0" y="139"/>
                        </a:cubicBezTo>
                        <a:cubicBezTo>
                          <a:pt x="0" y="208"/>
                          <a:pt x="57" y="278"/>
                          <a:pt x="138" y="278"/>
                        </a:cubicBezTo>
                      </a:path>
                    </a:pathLst>
                  </a:custGeom>
                  <a:grpFill/>
                  <a:ln>
                    <a:noFill/>
                  </a:ln>
                  <a:effectLst/>
                  <a:extLst>
                    <a:ext uri="{91240B29-F687-4F45-9708-019B960494DF}">
                      <a14:hiddenLine xmlns:a14="http://schemas.microsoft.com/office/drawing/2010/main" w="9525" cap="flat">
                        <a:solidFill>
                          <a:srgbClr val="A7A9AC"/>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09570">
                      <a:defRPr/>
                    </a:pPr>
                    <a:endParaRPr lang="en-US" sz="1050" kern="0">
                      <a:solidFill>
                        <a:prstClr val="black"/>
                      </a:solidFill>
                      <a:latin typeface="Calibri"/>
                    </a:endParaRPr>
                  </a:p>
                </p:txBody>
              </p:sp>
              <p:sp>
                <p:nvSpPr>
                  <p:cNvPr id="345" name="Freeform 67">
                    <a:extLst>
                      <a:ext uri="{FF2B5EF4-FFF2-40B4-BE49-F238E27FC236}">
                        <a16:creationId xmlns:a16="http://schemas.microsoft.com/office/drawing/2014/main" id="{41EC072E-1FD3-B349-9B1A-2512D7452FBF}"/>
                      </a:ext>
                    </a:extLst>
                  </p:cNvPr>
                  <p:cNvSpPr>
                    <a:spLocks noChangeArrowheads="1"/>
                  </p:cNvSpPr>
                  <p:nvPr/>
                </p:nvSpPr>
                <p:spPr bwMode="auto">
                  <a:xfrm flipH="1">
                    <a:off x="4799127" y="2531003"/>
                    <a:ext cx="242643" cy="181981"/>
                  </a:xfrm>
                  <a:custGeom>
                    <a:avLst/>
                    <a:gdLst>
                      <a:gd name="T0" fmla="*/ 46 w 372"/>
                      <a:gd name="T1" fmla="*/ 0 h 279"/>
                      <a:gd name="T2" fmla="*/ 46 w 372"/>
                      <a:gd name="T3" fmla="*/ 0 h 279"/>
                      <a:gd name="T4" fmla="*/ 0 w 372"/>
                      <a:gd name="T5" fmla="*/ 0 h 279"/>
                      <a:gd name="T6" fmla="*/ 93 w 372"/>
                      <a:gd name="T7" fmla="*/ 162 h 279"/>
                      <a:gd name="T8" fmla="*/ 93 w 372"/>
                      <a:gd name="T9" fmla="*/ 278 h 279"/>
                      <a:gd name="T10" fmla="*/ 371 w 372"/>
                      <a:gd name="T11" fmla="*/ 278 h 279"/>
                      <a:gd name="T12" fmla="*/ 371 w 372"/>
                      <a:gd name="T13" fmla="*/ 162 h 279"/>
                      <a:gd name="T14" fmla="*/ 46 w 372"/>
                      <a:gd name="T15" fmla="*/ 0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2" h="279">
                        <a:moveTo>
                          <a:pt x="46" y="0"/>
                        </a:moveTo>
                        <a:lnTo>
                          <a:pt x="46" y="0"/>
                        </a:lnTo>
                        <a:cubicBezTo>
                          <a:pt x="0" y="0"/>
                          <a:pt x="0" y="0"/>
                          <a:pt x="0" y="0"/>
                        </a:cubicBezTo>
                        <a:cubicBezTo>
                          <a:pt x="46" y="35"/>
                          <a:pt x="93" y="93"/>
                          <a:pt x="93" y="162"/>
                        </a:cubicBezTo>
                        <a:cubicBezTo>
                          <a:pt x="93" y="278"/>
                          <a:pt x="93" y="278"/>
                          <a:pt x="93" y="278"/>
                        </a:cubicBezTo>
                        <a:cubicBezTo>
                          <a:pt x="371" y="278"/>
                          <a:pt x="371" y="278"/>
                          <a:pt x="371" y="278"/>
                        </a:cubicBezTo>
                        <a:cubicBezTo>
                          <a:pt x="371" y="162"/>
                          <a:pt x="371" y="162"/>
                          <a:pt x="371" y="162"/>
                        </a:cubicBezTo>
                        <a:cubicBezTo>
                          <a:pt x="371" y="47"/>
                          <a:pt x="151" y="0"/>
                          <a:pt x="46" y="0"/>
                        </a:cubicBezTo>
                      </a:path>
                    </a:pathLst>
                  </a:custGeom>
                  <a:grpFill/>
                  <a:ln>
                    <a:noFill/>
                  </a:ln>
                  <a:effectLst/>
                  <a:extLst>
                    <a:ext uri="{91240B29-F687-4F45-9708-019B960494DF}">
                      <a14:hiddenLine xmlns:a14="http://schemas.microsoft.com/office/drawing/2010/main" w="9525" cap="flat">
                        <a:solidFill>
                          <a:srgbClr val="A7A9AC"/>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09570">
                      <a:defRPr/>
                    </a:pPr>
                    <a:endParaRPr lang="en-US" sz="1050" kern="0">
                      <a:solidFill>
                        <a:prstClr val="black"/>
                      </a:solidFill>
                      <a:latin typeface="Calibri"/>
                    </a:endParaRPr>
                  </a:p>
                </p:txBody>
              </p:sp>
            </p:grpSp>
            <p:sp>
              <p:nvSpPr>
                <p:cNvPr id="332" name="Circular Arrow 331">
                  <a:extLst>
                    <a:ext uri="{FF2B5EF4-FFF2-40B4-BE49-F238E27FC236}">
                      <a16:creationId xmlns:a16="http://schemas.microsoft.com/office/drawing/2014/main" id="{C446201D-908E-6047-BBD4-41B25EA6BD10}"/>
                    </a:ext>
                  </a:extLst>
                </p:cNvPr>
                <p:cNvSpPr/>
                <p:nvPr/>
              </p:nvSpPr>
              <p:spPr>
                <a:xfrm rot="19800000" flipH="1">
                  <a:off x="3927052" y="1810892"/>
                  <a:ext cx="2347289" cy="2347288"/>
                </a:xfrm>
                <a:prstGeom prst="circularArrow">
                  <a:avLst>
                    <a:gd name="adj1" fmla="val 12868"/>
                    <a:gd name="adj2" fmla="val 1093420"/>
                    <a:gd name="adj3" fmla="val 20479562"/>
                    <a:gd name="adj4" fmla="val 3567739"/>
                    <a:gd name="adj5" fmla="val 12500"/>
                  </a:avLst>
                </a:prstGeom>
                <a:solidFill>
                  <a:srgbClr val="001591"/>
                </a:solidFill>
                <a:ln w="9525" cap="flat" cmpd="sng" algn="ctr">
                  <a:noFill/>
                  <a:prstDash val="solid"/>
                </a:ln>
                <a:effectLst/>
              </p:spPr>
              <p:txBody>
                <a:bodyPr rtlCol="0" anchor="ctr"/>
                <a:lstStyle/>
                <a:p>
                  <a:pPr algn="ctr" defTabSz="609570">
                    <a:defRPr/>
                  </a:pPr>
                  <a:endParaRPr lang="en-US" sz="1050" kern="0" dirty="0">
                    <a:solidFill>
                      <a:prstClr val="black"/>
                    </a:solidFill>
                    <a:latin typeface="Calibri"/>
                  </a:endParaRPr>
                </a:p>
              </p:txBody>
            </p:sp>
            <p:sp>
              <p:nvSpPr>
                <p:cNvPr id="333" name="Rectangle 332">
                  <a:extLst>
                    <a:ext uri="{FF2B5EF4-FFF2-40B4-BE49-F238E27FC236}">
                      <a16:creationId xmlns:a16="http://schemas.microsoft.com/office/drawing/2014/main" id="{E1B13071-A061-6542-AB01-5AEF84F80DE4}"/>
                    </a:ext>
                  </a:extLst>
                </p:cNvPr>
                <p:cNvSpPr/>
                <p:nvPr/>
              </p:nvSpPr>
              <p:spPr>
                <a:xfrm>
                  <a:off x="3773171" y="3714364"/>
                  <a:ext cx="1329126" cy="301547"/>
                </a:xfrm>
                <a:prstGeom prst="rect">
                  <a:avLst/>
                </a:prstGeom>
                <a:solidFill>
                  <a:srgbClr val="001591"/>
                </a:solidFill>
                <a:ln w="9525" cap="flat" cmpd="sng" algn="ctr">
                  <a:noFill/>
                  <a:prstDash val="solid"/>
                </a:ln>
                <a:effectLst/>
              </p:spPr>
              <p:txBody>
                <a:bodyPr rtlCol="0" anchor="ctr"/>
                <a:lstStyle/>
                <a:p>
                  <a:pPr algn="ctr" defTabSz="609570">
                    <a:defRPr/>
                  </a:pPr>
                  <a:endParaRPr lang="en-US" sz="1050" kern="0">
                    <a:solidFill>
                      <a:prstClr val="white"/>
                    </a:solidFill>
                    <a:latin typeface="Calibri"/>
                  </a:endParaRPr>
                </a:p>
              </p:txBody>
            </p:sp>
            <p:sp>
              <p:nvSpPr>
                <p:cNvPr id="335" name="TextBox 334">
                  <a:extLst>
                    <a:ext uri="{FF2B5EF4-FFF2-40B4-BE49-F238E27FC236}">
                      <a16:creationId xmlns:a16="http://schemas.microsoft.com/office/drawing/2014/main" id="{EE3AC648-F0E1-7144-A8FF-2366EB98D548}"/>
                    </a:ext>
                  </a:extLst>
                </p:cNvPr>
                <p:cNvSpPr txBox="1"/>
                <p:nvPr/>
              </p:nvSpPr>
              <p:spPr>
                <a:xfrm>
                  <a:off x="4648581" y="2339683"/>
                  <a:ext cx="876379" cy="487748"/>
                </a:xfrm>
                <a:prstGeom prst="rect">
                  <a:avLst/>
                </a:prstGeom>
                <a:noFill/>
              </p:spPr>
              <p:txBody>
                <a:bodyPr wrap="square" lIns="0" tIns="0" rIns="0" bIns="0" rtlCol="0">
                  <a:spAutoFit/>
                </a:bodyPr>
                <a:lstStyle/>
                <a:p>
                  <a:pPr algn="ctr" defTabSz="609570"/>
                  <a:r>
                    <a:rPr lang="en-US" sz="700" b="1" dirty="0">
                      <a:solidFill>
                        <a:prstClr val="black">
                          <a:lumMod val="75000"/>
                          <a:lumOff val="25000"/>
                        </a:prstClr>
                      </a:solidFill>
                      <a:latin typeface="Century Gothic" charset="0"/>
                      <a:ea typeface="Century Gothic" charset="0"/>
                      <a:cs typeface="Century Gothic" charset="0"/>
                    </a:rPr>
                    <a:t>2 Week</a:t>
                  </a:r>
                </a:p>
                <a:p>
                  <a:pPr algn="ctr" defTabSz="609570"/>
                  <a:r>
                    <a:rPr lang="en-US" sz="700" b="1" dirty="0">
                      <a:solidFill>
                        <a:prstClr val="black">
                          <a:lumMod val="75000"/>
                          <a:lumOff val="25000"/>
                        </a:prstClr>
                      </a:solidFill>
                      <a:latin typeface="Century Gothic" charset="0"/>
                      <a:ea typeface="Century Gothic" charset="0"/>
                      <a:cs typeface="Century Gothic" charset="0"/>
                    </a:rPr>
                    <a:t>Sprint</a:t>
                  </a:r>
                  <a:endParaRPr lang="en-US" sz="700" dirty="0">
                    <a:solidFill>
                      <a:prstClr val="black">
                        <a:lumMod val="75000"/>
                        <a:lumOff val="25000"/>
                      </a:prstClr>
                    </a:solidFill>
                    <a:latin typeface="Century Gothic" charset="0"/>
                    <a:ea typeface="Century Gothic" charset="0"/>
                    <a:cs typeface="Century Gothic" charset="0"/>
                  </a:endParaRPr>
                </a:p>
              </p:txBody>
            </p:sp>
          </p:grpSp>
          <p:grpSp>
            <p:nvGrpSpPr>
              <p:cNvPr id="351" name="Group 350">
                <a:extLst>
                  <a:ext uri="{FF2B5EF4-FFF2-40B4-BE49-F238E27FC236}">
                    <a16:creationId xmlns:a16="http://schemas.microsoft.com/office/drawing/2014/main" id="{B84530F7-B4E1-3340-A334-D39C7BB10231}"/>
                  </a:ext>
                </a:extLst>
              </p:cNvPr>
              <p:cNvGrpSpPr/>
              <p:nvPr/>
            </p:nvGrpSpPr>
            <p:grpSpPr>
              <a:xfrm>
                <a:off x="5173545" y="3152378"/>
                <a:ext cx="2131641" cy="2131641"/>
                <a:chOff x="5259926" y="1351640"/>
                <a:chExt cx="1598731" cy="1598731"/>
              </a:xfrm>
            </p:grpSpPr>
            <p:sp>
              <p:nvSpPr>
                <p:cNvPr id="352" name="Circular Arrow 351">
                  <a:extLst>
                    <a:ext uri="{FF2B5EF4-FFF2-40B4-BE49-F238E27FC236}">
                      <a16:creationId xmlns:a16="http://schemas.microsoft.com/office/drawing/2014/main" id="{ABDB3F31-3D7D-D14D-9C94-9BFEB839A6EE}"/>
                    </a:ext>
                  </a:extLst>
                </p:cNvPr>
                <p:cNvSpPr/>
                <p:nvPr/>
              </p:nvSpPr>
              <p:spPr>
                <a:xfrm rot="2700000">
                  <a:off x="5259926" y="1351640"/>
                  <a:ext cx="1598731" cy="1598731"/>
                </a:xfrm>
                <a:prstGeom prst="circularArrow">
                  <a:avLst>
                    <a:gd name="adj1" fmla="val 12868"/>
                    <a:gd name="adj2" fmla="val 1093420"/>
                    <a:gd name="adj3" fmla="val 20479562"/>
                    <a:gd name="adj4" fmla="val 8544013"/>
                    <a:gd name="adj5" fmla="val 12500"/>
                  </a:avLst>
                </a:prstGeom>
                <a:solidFill>
                  <a:srgbClr val="001591"/>
                </a:solidFill>
                <a:ln w="9525" cap="flat" cmpd="sng" algn="ctr">
                  <a:noFill/>
                  <a:prstDash val="solid"/>
                </a:ln>
                <a:effectLst/>
              </p:spPr>
              <p:txBody>
                <a:bodyPr rtlCol="0" anchor="ctr"/>
                <a:lstStyle/>
                <a:p>
                  <a:pPr algn="ctr" defTabSz="609570">
                    <a:defRPr/>
                  </a:pPr>
                  <a:endParaRPr lang="en-US" sz="1050" kern="0">
                    <a:solidFill>
                      <a:prstClr val="black"/>
                    </a:solidFill>
                    <a:latin typeface="Calibri"/>
                  </a:endParaRPr>
                </a:p>
              </p:txBody>
            </p:sp>
            <p:sp>
              <p:nvSpPr>
                <p:cNvPr id="353" name="TextBox 352">
                  <a:extLst>
                    <a:ext uri="{FF2B5EF4-FFF2-40B4-BE49-F238E27FC236}">
                      <a16:creationId xmlns:a16="http://schemas.microsoft.com/office/drawing/2014/main" id="{9B8B8A10-8440-AC4D-9C68-3BDEB82B6730}"/>
                    </a:ext>
                  </a:extLst>
                </p:cNvPr>
                <p:cNvSpPr txBox="1"/>
                <p:nvPr/>
              </p:nvSpPr>
              <p:spPr>
                <a:xfrm>
                  <a:off x="5649957" y="1690063"/>
                  <a:ext cx="876380" cy="487747"/>
                </a:xfrm>
                <a:prstGeom prst="rect">
                  <a:avLst/>
                </a:prstGeom>
                <a:noFill/>
              </p:spPr>
              <p:txBody>
                <a:bodyPr wrap="square" lIns="0" tIns="0" rIns="0" bIns="0" rtlCol="0">
                  <a:spAutoFit/>
                </a:bodyPr>
                <a:lstStyle/>
                <a:p>
                  <a:pPr algn="ctr" defTabSz="609570"/>
                  <a:r>
                    <a:rPr lang="en-US" sz="700" b="1" dirty="0">
                      <a:solidFill>
                        <a:prstClr val="black">
                          <a:lumMod val="75000"/>
                          <a:lumOff val="25000"/>
                        </a:prstClr>
                      </a:solidFill>
                      <a:latin typeface="Century Gothic" charset="0"/>
                      <a:ea typeface="Century Gothic" charset="0"/>
                      <a:cs typeface="Century Gothic" charset="0"/>
                    </a:rPr>
                    <a:t>Every</a:t>
                  </a:r>
                </a:p>
                <a:p>
                  <a:pPr algn="ctr" defTabSz="609570"/>
                  <a:r>
                    <a:rPr lang="en-US" sz="700" b="1" dirty="0">
                      <a:solidFill>
                        <a:prstClr val="black">
                          <a:lumMod val="75000"/>
                          <a:lumOff val="25000"/>
                        </a:prstClr>
                      </a:solidFill>
                      <a:latin typeface="Century Gothic" charset="0"/>
                      <a:ea typeface="Century Gothic" charset="0"/>
                      <a:cs typeface="Century Gothic" charset="0"/>
                    </a:rPr>
                    <a:t>24 Hours</a:t>
                  </a:r>
                  <a:endParaRPr lang="en-US" sz="700" dirty="0">
                    <a:solidFill>
                      <a:prstClr val="black">
                        <a:lumMod val="75000"/>
                        <a:lumOff val="25000"/>
                      </a:prstClr>
                    </a:solidFill>
                    <a:latin typeface="Century Gothic" charset="0"/>
                    <a:ea typeface="Century Gothic" charset="0"/>
                    <a:cs typeface="Century Gothic" charset="0"/>
                  </a:endParaRPr>
                </a:p>
              </p:txBody>
            </p:sp>
          </p:grpSp>
        </p:grpSp>
        <p:sp>
          <p:nvSpPr>
            <p:cNvPr id="355" name="TextBox 354">
              <a:extLst>
                <a:ext uri="{FF2B5EF4-FFF2-40B4-BE49-F238E27FC236}">
                  <a16:creationId xmlns:a16="http://schemas.microsoft.com/office/drawing/2014/main" id="{265E6D62-D39C-5D49-BFF8-D29C498CAA17}"/>
                </a:ext>
              </a:extLst>
            </p:cNvPr>
            <p:cNvSpPr txBox="1"/>
            <p:nvPr/>
          </p:nvSpPr>
          <p:spPr>
            <a:xfrm>
              <a:off x="3658431" y="5616990"/>
              <a:ext cx="634421" cy="7583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i="1" dirty="0">
                  <a:solidFill>
                    <a:schemeClr val="accent1"/>
                  </a:solidFill>
                </a:rPr>
                <a:t>2. Sprint kickoff</a:t>
              </a:r>
            </a:p>
          </p:txBody>
        </p:sp>
        <p:sp>
          <p:nvSpPr>
            <p:cNvPr id="356" name="TextBox 355">
              <a:extLst>
                <a:ext uri="{FF2B5EF4-FFF2-40B4-BE49-F238E27FC236}">
                  <a16:creationId xmlns:a16="http://schemas.microsoft.com/office/drawing/2014/main" id="{CACFE3CA-5637-ED47-93B9-15B3C85CD914}"/>
                </a:ext>
              </a:extLst>
            </p:cNvPr>
            <p:cNvSpPr txBox="1"/>
            <p:nvPr/>
          </p:nvSpPr>
          <p:spPr>
            <a:xfrm>
              <a:off x="2588352" y="5359579"/>
              <a:ext cx="834268" cy="7583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i="1" dirty="0">
                  <a:solidFill>
                    <a:schemeClr val="accent1"/>
                  </a:solidFill>
                </a:rPr>
                <a:t>1. Backlog Grooming</a:t>
              </a:r>
            </a:p>
          </p:txBody>
        </p:sp>
        <p:sp>
          <p:nvSpPr>
            <p:cNvPr id="7" name="TextBox 6">
              <a:extLst>
                <a:ext uri="{FF2B5EF4-FFF2-40B4-BE49-F238E27FC236}">
                  <a16:creationId xmlns:a16="http://schemas.microsoft.com/office/drawing/2014/main" id="{EC94B1BE-B966-5C42-A35E-3998A3BDB594}"/>
                </a:ext>
              </a:extLst>
            </p:cNvPr>
            <p:cNvSpPr txBox="1"/>
            <p:nvPr/>
          </p:nvSpPr>
          <p:spPr>
            <a:xfrm>
              <a:off x="4345577" y="54864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grpSp>
      <p:sp>
        <p:nvSpPr>
          <p:cNvPr id="360" name="ValueChainStarter 6">
            <a:extLst>
              <a:ext uri="{FF2B5EF4-FFF2-40B4-BE49-F238E27FC236}">
                <a16:creationId xmlns:a16="http://schemas.microsoft.com/office/drawing/2014/main" id="{0AC18432-710E-8B45-8F12-EC588BFB7243}"/>
              </a:ext>
            </a:extLst>
          </p:cNvPr>
          <p:cNvSpPr>
            <a:spLocks noChangeArrowheads="1"/>
          </p:cNvSpPr>
          <p:nvPr>
            <p:custDataLst>
              <p:tags r:id="rId3"/>
            </p:custDataLst>
          </p:nvPr>
        </p:nvSpPr>
        <p:spPr bwMode="gray">
          <a:xfrm>
            <a:off x="6498462" y="3994355"/>
            <a:ext cx="622812" cy="327969"/>
          </a:xfrm>
          <a:prstGeom prst="chevron">
            <a:avLst>
              <a:gd name="adj" fmla="val 12004"/>
            </a:avLst>
          </a:prstGeom>
          <a:solidFill>
            <a:srgbClr val="6E6F73"/>
          </a:solidFill>
          <a:ln w="38100" cap="rnd" algn="ctr">
            <a:noFill/>
            <a:round/>
            <a:headEnd/>
            <a:tailEnd/>
          </a:ln>
          <a:extLst>
            <a:ext uri="{91240B29-F687-4F45-9708-019B960494DF}">
              <a14:hiddenLine xmlns:a14="http://schemas.microsoft.com/office/drawing/2010/main" w="38100" cap="rnd" cmpd="sng" algn="ctr">
                <a:solidFill>
                  <a:srgbClr val="6E6F73"/>
                </a:solidFill>
                <a:prstDash val="solid"/>
                <a:round/>
                <a:headEnd type="none" w="med" len="med"/>
                <a:tailEnd type="none" w="med" len="med"/>
              </a14:hiddenLine>
            </a:ext>
          </a:extLst>
        </p:spPr>
        <p:txBody>
          <a:bodyPr lIns="0" tIns="0" rIns="0" bIns="0" anchor="ctr" anchorCtr="0"/>
          <a:lstStyle/>
          <a:p>
            <a:pPr algn="ctr" defTabSz="914377" eaLnBrk="0" hangingPunct="0">
              <a:defRPr/>
            </a:pPr>
            <a:r>
              <a:rPr lang="en-US" sz="1050" dirty="0">
                <a:solidFill>
                  <a:srgbClr val="FFFFFF"/>
                </a:solidFill>
                <a:latin typeface="Arial" panose="020B0604020202020204"/>
                <a:sym typeface="Arial" panose="020B0604020202020204" pitchFamily="34" charset="0"/>
              </a:rPr>
              <a:t>Scale</a:t>
            </a:r>
          </a:p>
          <a:p>
            <a:pPr algn="ctr" defTabSz="914377" eaLnBrk="0" hangingPunct="0">
              <a:defRPr/>
            </a:pPr>
            <a:endParaRPr lang="en-US" sz="400" i="1" dirty="0">
              <a:solidFill>
                <a:srgbClr val="FFFFFF"/>
              </a:solidFill>
              <a:latin typeface="Arial" panose="020B0604020202020204"/>
              <a:sym typeface="Arial" panose="020B0604020202020204" pitchFamily="34" charset="0"/>
            </a:endParaRPr>
          </a:p>
        </p:txBody>
      </p:sp>
      <p:sp>
        <p:nvSpPr>
          <p:cNvPr id="361" name="ValueChainStarter 2">
            <a:extLst>
              <a:ext uri="{FF2B5EF4-FFF2-40B4-BE49-F238E27FC236}">
                <a16:creationId xmlns:a16="http://schemas.microsoft.com/office/drawing/2014/main" id="{AB92FA0B-EC04-5748-9097-2908196F2F2B}"/>
              </a:ext>
            </a:extLst>
          </p:cNvPr>
          <p:cNvSpPr>
            <a:spLocks noChangeArrowheads="1"/>
          </p:cNvSpPr>
          <p:nvPr>
            <p:custDataLst>
              <p:tags r:id="rId4"/>
            </p:custDataLst>
          </p:nvPr>
        </p:nvSpPr>
        <p:spPr bwMode="gray">
          <a:xfrm>
            <a:off x="3569193" y="3992252"/>
            <a:ext cx="680405" cy="327969"/>
          </a:xfrm>
          <a:prstGeom prst="chevron">
            <a:avLst>
              <a:gd name="adj" fmla="val 12004"/>
            </a:avLst>
          </a:prstGeom>
          <a:gradFill>
            <a:gsLst>
              <a:gs pos="100000">
                <a:srgbClr val="000A46"/>
              </a:gs>
              <a:gs pos="100000">
                <a:schemeClr val="tx2"/>
              </a:gs>
            </a:gsLst>
            <a:lin ang="0" scaled="0"/>
          </a:gradFill>
          <a:ln w="38100" cap="rnd" algn="ctr">
            <a:noFill/>
            <a:round/>
            <a:headEnd/>
            <a:tailEnd/>
          </a:ln>
        </p:spPr>
        <p:txBody>
          <a:bodyPr lIns="0" tIns="0" rIns="0" bIns="0" anchor="ctr" anchorCtr="0"/>
          <a:lstStyle/>
          <a:p>
            <a:pPr algn="ctr" defTabSz="914377" eaLnBrk="0" hangingPunct="0">
              <a:defRPr/>
            </a:pPr>
            <a:r>
              <a:rPr lang="en-US" sz="1050" dirty="0">
                <a:solidFill>
                  <a:srgbClr val="FFFFFF"/>
                </a:solidFill>
                <a:latin typeface="Arial" panose="020B0604020202020204"/>
                <a:sym typeface="Arial" panose="020B0604020202020204" pitchFamily="34" charset="0"/>
              </a:rPr>
              <a:t>Validate</a:t>
            </a:r>
            <a:endParaRPr lang="en-US" sz="800" dirty="0">
              <a:solidFill>
                <a:srgbClr val="FFFFFF"/>
              </a:solidFill>
              <a:latin typeface="Arial" panose="020B0604020202020204"/>
              <a:sym typeface="Arial" panose="020B0604020202020204" pitchFamily="34" charset="0"/>
            </a:endParaRPr>
          </a:p>
        </p:txBody>
      </p:sp>
      <p:sp>
        <p:nvSpPr>
          <p:cNvPr id="362" name="ValueChainStarter 5">
            <a:extLst>
              <a:ext uri="{FF2B5EF4-FFF2-40B4-BE49-F238E27FC236}">
                <a16:creationId xmlns:a16="http://schemas.microsoft.com/office/drawing/2014/main" id="{A03A472F-DEBB-934E-BCC8-6DEA31AAE9B4}"/>
              </a:ext>
            </a:extLst>
          </p:cNvPr>
          <p:cNvSpPr>
            <a:spLocks noChangeArrowheads="1"/>
          </p:cNvSpPr>
          <p:nvPr>
            <p:custDataLst>
              <p:tags r:id="rId5"/>
            </p:custDataLst>
          </p:nvPr>
        </p:nvSpPr>
        <p:spPr bwMode="gray">
          <a:xfrm>
            <a:off x="5890601" y="3992252"/>
            <a:ext cx="625187" cy="327969"/>
          </a:xfrm>
          <a:prstGeom prst="chevron">
            <a:avLst>
              <a:gd name="adj" fmla="val 12004"/>
            </a:avLst>
          </a:prstGeom>
          <a:solidFill>
            <a:srgbClr val="00AFF0"/>
          </a:solidFill>
          <a:ln w="38100" cap="rnd" algn="ctr">
            <a:noFill/>
            <a:round/>
            <a:headEnd/>
            <a:tailEnd/>
          </a:ln>
          <a:extLst>
            <a:ext uri="{91240B29-F687-4F45-9708-019B960494DF}">
              <a14:hiddenLine xmlns:a14="http://schemas.microsoft.com/office/drawing/2010/main" w="38100" cap="rnd" cmpd="sng" algn="ctr">
                <a:solidFill>
                  <a:srgbClr val="6E6F73"/>
                </a:solidFill>
                <a:prstDash val="solid"/>
                <a:round/>
                <a:headEnd type="none" w="med" len="med"/>
                <a:tailEnd type="none" w="med" len="med"/>
              </a14:hiddenLine>
            </a:ext>
          </a:extLst>
        </p:spPr>
        <p:txBody>
          <a:bodyPr lIns="0" tIns="0" rIns="0" bIns="0" anchor="ctr" anchorCtr="0"/>
          <a:lstStyle/>
          <a:p>
            <a:pPr algn="ctr" defTabSz="914377" eaLnBrk="0" hangingPunct="0">
              <a:defRPr/>
            </a:pPr>
            <a:r>
              <a:rPr lang="en-US" sz="1050" dirty="0">
                <a:solidFill>
                  <a:srgbClr val="FFFFFF"/>
                </a:solidFill>
                <a:latin typeface="Arial" panose="020B0604020202020204"/>
                <a:sym typeface="Arial" panose="020B0604020202020204" pitchFamily="34" charset="0"/>
              </a:rPr>
              <a:t>MVP </a:t>
            </a:r>
          </a:p>
          <a:p>
            <a:pPr algn="ctr" defTabSz="914377" eaLnBrk="0" hangingPunct="0">
              <a:defRPr/>
            </a:pPr>
            <a:r>
              <a:rPr lang="en-US" sz="1050" dirty="0">
                <a:solidFill>
                  <a:srgbClr val="FFFFFF"/>
                </a:solidFill>
                <a:latin typeface="Arial" panose="020B0604020202020204"/>
                <a:sym typeface="Arial" panose="020B0604020202020204" pitchFamily="34" charset="0"/>
              </a:rPr>
              <a:t>Beta</a:t>
            </a:r>
          </a:p>
        </p:txBody>
      </p:sp>
      <p:sp>
        <p:nvSpPr>
          <p:cNvPr id="363" name="ValueChainStarter 4">
            <a:extLst>
              <a:ext uri="{FF2B5EF4-FFF2-40B4-BE49-F238E27FC236}">
                <a16:creationId xmlns:a16="http://schemas.microsoft.com/office/drawing/2014/main" id="{4A975C93-BC3A-CC4D-B235-2B52DD8C1D53}"/>
              </a:ext>
            </a:extLst>
          </p:cNvPr>
          <p:cNvSpPr>
            <a:spLocks noChangeArrowheads="1"/>
          </p:cNvSpPr>
          <p:nvPr>
            <p:custDataLst>
              <p:tags r:id="rId6"/>
            </p:custDataLst>
          </p:nvPr>
        </p:nvSpPr>
        <p:spPr bwMode="gray">
          <a:xfrm>
            <a:off x="5322774" y="3992252"/>
            <a:ext cx="577628" cy="327969"/>
          </a:xfrm>
          <a:prstGeom prst="chevron">
            <a:avLst>
              <a:gd name="adj" fmla="val 12004"/>
            </a:avLst>
          </a:prstGeom>
          <a:solidFill>
            <a:srgbClr val="00AFF0"/>
          </a:solidFill>
          <a:ln w="38100" cap="rnd" algn="ctr">
            <a:noFill/>
            <a:round/>
            <a:headEnd/>
            <a:tailEnd/>
          </a:ln>
          <a:extLst>
            <a:ext uri="{91240B29-F687-4F45-9708-019B960494DF}">
              <a14:hiddenLine xmlns:a14="http://schemas.microsoft.com/office/drawing/2010/main" w="38100" cap="rnd" cmpd="sng" algn="ctr">
                <a:solidFill>
                  <a:srgbClr val="6E6F73"/>
                </a:solidFill>
                <a:prstDash val="solid"/>
                <a:round/>
                <a:headEnd type="none" w="med" len="med"/>
                <a:tailEnd type="none" w="med" len="med"/>
              </a14:hiddenLine>
            </a:ext>
          </a:extLst>
        </p:spPr>
        <p:txBody>
          <a:bodyPr lIns="0" tIns="0" rIns="0" bIns="0" anchor="ctr" anchorCtr="0"/>
          <a:lstStyle/>
          <a:p>
            <a:pPr algn="ctr" defTabSz="914377" eaLnBrk="0" hangingPunct="0">
              <a:defRPr/>
            </a:pPr>
            <a:r>
              <a:rPr lang="en-US" sz="1050">
                <a:solidFill>
                  <a:srgbClr val="FFFFFF"/>
                </a:solidFill>
                <a:latin typeface="Arial" panose="020B0604020202020204"/>
                <a:sym typeface="Arial" panose="020B0604020202020204" pitchFamily="34" charset="0"/>
              </a:rPr>
              <a:t>MVP Alpha</a:t>
            </a:r>
          </a:p>
        </p:txBody>
      </p:sp>
      <p:sp>
        <p:nvSpPr>
          <p:cNvPr id="364" name="ValueChainStarter 3">
            <a:extLst>
              <a:ext uri="{FF2B5EF4-FFF2-40B4-BE49-F238E27FC236}">
                <a16:creationId xmlns:a16="http://schemas.microsoft.com/office/drawing/2014/main" id="{DC2C6CED-4065-2A4F-A3AC-511C4BA72C63}"/>
              </a:ext>
            </a:extLst>
          </p:cNvPr>
          <p:cNvSpPr>
            <a:spLocks noChangeArrowheads="1"/>
          </p:cNvSpPr>
          <p:nvPr>
            <p:custDataLst>
              <p:tags r:id="rId7"/>
            </p:custDataLst>
          </p:nvPr>
        </p:nvSpPr>
        <p:spPr bwMode="gray">
          <a:xfrm>
            <a:off x="4807312" y="3992252"/>
            <a:ext cx="525263" cy="327969"/>
          </a:xfrm>
          <a:prstGeom prst="chevron">
            <a:avLst>
              <a:gd name="adj" fmla="val 12004"/>
            </a:avLst>
          </a:prstGeom>
          <a:solidFill>
            <a:srgbClr val="00AFF0"/>
          </a:solidFill>
          <a:ln w="38100" cap="rnd" algn="ctr">
            <a:noFill/>
            <a:round/>
            <a:headEnd/>
            <a:tailEnd/>
          </a:ln>
          <a:extLst>
            <a:ext uri="{91240B29-F687-4F45-9708-019B960494DF}">
              <a14:hiddenLine xmlns:a14="http://schemas.microsoft.com/office/drawing/2010/main" w="38100" cap="rnd" cmpd="sng" algn="ctr">
                <a:solidFill>
                  <a:srgbClr val="6E6F73"/>
                </a:solidFill>
                <a:prstDash val="solid"/>
                <a:round/>
                <a:headEnd type="none" w="med" len="med"/>
                <a:tailEnd type="none" w="med" len="med"/>
              </a14:hiddenLine>
            </a:ext>
          </a:extLst>
        </p:spPr>
        <p:txBody>
          <a:bodyPr lIns="0" tIns="0" rIns="0" bIns="0" anchor="ctr" anchorCtr="0"/>
          <a:lstStyle/>
          <a:p>
            <a:pPr algn="ctr" defTabSz="914377" eaLnBrk="0" hangingPunct="0">
              <a:defRPr/>
            </a:pPr>
            <a:r>
              <a:rPr lang="en-US" sz="1050" dirty="0">
                <a:solidFill>
                  <a:srgbClr val="FFFFFF"/>
                </a:solidFill>
                <a:latin typeface="Arial" panose="020B0604020202020204"/>
                <a:sym typeface="Arial" panose="020B0604020202020204" pitchFamily="34" charset="0"/>
              </a:rPr>
              <a:t>MVP Def</a:t>
            </a:r>
          </a:p>
        </p:txBody>
      </p:sp>
      <p:sp>
        <p:nvSpPr>
          <p:cNvPr id="365" name="ValueChainStarter 3">
            <a:extLst>
              <a:ext uri="{FF2B5EF4-FFF2-40B4-BE49-F238E27FC236}">
                <a16:creationId xmlns:a16="http://schemas.microsoft.com/office/drawing/2014/main" id="{51AF6A4C-9284-F44B-BBAE-88D06D5888E2}"/>
              </a:ext>
            </a:extLst>
          </p:cNvPr>
          <p:cNvSpPr>
            <a:spLocks noChangeArrowheads="1"/>
          </p:cNvSpPr>
          <p:nvPr>
            <p:custDataLst>
              <p:tags r:id="rId8"/>
            </p:custDataLst>
          </p:nvPr>
        </p:nvSpPr>
        <p:spPr bwMode="gray">
          <a:xfrm>
            <a:off x="4249598" y="3986765"/>
            <a:ext cx="567515" cy="327969"/>
          </a:xfrm>
          <a:prstGeom prst="chevron">
            <a:avLst>
              <a:gd name="adj" fmla="val 12004"/>
            </a:avLst>
          </a:prstGeom>
          <a:gradFill>
            <a:gsLst>
              <a:gs pos="100000">
                <a:srgbClr val="000A46"/>
              </a:gs>
              <a:gs pos="100000">
                <a:schemeClr val="tx2"/>
              </a:gs>
            </a:gsLst>
            <a:lin ang="0" scaled="0"/>
          </a:gradFill>
          <a:ln w="38100" cap="rnd" algn="ctr">
            <a:noFill/>
            <a:round/>
            <a:headEnd/>
            <a:tailEnd/>
          </a:ln>
        </p:spPr>
        <p:txBody>
          <a:bodyPr lIns="0" tIns="0" rIns="0" bIns="0" anchor="ctr" anchorCtr="0"/>
          <a:lstStyle/>
          <a:p>
            <a:pPr algn="ctr" defTabSz="914377" eaLnBrk="0" hangingPunct="0"/>
            <a:r>
              <a:rPr lang="en-US" sz="1050" dirty="0">
                <a:solidFill>
                  <a:srgbClr val="FFFFFF"/>
                </a:solidFill>
                <a:latin typeface="Arial" panose="020B0604020202020204"/>
                <a:sym typeface="Arial" panose="020B0604020202020204" pitchFamily="34" charset="0"/>
              </a:rPr>
              <a:t>MVP Prep</a:t>
            </a:r>
          </a:p>
        </p:txBody>
      </p:sp>
      <p:sp>
        <p:nvSpPr>
          <p:cNvPr id="366" name="Triangle 365">
            <a:extLst>
              <a:ext uri="{FF2B5EF4-FFF2-40B4-BE49-F238E27FC236}">
                <a16:creationId xmlns:a16="http://schemas.microsoft.com/office/drawing/2014/main" id="{E1638DED-5A3A-A84D-BF5D-00E7D2C5BBB5}"/>
              </a:ext>
            </a:extLst>
          </p:cNvPr>
          <p:cNvSpPr/>
          <p:nvPr/>
        </p:nvSpPr>
        <p:spPr>
          <a:xfrm>
            <a:off x="4164918" y="4315258"/>
            <a:ext cx="138829" cy="119680"/>
          </a:xfrm>
          <a:prstGeom prst="triangle">
            <a:avLst/>
          </a:prstGeom>
          <a:solidFill>
            <a:srgbClr val="FF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67" name="Triangle 366">
            <a:extLst>
              <a:ext uri="{FF2B5EF4-FFF2-40B4-BE49-F238E27FC236}">
                <a16:creationId xmlns:a16="http://schemas.microsoft.com/office/drawing/2014/main" id="{256AA41D-0EE8-7B48-AE6E-1D6B362F8672}"/>
              </a:ext>
            </a:extLst>
          </p:cNvPr>
          <p:cNvSpPr/>
          <p:nvPr/>
        </p:nvSpPr>
        <p:spPr>
          <a:xfrm>
            <a:off x="4712354" y="4315258"/>
            <a:ext cx="138829" cy="119680"/>
          </a:xfrm>
          <a:prstGeom prst="triangle">
            <a:avLst/>
          </a:prstGeom>
          <a:solidFill>
            <a:srgbClr val="FF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68" name="Triangle 367">
            <a:extLst>
              <a:ext uri="{FF2B5EF4-FFF2-40B4-BE49-F238E27FC236}">
                <a16:creationId xmlns:a16="http://schemas.microsoft.com/office/drawing/2014/main" id="{079EBE46-EEB8-0649-9D16-FAF31A3CC039}"/>
              </a:ext>
            </a:extLst>
          </p:cNvPr>
          <p:cNvSpPr/>
          <p:nvPr/>
        </p:nvSpPr>
        <p:spPr>
          <a:xfrm>
            <a:off x="5247917" y="4315258"/>
            <a:ext cx="138829" cy="119680"/>
          </a:xfrm>
          <a:prstGeom prst="triangle">
            <a:avLst/>
          </a:prstGeom>
          <a:solidFill>
            <a:srgbClr val="FF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69" name="Triangle 368">
            <a:extLst>
              <a:ext uri="{FF2B5EF4-FFF2-40B4-BE49-F238E27FC236}">
                <a16:creationId xmlns:a16="http://schemas.microsoft.com/office/drawing/2014/main" id="{3F47342F-09E3-AD41-BFB2-3F921B9BAD48}"/>
              </a:ext>
            </a:extLst>
          </p:cNvPr>
          <p:cNvSpPr/>
          <p:nvPr/>
        </p:nvSpPr>
        <p:spPr>
          <a:xfrm>
            <a:off x="5795353" y="4315258"/>
            <a:ext cx="138829" cy="119680"/>
          </a:xfrm>
          <a:prstGeom prst="triangle">
            <a:avLst/>
          </a:prstGeom>
          <a:solidFill>
            <a:srgbClr val="FF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0" name="Triangle 369">
            <a:extLst>
              <a:ext uri="{FF2B5EF4-FFF2-40B4-BE49-F238E27FC236}">
                <a16:creationId xmlns:a16="http://schemas.microsoft.com/office/drawing/2014/main" id="{CB5AE12D-70A2-7349-89C8-7462EC3D598F}"/>
              </a:ext>
            </a:extLst>
          </p:cNvPr>
          <p:cNvSpPr/>
          <p:nvPr/>
        </p:nvSpPr>
        <p:spPr>
          <a:xfrm>
            <a:off x="6415889" y="4315258"/>
            <a:ext cx="138829" cy="119680"/>
          </a:xfrm>
          <a:prstGeom prst="triangle">
            <a:avLst/>
          </a:prstGeom>
          <a:solidFill>
            <a:srgbClr val="FF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4" name="Oval 353">
            <a:extLst>
              <a:ext uri="{FF2B5EF4-FFF2-40B4-BE49-F238E27FC236}">
                <a16:creationId xmlns:a16="http://schemas.microsoft.com/office/drawing/2014/main" id="{54DAB003-488B-4690-A87F-F5B781849C27}"/>
              </a:ext>
            </a:extLst>
          </p:cNvPr>
          <p:cNvSpPr/>
          <p:nvPr/>
        </p:nvSpPr>
        <p:spPr>
          <a:xfrm>
            <a:off x="88869" y="1718875"/>
            <a:ext cx="356870" cy="343787"/>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FFFFFF"/>
                </a:solidFill>
              </a:rPr>
              <a:t>1</a:t>
            </a:r>
          </a:p>
        </p:txBody>
      </p:sp>
      <p:sp>
        <p:nvSpPr>
          <p:cNvPr id="359" name="Rectangle 358">
            <a:extLst>
              <a:ext uri="{FF2B5EF4-FFF2-40B4-BE49-F238E27FC236}">
                <a16:creationId xmlns:a16="http://schemas.microsoft.com/office/drawing/2014/main" id="{72099CC5-DCE7-4DD4-8C80-611CCED6C5A4}"/>
              </a:ext>
            </a:extLst>
          </p:cNvPr>
          <p:cNvSpPr/>
          <p:nvPr/>
        </p:nvSpPr>
        <p:spPr>
          <a:xfrm>
            <a:off x="422240" y="1752270"/>
            <a:ext cx="1085554" cy="276999"/>
          </a:xfrm>
          <a:prstGeom prst="rect">
            <a:avLst/>
          </a:prstGeom>
        </p:spPr>
        <p:txBody>
          <a:bodyPr wrap="none">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5"/>
                </a:solidFill>
                <a:latin typeface="Arial"/>
                <a:cs typeface="Arial"/>
              </a:rPr>
              <a:t>PORTFOLIO</a:t>
            </a:r>
            <a:endParaRPr kumimoji="0" lang="en-US" sz="1200" b="1" i="0" u="none" strike="noStrike" kern="1200" cap="none" spc="0" normalizeH="0" baseline="0" noProof="0" dirty="0">
              <a:ln>
                <a:noFill/>
              </a:ln>
              <a:solidFill>
                <a:schemeClr val="accent5"/>
              </a:solidFill>
              <a:effectLst/>
              <a:uLnTx/>
              <a:uFillTx/>
              <a:latin typeface="Arial"/>
              <a:ea typeface="+mn-ea"/>
              <a:cs typeface="Arial"/>
            </a:endParaRPr>
          </a:p>
        </p:txBody>
      </p:sp>
      <p:sp>
        <p:nvSpPr>
          <p:cNvPr id="371" name="Oval 370">
            <a:extLst>
              <a:ext uri="{FF2B5EF4-FFF2-40B4-BE49-F238E27FC236}">
                <a16:creationId xmlns:a16="http://schemas.microsoft.com/office/drawing/2014/main" id="{A4549035-C35D-41A7-8B46-C6EF20C7D58B}"/>
              </a:ext>
            </a:extLst>
          </p:cNvPr>
          <p:cNvSpPr/>
          <p:nvPr/>
        </p:nvSpPr>
        <p:spPr>
          <a:xfrm>
            <a:off x="88869" y="2904825"/>
            <a:ext cx="356870" cy="343787"/>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FFFFFF"/>
                </a:solidFill>
              </a:rPr>
              <a:t>2</a:t>
            </a:r>
          </a:p>
        </p:txBody>
      </p:sp>
      <p:sp>
        <p:nvSpPr>
          <p:cNvPr id="374" name="Oval 373">
            <a:extLst>
              <a:ext uri="{FF2B5EF4-FFF2-40B4-BE49-F238E27FC236}">
                <a16:creationId xmlns:a16="http://schemas.microsoft.com/office/drawing/2014/main" id="{3E5B5C5A-7C47-4021-892A-76594CD37473}"/>
              </a:ext>
            </a:extLst>
          </p:cNvPr>
          <p:cNvSpPr/>
          <p:nvPr/>
        </p:nvSpPr>
        <p:spPr>
          <a:xfrm>
            <a:off x="88869" y="5098891"/>
            <a:ext cx="356870" cy="343787"/>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FFFFFF"/>
                </a:solidFill>
              </a:rPr>
              <a:t>4</a:t>
            </a:r>
          </a:p>
        </p:txBody>
      </p:sp>
      <p:cxnSp>
        <p:nvCxnSpPr>
          <p:cNvPr id="334" name="Straight Arrow Connector 333">
            <a:extLst>
              <a:ext uri="{FF2B5EF4-FFF2-40B4-BE49-F238E27FC236}">
                <a16:creationId xmlns:a16="http://schemas.microsoft.com/office/drawing/2014/main" id="{7EEEC9C1-1974-0847-9047-1A183CA1C787}"/>
              </a:ext>
            </a:extLst>
          </p:cNvPr>
          <p:cNvCxnSpPr>
            <a:cxnSpLocks/>
          </p:cNvCxnSpPr>
          <p:nvPr/>
        </p:nvCxnSpPr>
        <p:spPr>
          <a:xfrm flipV="1">
            <a:off x="5501846" y="2191198"/>
            <a:ext cx="0" cy="302871"/>
          </a:xfrm>
          <a:prstGeom prst="straightConnector1">
            <a:avLst/>
          </a:prstGeom>
          <a:ln w="9525" cap="rnd" cmpd="sng" algn="ctr">
            <a:solidFill>
              <a:srgbClr val="78A22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3" name="TextBox 342">
            <a:extLst>
              <a:ext uri="{FF2B5EF4-FFF2-40B4-BE49-F238E27FC236}">
                <a16:creationId xmlns:a16="http://schemas.microsoft.com/office/drawing/2014/main" id="{9F195B55-6BF0-8048-9676-33AF43B6C970}"/>
              </a:ext>
            </a:extLst>
          </p:cNvPr>
          <p:cNvSpPr txBox="1"/>
          <p:nvPr/>
        </p:nvSpPr>
        <p:spPr>
          <a:xfrm>
            <a:off x="3199631" y="1683203"/>
            <a:ext cx="116000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900" b="1" dirty="0">
                <a:solidFill>
                  <a:srgbClr val="78A22F"/>
                </a:solidFill>
              </a:rPr>
              <a:t>Approves overall funding, priorities &amp; </a:t>
            </a:r>
            <a:r>
              <a:rPr lang="en-US" sz="900" b="1" dirty="0" err="1">
                <a:solidFill>
                  <a:srgbClr val="78A22F"/>
                </a:solidFill>
              </a:rPr>
              <a:t>OKRs</a:t>
            </a:r>
            <a:r>
              <a:rPr lang="en-US" sz="900" b="1" dirty="0">
                <a:solidFill>
                  <a:srgbClr val="78A22F"/>
                </a:solidFill>
              </a:rPr>
              <a:t> for the year</a:t>
            </a:r>
          </a:p>
        </p:txBody>
      </p:sp>
      <p:cxnSp>
        <p:nvCxnSpPr>
          <p:cNvPr id="18" name="Elbow Connector 17">
            <a:extLst>
              <a:ext uri="{FF2B5EF4-FFF2-40B4-BE49-F238E27FC236}">
                <a16:creationId xmlns:a16="http://schemas.microsoft.com/office/drawing/2014/main" id="{ED6FECA9-DE6D-D641-B574-83DBDBA2C773}"/>
              </a:ext>
            </a:extLst>
          </p:cNvPr>
          <p:cNvCxnSpPr>
            <a:cxnSpLocks/>
            <a:stCxn id="315" idx="2"/>
          </p:cNvCxnSpPr>
          <p:nvPr/>
        </p:nvCxnSpPr>
        <p:spPr>
          <a:xfrm rot="16200000" flipH="1">
            <a:off x="2685737" y="2292435"/>
            <a:ext cx="235062" cy="81135"/>
          </a:xfrm>
          <a:prstGeom prst="bentConnector3">
            <a:avLst>
              <a:gd name="adj1" fmla="val 50000"/>
            </a:avLst>
          </a:prstGeom>
          <a:ln w="9525" cap="rnd" cmpd="sng" algn="ctr">
            <a:solidFill>
              <a:srgbClr val="78A22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734D5948-9B10-724B-B872-314D5C612AA6}"/>
              </a:ext>
            </a:extLst>
          </p:cNvPr>
          <p:cNvCxnSpPr>
            <a:cxnSpLocks/>
            <a:stCxn id="318" idx="3"/>
          </p:cNvCxnSpPr>
          <p:nvPr/>
        </p:nvCxnSpPr>
        <p:spPr>
          <a:xfrm>
            <a:off x="6044231" y="1900881"/>
            <a:ext cx="133701" cy="512579"/>
          </a:xfrm>
          <a:prstGeom prst="bentConnector2">
            <a:avLst/>
          </a:prstGeom>
          <a:ln w="9525" cap="rnd" cmpd="sng" algn="ctr">
            <a:solidFill>
              <a:srgbClr val="78A22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0881B345-3D37-D647-B1C8-4B1F92EFEDD3}"/>
              </a:ext>
            </a:extLst>
          </p:cNvPr>
          <p:cNvCxnSpPr>
            <a:cxnSpLocks/>
            <a:stCxn id="382" idx="3"/>
            <a:endCxn id="319" idx="1"/>
          </p:cNvCxnSpPr>
          <p:nvPr/>
        </p:nvCxnSpPr>
        <p:spPr>
          <a:xfrm flipH="1">
            <a:off x="2905385" y="2752045"/>
            <a:ext cx="3869416" cy="858157"/>
          </a:xfrm>
          <a:prstGeom prst="bentConnector5">
            <a:avLst>
              <a:gd name="adj1" fmla="val -5908"/>
              <a:gd name="adj2" fmla="val 54021"/>
              <a:gd name="adj3" fmla="val 105908"/>
            </a:avLst>
          </a:prstGeom>
          <a:ln w="9525" cap="rnd" cmpd="sng" algn="ctr">
            <a:solidFill>
              <a:srgbClr val="78A22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0" name="TextBox 379">
            <a:extLst>
              <a:ext uri="{FF2B5EF4-FFF2-40B4-BE49-F238E27FC236}">
                <a16:creationId xmlns:a16="http://schemas.microsoft.com/office/drawing/2014/main" id="{EEDF4A8C-2E1C-F949-9739-A9543492CB0C}"/>
              </a:ext>
            </a:extLst>
          </p:cNvPr>
          <p:cNvSpPr txBox="1"/>
          <p:nvPr/>
        </p:nvSpPr>
        <p:spPr>
          <a:xfrm>
            <a:off x="7371066" y="1989187"/>
            <a:ext cx="8233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sz="1000" b="1" dirty="0"/>
              <a:t>Portfolio OKRs</a:t>
            </a:r>
          </a:p>
        </p:txBody>
      </p:sp>
      <p:sp>
        <p:nvSpPr>
          <p:cNvPr id="381" name="TextBox 380">
            <a:extLst>
              <a:ext uri="{FF2B5EF4-FFF2-40B4-BE49-F238E27FC236}">
                <a16:creationId xmlns:a16="http://schemas.microsoft.com/office/drawing/2014/main" id="{A12BBED9-3B6D-154D-BEC4-F3C42E4E7583}"/>
              </a:ext>
            </a:extLst>
          </p:cNvPr>
          <p:cNvSpPr txBox="1"/>
          <p:nvPr/>
        </p:nvSpPr>
        <p:spPr>
          <a:xfrm>
            <a:off x="7318657" y="4163055"/>
            <a:ext cx="100746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sz="1000" b="1" dirty="0"/>
              <a:t>Nested Product OKRs</a:t>
            </a:r>
          </a:p>
        </p:txBody>
      </p:sp>
      <p:sp>
        <p:nvSpPr>
          <p:cNvPr id="32" name="Up-Down Arrow 31">
            <a:extLst>
              <a:ext uri="{FF2B5EF4-FFF2-40B4-BE49-F238E27FC236}">
                <a16:creationId xmlns:a16="http://schemas.microsoft.com/office/drawing/2014/main" id="{A2EED742-DB1A-C541-A5C8-A09749B4446D}"/>
              </a:ext>
            </a:extLst>
          </p:cNvPr>
          <p:cNvSpPr/>
          <p:nvPr/>
        </p:nvSpPr>
        <p:spPr>
          <a:xfrm>
            <a:off x="7657056" y="2311134"/>
            <a:ext cx="251354" cy="1833137"/>
          </a:xfrm>
          <a:prstGeom prst="upDownArrow">
            <a:avLst/>
          </a:prstGeom>
          <a:solidFill>
            <a:srgbClr val="5555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55555A"/>
              </a:solidFill>
            </a:endParaRPr>
          </a:p>
        </p:txBody>
      </p:sp>
      <p:sp>
        <p:nvSpPr>
          <p:cNvPr id="376" name="Title 4">
            <a:extLst>
              <a:ext uri="{FF2B5EF4-FFF2-40B4-BE49-F238E27FC236}">
                <a16:creationId xmlns:a16="http://schemas.microsoft.com/office/drawing/2014/main" id="{EB2ADD0B-58A2-4A53-A1A4-C67F655649C7}"/>
              </a:ext>
            </a:extLst>
          </p:cNvPr>
          <p:cNvSpPr txBox="1">
            <a:spLocks/>
          </p:cNvSpPr>
          <p:nvPr/>
        </p:nvSpPr>
        <p:spPr>
          <a:xfrm>
            <a:off x="385193" y="109606"/>
            <a:ext cx="109332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a:lstStyle>
          <a:p>
            <a:r>
              <a:rPr lang="en-US" dirty="0">
                <a:latin typeface="Arial" panose="020B0604020202020204" pitchFamily="34" charset="0"/>
              </a:rPr>
              <a:t>Overview of governance framework at the portfolio, product line, product and squad levels</a:t>
            </a:r>
            <a:endParaRPr lang="en-US" sz="3200" dirty="0"/>
          </a:p>
        </p:txBody>
      </p:sp>
      <p:cxnSp>
        <p:nvCxnSpPr>
          <p:cNvPr id="383" name="Elbow Connector 30">
            <a:extLst>
              <a:ext uri="{FF2B5EF4-FFF2-40B4-BE49-F238E27FC236}">
                <a16:creationId xmlns:a16="http://schemas.microsoft.com/office/drawing/2014/main" id="{C3B07BA0-D587-4932-8317-9B19250C6558}"/>
              </a:ext>
            </a:extLst>
          </p:cNvPr>
          <p:cNvCxnSpPr>
            <a:cxnSpLocks/>
            <a:stCxn id="319" idx="2"/>
            <a:endCxn id="361" idx="1"/>
          </p:cNvCxnSpPr>
          <p:nvPr/>
        </p:nvCxnSpPr>
        <p:spPr>
          <a:xfrm rot="16200000" flipH="1">
            <a:off x="3319714" y="3867389"/>
            <a:ext cx="305034" cy="272661"/>
          </a:xfrm>
          <a:prstGeom prst="bentConnector2">
            <a:avLst/>
          </a:prstGeom>
          <a:ln w="9525" cap="rnd" cmpd="sng" algn="ctr">
            <a:solidFill>
              <a:srgbClr val="78A22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4" name="Rectangle 383">
            <a:extLst>
              <a:ext uri="{FF2B5EF4-FFF2-40B4-BE49-F238E27FC236}">
                <a16:creationId xmlns:a16="http://schemas.microsoft.com/office/drawing/2014/main" id="{8E76D6F3-90F9-4BB0-BE19-10AFEA661AAF}"/>
              </a:ext>
            </a:extLst>
          </p:cNvPr>
          <p:cNvSpPr/>
          <p:nvPr/>
        </p:nvSpPr>
        <p:spPr>
          <a:xfrm>
            <a:off x="4618917" y="3450813"/>
            <a:ext cx="679083" cy="328589"/>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Product</a:t>
            </a:r>
          </a:p>
          <a:p>
            <a:pPr lvl="0" algn="ctr">
              <a:defRPr/>
            </a:pPr>
            <a:r>
              <a:rPr lang="en-US" sz="1000" b="1" dirty="0">
                <a:solidFill>
                  <a:srgbClr val="00148C"/>
                </a:solidFill>
              </a:rPr>
              <a:t>Syncs</a:t>
            </a:r>
            <a:endParaRPr lang="en-US" sz="1000" dirty="0">
              <a:solidFill>
                <a:srgbClr val="00148C"/>
              </a:solidFill>
            </a:endParaRPr>
          </a:p>
        </p:txBody>
      </p:sp>
      <p:sp>
        <p:nvSpPr>
          <p:cNvPr id="385" name="Rectangle 384">
            <a:extLst>
              <a:ext uri="{FF2B5EF4-FFF2-40B4-BE49-F238E27FC236}">
                <a16:creationId xmlns:a16="http://schemas.microsoft.com/office/drawing/2014/main" id="{3F82D4AC-DD2A-4715-91B7-28F61A9179C0}"/>
              </a:ext>
            </a:extLst>
          </p:cNvPr>
          <p:cNvSpPr/>
          <p:nvPr/>
        </p:nvSpPr>
        <p:spPr>
          <a:xfrm>
            <a:off x="5380537" y="3450813"/>
            <a:ext cx="679083" cy="328589"/>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a:t>
            </a:r>
            <a:endParaRPr lang="en-US" sz="1000" dirty="0">
              <a:solidFill>
                <a:srgbClr val="00148C"/>
              </a:solidFill>
            </a:endParaRPr>
          </a:p>
        </p:txBody>
      </p:sp>
      <p:sp>
        <p:nvSpPr>
          <p:cNvPr id="386" name="Rectangle 385">
            <a:extLst>
              <a:ext uri="{FF2B5EF4-FFF2-40B4-BE49-F238E27FC236}">
                <a16:creationId xmlns:a16="http://schemas.microsoft.com/office/drawing/2014/main" id="{06D1E011-C067-40F5-B52A-86E90DCCE475}"/>
              </a:ext>
            </a:extLst>
          </p:cNvPr>
          <p:cNvSpPr/>
          <p:nvPr/>
        </p:nvSpPr>
        <p:spPr>
          <a:xfrm>
            <a:off x="6411846" y="3369201"/>
            <a:ext cx="861031" cy="482002"/>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Product</a:t>
            </a:r>
          </a:p>
          <a:p>
            <a:pPr lvl="0" algn="ctr">
              <a:defRPr/>
            </a:pPr>
            <a:r>
              <a:rPr lang="en-US" sz="1000" b="1" dirty="0">
                <a:solidFill>
                  <a:srgbClr val="00148C"/>
                </a:solidFill>
              </a:rPr>
              <a:t>Planning</a:t>
            </a:r>
          </a:p>
          <a:p>
            <a:pPr lvl="0" algn="ctr">
              <a:defRPr/>
            </a:pPr>
            <a:r>
              <a:rPr lang="en-US" sz="1000" dirty="0">
                <a:solidFill>
                  <a:srgbClr val="00148C"/>
                </a:solidFill>
              </a:rPr>
              <a:t>(quarterly)</a:t>
            </a:r>
          </a:p>
        </p:txBody>
      </p:sp>
      <p:sp>
        <p:nvSpPr>
          <p:cNvPr id="388" name="TextBox 387">
            <a:extLst>
              <a:ext uri="{FF2B5EF4-FFF2-40B4-BE49-F238E27FC236}">
                <a16:creationId xmlns:a16="http://schemas.microsoft.com/office/drawing/2014/main" id="{109D910E-F970-45E9-A7CF-C991A1823A0D}"/>
              </a:ext>
            </a:extLst>
          </p:cNvPr>
          <p:cNvSpPr txBox="1"/>
          <p:nvPr/>
        </p:nvSpPr>
        <p:spPr>
          <a:xfrm>
            <a:off x="6116824" y="1430666"/>
            <a:ext cx="11519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900" b="1" dirty="0">
                <a:solidFill>
                  <a:srgbClr val="78A22F"/>
                </a:solidFill>
              </a:rPr>
              <a:t>Progress reviewed; new products  / epics approved </a:t>
            </a:r>
          </a:p>
        </p:txBody>
      </p:sp>
      <p:sp>
        <p:nvSpPr>
          <p:cNvPr id="389" name="TextBox 388">
            <a:extLst>
              <a:ext uri="{FF2B5EF4-FFF2-40B4-BE49-F238E27FC236}">
                <a16:creationId xmlns:a16="http://schemas.microsoft.com/office/drawing/2014/main" id="{EA56D14F-336F-4320-AAEF-7713E5AEB057}"/>
              </a:ext>
            </a:extLst>
          </p:cNvPr>
          <p:cNvSpPr txBox="1"/>
          <p:nvPr/>
        </p:nvSpPr>
        <p:spPr>
          <a:xfrm>
            <a:off x="2988515" y="4199710"/>
            <a:ext cx="67666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900" b="1" dirty="0">
                <a:solidFill>
                  <a:srgbClr val="78A22F"/>
                </a:solidFill>
              </a:rPr>
              <a:t>Resources allocated &amp; product launched</a:t>
            </a:r>
          </a:p>
        </p:txBody>
      </p:sp>
      <p:sp>
        <p:nvSpPr>
          <p:cNvPr id="390" name="TextBox 389">
            <a:extLst>
              <a:ext uri="{FF2B5EF4-FFF2-40B4-BE49-F238E27FC236}">
                <a16:creationId xmlns:a16="http://schemas.microsoft.com/office/drawing/2014/main" id="{66292915-1248-4752-8C19-C2D50AEF67BD}"/>
              </a:ext>
            </a:extLst>
          </p:cNvPr>
          <p:cNvSpPr txBox="1"/>
          <p:nvPr/>
        </p:nvSpPr>
        <p:spPr>
          <a:xfrm>
            <a:off x="6605238" y="4448732"/>
            <a:ext cx="111679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900" b="1" dirty="0">
                <a:solidFill>
                  <a:srgbClr val="78A22F"/>
                </a:solidFill>
              </a:rPr>
              <a:t>Product progress reviewed; strategic guidance given</a:t>
            </a:r>
          </a:p>
        </p:txBody>
      </p:sp>
      <p:sp>
        <p:nvSpPr>
          <p:cNvPr id="391" name="Up-Down Arrow 31">
            <a:extLst>
              <a:ext uri="{FF2B5EF4-FFF2-40B4-BE49-F238E27FC236}">
                <a16:creationId xmlns:a16="http://schemas.microsoft.com/office/drawing/2014/main" id="{69EFD348-BDE6-430C-898A-EE99E78D2D03}"/>
              </a:ext>
            </a:extLst>
          </p:cNvPr>
          <p:cNvSpPr/>
          <p:nvPr/>
        </p:nvSpPr>
        <p:spPr>
          <a:xfrm>
            <a:off x="1787048" y="4756050"/>
            <a:ext cx="251354" cy="792433"/>
          </a:xfrm>
          <a:prstGeom prst="upDownArrow">
            <a:avLst/>
          </a:prstGeom>
          <a:solidFill>
            <a:srgbClr val="5555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55555A"/>
              </a:solidFill>
            </a:endParaRPr>
          </a:p>
        </p:txBody>
      </p:sp>
      <p:sp>
        <p:nvSpPr>
          <p:cNvPr id="392" name="TextBox 391">
            <a:extLst>
              <a:ext uri="{FF2B5EF4-FFF2-40B4-BE49-F238E27FC236}">
                <a16:creationId xmlns:a16="http://schemas.microsoft.com/office/drawing/2014/main" id="{2E8EEE25-8F0A-4139-B1E5-64AAC55D1DCB}"/>
              </a:ext>
            </a:extLst>
          </p:cNvPr>
          <p:cNvSpPr txBox="1"/>
          <p:nvPr/>
        </p:nvSpPr>
        <p:spPr>
          <a:xfrm>
            <a:off x="1379173" y="4240588"/>
            <a:ext cx="110102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sz="1000" b="1" dirty="0"/>
              <a:t>Products Deliver Business Outcomes</a:t>
            </a:r>
          </a:p>
        </p:txBody>
      </p:sp>
      <p:sp>
        <p:nvSpPr>
          <p:cNvPr id="393" name="TextBox 392">
            <a:extLst>
              <a:ext uri="{FF2B5EF4-FFF2-40B4-BE49-F238E27FC236}">
                <a16:creationId xmlns:a16="http://schemas.microsoft.com/office/drawing/2014/main" id="{F580D253-E79B-489A-B8B7-3A3CB560AE6E}"/>
              </a:ext>
            </a:extLst>
          </p:cNvPr>
          <p:cNvSpPr txBox="1"/>
          <p:nvPr/>
        </p:nvSpPr>
        <p:spPr>
          <a:xfrm>
            <a:off x="1461265" y="5587232"/>
            <a:ext cx="9509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sz="1000" b="1" dirty="0"/>
              <a:t>Squads Deliver the Features</a:t>
            </a:r>
          </a:p>
        </p:txBody>
      </p:sp>
      <p:cxnSp>
        <p:nvCxnSpPr>
          <p:cNvPr id="372" name="Straight Connector 371">
            <a:extLst>
              <a:ext uri="{FF2B5EF4-FFF2-40B4-BE49-F238E27FC236}">
                <a16:creationId xmlns:a16="http://schemas.microsoft.com/office/drawing/2014/main" id="{DE0737BF-E4C7-4F5E-A3F0-4970B91701F0}"/>
              </a:ext>
            </a:extLst>
          </p:cNvPr>
          <p:cNvCxnSpPr>
            <a:cxnSpLocks/>
          </p:cNvCxnSpPr>
          <p:nvPr/>
        </p:nvCxnSpPr>
        <p:spPr>
          <a:xfrm>
            <a:off x="470846" y="2416157"/>
            <a:ext cx="11241218"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373" name="Rectangle 372">
            <a:extLst>
              <a:ext uri="{FF2B5EF4-FFF2-40B4-BE49-F238E27FC236}">
                <a16:creationId xmlns:a16="http://schemas.microsoft.com/office/drawing/2014/main" id="{77C967B5-6C12-4B8B-B04B-C699B9F70F7F}"/>
              </a:ext>
            </a:extLst>
          </p:cNvPr>
          <p:cNvSpPr/>
          <p:nvPr/>
        </p:nvSpPr>
        <p:spPr>
          <a:xfrm>
            <a:off x="422240" y="3887442"/>
            <a:ext cx="1047082" cy="276999"/>
          </a:xfrm>
          <a:prstGeom prst="rect">
            <a:avLst/>
          </a:prstGeom>
        </p:spPr>
        <p:txBody>
          <a:bodyPr wrap="none">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5"/>
                </a:solidFill>
                <a:effectLst/>
                <a:uLnTx/>
                <a:uFillTx/>
                <a:latin typeface="Arial"/>
                <a:ea typeface="+mn-ea"/>
                <a:cs typeface="Arial"/>
              </a:rPr>
              <a:t>PRODUCTS</a:t>
            </a:r>
          </a:p>
        </p:txBody>
      </p:sp>
      <p:sp>
        <p:nvSpPr>
          <p:cNvPr id="375" name="Oval 374">
            <a:extLst>
              <a:ext uri="{FF2B5EF4-FFF2-40B4-BE49-F238E27FC236}">
                <a16:creationId xmlns:a16="http://schemas.microsoft.com/office/drawing/2014/main" id="{C3386228-110E-4086-9727-0911505BD787}"/>
              </a:ext>
            </a:extLst>
          </p:cNvPr>
          <p:cNvSpPr/>
          <p:nvPr/>
        </p:nvSpPr>
        <p:spPr>
          <a:xfrm>
            <a:off x="88869" y="3849420"/>
            <a:ext cx="356870" cy="343787"/>
          </a:xfrm>
          <a:prstGeom prst="ellipse">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FFFFFF"/>
                </a:solidFill>
              </a:rPr>
              <a:t>3</a:t>
            </a:r>
          </a:p>
        </p:txBody>
      </p:sp>
      <p:sp>
        <p:nvSpPr>
          <p:cNvPr id="348" name="Rectangle 347">
            <a:extLst>
              <a:ext uri="{FF2B5EF4-FFF2-40B4-BE49-F238E27FC236}">
                <a16:creationId xmlns:a16="http://schemas.microsoft.com/office/drawing/2014/main" id="{6FF5CB9F-12DE-40F4-9D7B-460D497EBEEC}"/>
              </a:ext>
            </a:extLst>
          </p:cNvPr>
          <p:cNvSpPr/>
          <p:nvPr/>
        </p:nvSpPr>
        <p:spPr>
          <a:xfrm>
            <a:off x="8600307" y="1701402"/>
            <a:ext cx="1508911" cy="243428"/>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4">
              <a:defRPr/>
            </a:pPr>
            <a:r>
              <a:rPr lang="en-US" sz="1050" b="1" dirty="0">
                <a:solidFill>
                  <a:srgbClr val="00148C"/>
                </a:solidFill>
                <a:latin typeface="Arial"/>
                <a:cs typeface="Arial"/>
              </a:rPr>
              <a:t>Head of Engineering</a:t>
            </a:r>
          </a:p>
        </p:txBody>
      </p:sp>
      <p:grpSp>
        <p:nvGrpSpPr>
          <p:cNvPr id="377" name="Google Shape;18115;p1604">
            <a:extLst>
              <a:ext uri="{FF2B5EF4-FFF2-40B4-BE49-F238E27FC236}">
                <a16:creationId xmlns:a16="http://schemas.microsoft.com/office/drawing/2014/main" id="{D00F6620-33BF-4BAD-82AE-07F75A03D4E3}"/>
              </a:ext>
            </a:extLst>
          </p:cNvPr>
          <p:cNvGrpSpPr/>
          <p:nvPr/>
        </p:nvGrpSpPr>
        <p:grpSpPr>
          <a:xfrm>
            <a:off x="8331104" y="1680264"/>
            <a:ext cx="220616" cy="220618"/>
            <a:chOff x="1932810" y="1349835"/>
            <a:chExt cx="185335" cy="185337"/>
          </a:xfrm>
          <a:solidFill>
            <a:schemeClr val="tx2"/>
          </a:solidFill>
        </p:grpSpPr>
        <p:sp>
          <p:nvSpPr>
            <p:cNvPr id="378" name="Google Shape;18116;p1604">
              <a:extLst>
                <a:ext uri="{FF2B5EF4-FFF2-40B4-BE49-F238E27FC236}">
                  <a16:creationId xmlns:a16="http://schemas.microsoft.com/office/drawing/2014/main" id="{9D0FEA5A-130D-4FB8-967A-1E928C92B14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379" name="Google Shape;18117;p1604">
              <a:extLst>
                <a:ext uri="{FF2B5EF4-FFF2-40B4-BE49-F238E27FC236}">
                  <a16:creationId xmlns:a16="http://schemas.microsoft.com/office/drawing/2014/main" id="{72889668-11E7-4149-BA14-E639B4612E3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387" name="Rectangle 386">
            <a:extLst>
              <a:ext uri="{FF2B5EF4-FFF2-40B4-BE49-F238E27FC236}">
                <a16:creationId xmlns:a16="http://schemas.microsoft.com/office/drawing/2014/main" id="{1C5770EE-D773-4592-B1F8-319223DC5D9D}"/>
              </a:ext>
            </a:extLst>
          </p:cNvPr>
          <p:cNvSpPr/>
          <p:nvPr/>
        </p:nvSpPr>
        <p:spPr>
          <a:xfrm>
            <a:off x="10563938" y="2066059"/>
            <a:ext cx="1508911" cy="243428"/>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4">
              <a:defRPr/>
            </a:pPr>
            <a:r>
              <a:rPr lang="en-US" sz="1050" b="1" dirty="0">
                <a:solidFill>
                  <a:srgbClr val="00148C"/>
                </a:solidFill>
                <a:latin typeface="Arial"/>
                <a:cs typeface="Arial"/>
              </a:rPr>
              <a:t>Head of Product</a:t>
            </a:r>
          </a:p>
        </p:txBody>
      </p:sp>
      <p:grpSp>
        <p:nvGrpSpPr>
          <p:cNvPr id="394" name="Google Shape;18115;p1604">
            <a:extLst>
              <a:ext uri="{FF2B5EF4-FFF2-40B4-BE49-F238E27FC236}">
                <a16:creationId xmlns:a16="http://schemas.microsoft.com/office/drawing/2014/main" id="{677BD912-D0E5-4AD9-9059-F76B842AEFAD}"/>
              </a:ext>
            </a:extLst>
          </p:cNvPr>
          <p:cNvGrpSpPr/>
          <p:nvPr/>
        </p:nvGrpSpPr>
        <p:grpSpPr>
          <a:xfrm>
            <a:off x="10266985" y="2069189"/>
            <a:ext cx="220616" cy="220618"/>
            <a:chOff x="1932810" y="1349835"/>
            <a:chExt cx="185335" cy="185337"/>
          </a:xfrm>
          <a:solidFill>
            <a:schemeClr val="tx2"/>
          </a:solidFill>
        </p:grpSpPr>
        <p:sp>
          <p:nvSpPr>
            <p:cNvPr id="395" name="Google Shape;18116;p1604">
              <a:extLst>
                <a:ext uri="{FF2B5EF4-FFF2-40B4-BE49-F238E27FC236}">
                  <a16:creationId xmlns:a16="http://schemas.microsoft.com/office/drawing/2014/main" id="{DD26E9A7-569B-4E4D-A2FD-C56B1D7BF74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396" name="Google Shape;18117;p1604">
              <a:extLst>
                <a:ext uri="{FF2B5EF4-FFF2-40B4-BE49-F238E27FC236}">
                  <a16:creationId xmlns:a16="http://schemas.microsoft.com/office/drawing/2014/main" id="{6CC617EE-AB98-47EA-A077-CCE17504748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397" name="Google Shape;18115;p1604">
            <a:extLst>
              <a:ext uri="{FF2B5EF4-FFF2-40B4-BE49-F238E27FC236}">
                <a16:creationId xmlns:a16="http://schemas.microsoft.com/office/drawing/2014/main" id="{7CE4CDEC-423F-4355-8D0F-F86AD791FC65}"/>
              </a:ext>
            </a:extLst>
          </p:cNvPr>
          <p:cNvGrpSpPr/>
          <p:nvPr/>
        </p:nvGrpSpPr>
        <p:grpSpPr>
          <a:xfrm>
            <a:off x="10766672" y="954082"/>
            <a:ext cx="220616" cy="220618"/>
            <a:chOff x="1932810" y="1349835"/>
            <a:chExt cx="185335" cy="185337"/>
          </a:xfrm>
          <a:solidFill>
            <a:schemeClr val="tx2"/>
          </a:solidFill>
        </p:grpSpPr>
        <p:sp>
          <p:nvSpPr>
            <p:cNvPr id="398" name="Google Shape;18116;p1604">
              <a:extLst>
                <a:ext uri="{FF2B5EF4-FFF2-40B4-BE49-F238E27FC236}">
                  <a16:creationId xmlns:a16="http://schemas.microsoft.com/office/drawing/2014/main" id="{1654BA30-CF84-4EB2-A935-406A003A88E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399" name="Google Shape;18117;p1604">
              <a:extLst>
                <a:ext uri="{FF2B5EF4-FFF2-40B4-BE49-F238E27FC236}">
                  <a16:creationId xmlns:a16="http://schemas.microsoft.com/office/drawing/2014/main" id="{A045AB7E-6E0F-4AD4-B20B-688FB6E07C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400" name="Rectangle 399">
            <a:extLst>
              <a:ext uri="{FF2B5EF4-FFF2-40B4-BE49-F238E27FC236}">
                <a16:creationId xmlns:a16="http://schemas.microsoft.com/office/drawing/2014/main" id="{A8E1A61C-8FB6-46CF-A7D5-FBD296F213ED}"/>
              </a:ext>
            </a:extLst>
          </p:cNvPr>
          <p:cNvSpPr/>
          <p:nvPr/>
        </p:nvSpPr>
        <p:spPr>
          <a:xfrm>
            <a:off x="10583735" y="1697287"/>
            <a:ext cx="1341565" cy="225925"/>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4">
              <a:defRPr/>
            </a:pPr>
            <a:r>
              <a:rPr lang="en-US" sz="1050" b="1" dirty="0">
                <a:solidFill>
                  <a:srgbClr val="00148C"/>
                </a:solidFill>
                <a:latin typeface="Arial"/>
                <a:cs typeface="Arial"/>
              </a:rPr>
              <a:t>Domain Architect</a:t>
            </a:r>
          </a:p>
        </p:txBody>
      </p:sp>
      <p:grpSp>
        <p:nvGrpSpPr>
          <p:cNvPr id="401" name="Google Shape;18115;p1604">
            <a:extLst>
              <a:ext uri="{FF2B5EF4-FFF2-40B4-BE49-F238E27FC236}">
                <a16:creationId xmlns:a16="http://schemas.microsoft.com/office/drawing/2014/main" id="{D0078FEF-14A3-49FA-AC5F-B673899B3841}"/>
              </a:ext>
            </a:extLst>
          </p:cNvPr>
          <p:cNvGrpSpPr/>
          <p:nvPr/>
        </p:nvGrpSpPr>
        <p:grpSpPr>
          <a:xfrm>
            <a:off x="10265317" y="1693337"/>
            <a:ext cx="220616" cy="220618"/>
            <a:chOff x="1932810" y="1349835"/>
            <a:chExt cx="185335" cy="185337"/>
          </a:xfrm>
          <a:solidFill>
            <a:schemeClr val="tx2"/>
          </a:solidFill>
        </p:grpSpPr>
        <p:sp>
          <p:nvSpPr>
            <p:cNvPr id="402" name="Google Shape;18116;p1604">
              <a:extLst>
                <a:ext uri="{FF2B5EF4-FFF2-40B4-BE49-F238E27FC236}">
                  <a16:creationId xmlns:a16="http://schemas.microsoft.com/office/drawing/2014/main" id="{EA6C53D2-6B48-4657-ABC7-96ACD96EB30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403" name="Google Shape;18117;p1604">
              <a:extLst>
                <a:ext uri="{FF2B5EF4-FFF2-40B4-BE49-F238E27FC236}">
                  <a16:creationId xmlns:a16="http://schemas.microsoft.com/office/drawing/2014/main" id="{CA68CF69-3D8B-4452-8740-44DF10EB55E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404" name="Google Shape;18115;p1604">
            <a:extLst>
              <a:ext uri="{FF2B5EF4-FFF2-40B4-BE49-F238E27FC236}">
                <a16:creationId xmlns:a16="http://schemas.microsoft.com/office/drawing/2014/main" id="{657C5858-0AF4-4510-8395-CBAF15502251}"/>
              </a:ext>
            </a:extLst>
          </p:cNvPr>
          <p:cNvGrpSpPr/>
          <p:nvPr/>
        </p:nvGrpSpPr>
        <p:grpSpPr>
          <a:xfrm>
            <a:off x="8342790" y="2023836"/>
            <a:ext cx="220616" cy="220618"/>
            <a:chOff x="1932810" y="1349835"/>
            <a:chExt cx="185335" cy="185337"/>
          </a:xfrm>
          <a:solidFill>
            <a:schemeClr val="tx2"/>
          </a:solidFill>
        </p:grpSpPr>
        <p:sp>
          <p:nvSpPr>
            <p:cNvPr id="405" name="Google Shape;18116;p1604">
              <a:extLst>
                <a:ext uri="{FF2B5EF4-FFF2-40B4-BE49-F238E27FC236}">
                  <a16:creationId xmlns:a16="http://schemas.microsoft.com/office/drawing/2014/main" id="{7439AA04-93C6-4645-9EAF-24EAF86AA2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406" name="Google Shape;18117;p1604">
              <a:extLst>
                <a:ext uri="{FF2B5EF4-FFF2-40B4-BE49-F238E27FC236}">
                  <a16:creationId xmlns:a16="http://schemas.microsoft.com/office/drawing/2014/main" id="{748926E6-92B8-4201-9B82-15FE47C01D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407" name="Rectangle 406">
            <a:extLst>
              <a:ext uri="{FF2B5EF4-FFF2-40B4-BE49-F238E27FC236}">
                <a16:creationId xmlns:a16="http://schemas.microsoft.com/office/drawing/2014/main" id="{BE6A483E-5B4A-4B14-AA45-5399D250063B}"/>
              </a:ext>
            </a:extLst>
          </p:cNvPr>
          <p:cNvSpPr/>
          <p:nvPr/>
        </p:nvSpPr>
        <p:spPr>
          <a:xfrm>
            <a:off x="8579433" y="2063472"/>
            <a:ext cx="1508911" cy="243428"/>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4">
              <a:defRPr/>
            </a:pPr>
            <a:r>
              <a:rPr lang="en-US" sz="1050" b="1" dirty="0">
                <a:solidFill>
                  <a:srgbClr val="00148C"/>
                </a:solidFill>
                <a:latin typeface="Arial"/>
                <a:cs typeface="Arial"/>
              </a:rPr>
              <a:t>Product Operations</a:t>
            </a:r>
          </a:p>
        </p:txBody>
      </p:sp>
      <p:sp>
        <p:nvSpPr>
          <p:cNvPr id="2" name="TextBox 1">
            <a:extLst>
              <a:ext uri="{FF2B5EF4-FFF2-40B4-BE49-F238E27FC236}">
                <a16:creationId xmlns:a16="http://schemas.microsoft.com/office/drawing/2014/main" id="{A78F147E-C7CD-40EC-8C45-B39936089079}"/>
              </a:ext>
            </a:extLst>
          </p:cNvPr>
          <p:cNvSpPr txBox="1"/>
          <p:nvPr/>
        </p:nvSpPr>
        <p:spPr>
          <a:xfrm>
            <a:off x="5212144" y="3832602"/>
            <a:ext cx="765648" cy="1657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rgbClr val="000000"/>
                </a:solidFill>
              </a:rPr>
              <a:t>Start Exec</a:t>
            </a:r>
          </a:p>
        </p:txBody>
      </p:sp>
      <p:cxnSp>
        <p:nvCxnSpPr>
          <p:cNvPr id="408" name="Straight Connector 407">
            <a:extLst>
              <a:ext uri="{FF2B5EF4-FFF2-40B4-BE49-F238E27FC236}">
                <a16:creationId xmlns:a16="http://schemas.microsoft.com/office/drawing/2014/main" id="{BF2A34BA-2ECE-4D02-AAB8-604A0E136AF0}"/>
              </a:ext>
            </a:extLst>
          </p:cNvPr>
          <p:cNvCxnSpPr>
            <a:cxnSpLocks/>
          </p:cNvCxnSpPr>
          <p:nvPr/>
        </p:nvCxnSpPr>
        <p:spPr>
          <a:xfrm flipV="1">
            <a:off x="8225314" y="1279328"/>
            <a:ext cx="3867331" cy="4236"/>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409" name="Rectangle 408">
            <a:extLst>
              <a:ext uri="{FF2B5EF4-FFF2-40B4-BE49-F238E27FC236}">
                <a16:creationId xmlns:a16="http://schemas.microsoft.com/office/drawing/2014/main" id="{446716FA-34A1-454E-AB09-A00495C59E7E}"/>
              </a:ext>
            </a:extLst>
          </p:cNvPr>
          <p:cNvSpPr/>
          <p:nvPr/>
        </p:nvSpPr>
        <p:spPr>
          <a:xfrm>
            <a:off x="9109757" y="1249191"/>
            <a:ext cx="2314100"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148C"/>
                </a:solidFill>
                <a:effectLst/>
                <a:uLnTx/>
                <a:uFillTx/>
                <a:latin typeface="Arial"/>
                <a:ea typeface="+mn-ea"/>
                <a:cs typeface="Arial"/>
              </a:rPr>
              <a:t>BU SPOKE SUPPORT</a:t>
            </a:r>
          </a:p>
        </p:txBody>
      </p:sp>
      <p:sp>
        <p:nvSpPr>
          <p:cNvPr id="411" name="Up-Down Arrow 31">
            <a:extLst>
              <a:ext uri="{FF2B5EF4-FFF2-40B4-BE49-F238E27FC236}">
                <a16:creationId xmlns:a16="http://schemas.microsoft.com/office/drawing/2014/main" id="{7EBBD467-2CD2-4840-A254-BFBDA0F011FC}"/>
              </a:ext>
            </a:extLst>
          </p:cNvPr>
          <p:cNvSpPr/>
          <p:nvPr/>
        </p:nvSpPr>
        <p:spPr>
          <a:xfrm>
            <a:off x="1764704" y="3403797"/>
            <a:ext cx="251354" cy="792433"/>
          </a:xfrm>
          <a:prstGeom prst="upDownArrow">
            <a:avLst/>
          </a:prstGeom>
          <a:solidFill>
            <a:srgbClr val="5555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55555A"/>
              </a:solidFill>
            </a:endParaRPr>
          </a:p>
        </p:txBody>
      </p:sp>
      <p:sp>
        <p:nvSpPr>
          <p:cNvPr id="412" name="TextBox 411">
            <a:extLst>
              <a:ext uri="{FF2B5EF4-FFF2-40B4-BE49-F238E27FC236}">
                <a16:creationId xmlns:a16="http://schemas.microsoft.com/office/drawing/2014/main" id="{AA9AAB88-18BE-4C23-806F-353ADF53DDD1}"/>
              </a:ext>
            </a:extLst>
          </p:cNvPr>
          <p:cNvSpPr txBox="1"/>
          <p:nvPr/>
        </p:nvSpPr>
        <p:spPr>
          <a:xfrm>
            <a:off x="1346703" y="2476523"/>
            <a:ext cx="110102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sz="1000" b="1" dirty="0"/>
              <a:t>Collection of Business Outcomes by Re-Imagining Business Process &amp; User Journeys</a:t>
            </a:r>
          </a:p>
        </p:txBody>
      </p:sp>
      <p:sp>
        <p:nvSpPr>
          <p:cNvPr id="414" name="Up-Down Arrow 31">
            <a:extLst>
              <a:ext uri="{FF2B5EF4-FFF2-40B4-BE49-F238E27FC236}">
                <a16:creationId xmlns:a16="http://schemas.microsoft.com/office/drawing/2014/main" id="{FACABEC9-C83D-4A58-A98D-E86B00D4259F}"/>
              </a:ext>
            </a:extLst>
          </p:cNvPr>
          <p:cNvSpPr/>
          <p:nvPr/>
        </p:nvSpPr>
        <p:spPr>
          <a:xfrm>
            <a:off x="1804144" y="1798067"/>
            <a:ext cx="195748" cy="674271"/>
          </a:xfrm>
          <a:prstGeom prst="upDownArrow">
            <a:avLst/>
          </a:prstGeom>
          <a:solidFill>
            <a:srgbClr val="55555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55555A"/>
              </a:solidFill>
            </a:endParaRPr>
          </a:p>
        </p:txBody>
      </p:sp>
      <p:sp>
        <p:nvSpPr>
          <p:cNvPr id="415" name="TextBox 414">
            <a:extLst>
              <a:ext uri="{FF2B5EF4-FFF2-40B4-BE49-F238E27FC236}">
                <a16:creationId xmlns:a16="http://schemas.microsoft.com/office/drawing/2014/main" id="{CB04A6ED-B2A5-4B90-B59D-122F5342ED0A}"/>
              </a:ext>
            </a:extLst>
          </p:cNvPr>
          <p:cNvSpPr txBox="1"/>
          <p:nvPr/>
        </p:nvSpPr>
        <p:spPr>
          <a:xfrm>
            <a:off x="1313918" y="1305813"/>
            <a:ext cx="12160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050" kern="0">
                <a:solidFill>
                  <a:srgbClr val="55555A"/>
                </a:solidFill>
                <a:latin typeface="Arial"/>
                <a:ea typeface="ＭＳ Ｐゴシック"/>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sz="1000" b="1" dirty="0"/>
              <a:t>Portfolio sets Transformation Strategy</a:t>
            </a:r>
          </a:p>
        </p:txBody>
      </p:sp>
      <p:sp>
        <p:nvSpPr>
          <p:cNvPr id="410" name="NavigationTriangle">
            <a:extLst>
              <a:ext uri="{FF2B5EF4-FFF2-40B4-BE49-F238E27FC236}">
                <a16:creationId xmlns:a16="http://schemas.microsoft.com/office/drawing/2014/main" id="{D70F1D9E-9D5E-4817-AD8E-152F0E7F6C74}"/>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3" name="NavigationIcon">
            <a:extLst>
              <a:ext uri="{FF2B5EF4-FFF2-40B4-BE49-F238E27FC236}">
                <a16:creationId xmlns:a16="http://schemas.microsoft.com/office/drawing/2014/main" id="{595A9931-6066-49CC-BF0C-B89AEC1CD399}"/>
              </a:ext>
            </a:extLst>
          </p:cNvPr>
          <p:cNvSpPr>
            <a:spLocks noChangeAspect="1" noChangeArrowheads="1"/>
          </p:cNvSpPr>
          <p:nvPr>
            <p:custDataLst>
              <p:tags r:id="rId9"/>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6</a:t>
            </a:r>
          </a:p>
        </p:txBody>
      </p:sp>
    </p:spTree>
    <p:extLst>
      <p:ext uri="{BB962C8B-B14F-4D97-AF65-F5344CB8AC3E}">
        <p14:creationId xmlns:p14="http://schemas.microsoft.com/office/powerpoint/2010/main" val="2922642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2" name="think-cell Slide" r:id="rId7" imgW="395" imgH="396" progId="TCLayout.ActiveDocument.1">
                  <p:embed/>
                </p:oleObj>
              </mc:Choice>
              <mc:Fallback>
                <p:oleObj name="think-cell Slide" r:id="rId7" imgW="395" imgH="39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Picture 11"/>
          <p:cNvPicPr>
            <a:picLocks/>
          </p:cNvPicPr>
          <p:nvPr/>
        </p:nvPicPr>
        <p:blipFill rotWithShape="1">
          <a:blip r:embed="rId9" cstate="print">
            <a:extLst>
              <a:ext uri="{28A0092B-C50C-407E-A947-70E740481C1C}">
                <a14:useLocalDpi xmlns:a14="http://schemas.microsoft.com/office/drawing/2010/main" val="0"/>
              </a:ext>
            </a:extLst>
          </a:blip>
          <a:srcRect l="41714" t="16557" r="26112" b="19887"/>
          <a:stretch/>
        </p:blipFill>
        <p:spPr>
          <a:xfrm>
            <a:off x="0" y="0"/>
            <a:ext cx="4302737" cy="6858001"/>
          </a:xfrm>
          <a:prstGeom prst="rect">
            <a:avLst/>
          </a:prstGeom>
        </p:spPr>
      </p:pic>
      <p:sp>
        <p:nvSpPr>
          <p:cNvPr id="11" name="TextBox 10">
            <a:extLst>
              <a:ext uri="{FF2B5EF4-FFF2-40B4-BE49-F238E27FC236}">
                <a16:creationId xmlns:a16="http://schemas.microsoft.com/office/drawing/2014/main" id="{93704D7F-A1E5-47DE-B0DC-B34A6EEE27CC}"/>
              </a:ext>
            </a:extLst>
          </p:cNvPr>
          <p:cNvSpPr txBox="1"/>
          <p:nvPr/>
        </p:nvSpPr>
        <p:spPr>
          <a:xfrm>
            <a:off x="6680944" y="1149285"/>
            <a:ext cx="4984583" cy="11541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1600" b="1" dirty="0">
                <a:solidFill>
                  <a:srgbClr val="005778"/>
                </a:solidFill>
                <a:latin typeface="Arial" panose="020B0604020202020204" pitchFamily="34" charset="0"/>
                <a:cs typeface="Arial" panose="020B0604020202020204" pitchFamily="34" charset="0"/>
              </a:rPr>
              <a:t>Digital Product Model: </a:t>
            </a:r>
            <a:r>
              <a:rPr lang="en-US" sz="1600" b="1" i="1" dirty="0">
                <a:solidFill>
                  <a:srgbClr val="005778"/>
                </a:solidFill>
                <a:latin typeface="Arial" panose="020B0604020202020204" pitchFamily="34" charset="0"/>
                <a:cs typeface="Arial" panose="020B0604020202020204" pitchFamily="34" charset="0"/>
              </a:rPr>
              <a:t>very low </a:t>
            </a:r>
            <a:r>
              <a:rPr lang="en-US" sz="1600" b="1" dirty="0">
                <a:solidFill>
                  <a:srgbClr val="005778"/>
                </a:solidFill>
                <a:latin typeface="Arial" panose="020B0604020202020204" pitchFamily="34" charset="0"/>
                <a:cs typeface="Arial" panose="020B0604020202020204" pitchFamily="34" charset="0"/>
              </a:rPr>
              <a:t>maturity today</a:t>
            </a:r>
          </a:p>
          <a:p>
            <a:pPr>
              <a:spcAft>
                <a:spcPts val="600"/>
              </a:spcAft>
            </a:pPr>
            <a:r>
              <a:rPr lang="en-US" sz="1600" dirty="0">
                <a:solidFill>
                  <a:srgbClr val="005778"/>
                </a:solidFill>
                <a:latin typeface="Arial" panose="020B0604020202020204" pitchFamily="34" charset="0"/>
                <a:cs typeface="Arial" panose="020B0604020202020204" pitchFamily="34" charset="0"/>
              </a:rPr>
              <a:t>Combines Lean and Design Thinking with Agile to enable ideation, experimentation and customer centricity for </a:t>
            </a:r>
            <a:r>
              <a:rPr lang="en-US" sz="1600" b="1" dirty="0">
                <a:solidFill>
                  <a:srgbClr val="005778"/>
                </a:solidFill>
                <a:latin typeface="Arial" panose="020B0604020202020204" pitchFamily="34" charset="0"/>
                <a:cs typeface="Arial" panose="020B0604020202020204" pitchFamily="34" charset="0"/>
              </a:rPr>
              <a:t>business-led digital products</a:t>
            </a:r>
          </a:p>
        </p:txBody>
      </p:sp>
      <p:sp>
        <p:nvSpPr>
          <p:cNvPr id="45" name="Rectangle 44">
            <a:extLst>
              <a:ext uri="{FF2B5EF4-FFF2-40B4-BE49-F238E27FC236}">
                <a16:creationId xmlns:a16="http://schemas.microsoft.com/office/drawing/2014/main" id="{05DEF634-8584-4308-9D54-75996FB5916B}"/>
              </a:ext>
            </a:extLst>
          </p:cNvPr>
          <p:cNvSpPr/>
          <p:nvPr/>
        </p:nvSpPr>
        <p:spPr>
          <a:xfrm>
            <a:off x="4185173" y="805315"/>
            <a:ext cx="1540053" cy="516914"/>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289D9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ts val="1400"/>
            </a:pPr>
            <a:r>
              <a:rPr lang="en-US" sz="2000" b="1" dirty="0">
                <a:solidFill>
                  <a:srgbClr val="005778"/>
                </a:solidFill>
                <a:latin typeface="Arial" panose="020B0604020202020204" pitchFamily="34" charset="0"/>
                <a:cs typeface="Arial" panose="020B0604020202020204" pitchFamily="34" charset="0"/>
              </a:rPr>
              <a:t>Product</a:t>
            </a:r>
          </a:p>
        </p:txBody>
      </p:sp>
      <p:sp>
        <p:nvSpPr>
          <p:cNvPr id="9" name="TextBox 8">
            <a:extLst>
              <a:ext uri="{FF2B5EF4-FFF2-40B4-BE49-F238E27FC236}">
                <a16:creationId xmlns:a16="http://schemas.microsoft.com/office/drawing/2014/main" id="{9D1EDC80-9568-46AC-B1D8-6ED350351DD5}"/>
              </a:ext>
            </a:extLst>
          </p:cNvPr>
          <p:cNvSpPr txBox="1"/>
          <p:nvPr/>
        </p:nvSpPr>
        <p:spPr>
          <a:xfrm>
            <a:off x="6680945" y="2926524"/>
            <a:ext cx="4984582" cy="11541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1600" b="1" dirty="0" err="1">
                <a:solidFill>
                  <a:srgbClr val="005778"/>
                </a:solidFill>
                <a:latin typeface="Arial" panose="020B0604020202020204" pitchFamily="34" charset="0"/>
                <a:cs typeface="Arial" panose="020B0604020202020204" pitchFamily="34" charset="0"/>
              </a:rPr>
              <a:t>SAFe</a:t>
            </a:r>
            <a:r>
              <a:rPr lang="en-US" sz="1600" b="1" dirty="0">
                <a:solidFill>
                  <a:srgbClr val="005778"/>
                </a:solidFill>
                <a:latin typeface="Arial" panose="020B0604020202020204" pitchFamily="34" charset="0"/>
                <a:cs typeface="Arial" panose="020B0604020202020204" pitchFamily="34" charset="0"/>
              </a:rPr>
              <a:t>: </a:t>
            </a:r>
            <a:r>
              <a:rPr lang="en-US" sz="1600" b="1" i="1" dirty="0">
                <a:solidFill>
                  <a:srgbClr val="005778"/>
                </a:solidFill>
                <a:latin typeface="Arial" panose="020B0604020202020204" pitchFamily="34" charset="0"/>
                <a:cs typeface="Arial" panose="020B0604020202020204" pitchFamily="34" charset="0"/>
              </a:rPr>
              <a:t>low</a:t>
            </a:r>
            <a:r>
              <a:rPr lang="en-US" sz="1600" b="1" dirty="0">
                <a:solidFill>
                  <a:srgbClr val="005778"/>
                </a:solidFill>
                <a:latin typeface="Arial" panose="020B0604020202020204" pitchFamily="34" charset="0"/>
                <a:cs typeface="Arial" panose="020B0604020202020204" pitchFamily="34" charset="0"/>
              </a:rPr>
              <a:t> </a:t>
            </a:r>
            <a:r>
              <a:rPr lang="en-US" sz="1600" b="1" i="1" dirty="0">
                <a:solidFill>
                  <a:srgbClr val="005778"/>
                </a:solidFill>
                <a:latin typeface="Arial" panose="020B0604020202020204" pitchFamily="34" charset="0"/>
                <a:cs typeface="Arial" panose="020B0604020202020204" pitchFamily="34" charset="0"/>
              </a:rPr>
              <a:t>maturity today</a:t>
            </a:r>
          </a:p>
          <a:p>
            <a:pPr>
              <a:spcAft>
                <a:spcPts val="600"/>
              </a:spcAft>
            </a:pPr>
            <a:r>
              <a:rPr lang="en-US" sz="1600" dirty="0">
                <a:solidFill>
                  <a:srgbClr val="005778"/>
                </a:solidFill>
                <a:latin typeface="Arial" panose="020B0604020202020204" pitchFamily="34" charset="0"/>
                <a:cs typeface="Arial" panose="020B0604020202020204" pitchFamily="34" charset="0"/>
              </a:rPr>
              <a:t>Time-bound sprints, rapid feedback, cross-functional teaming, and multi-team governance, support </a:t>
            </a:r>
            <a:r>
              <a:rPr lang="en-US" sz="1600" b="1" dirty="0">
                <a:solidFill>
                  <a:srgbClr val="005778"/>
                </a:solidFill>
                <a:latin typeface="Arial" panose="020B0604020202020204" pitchFamily="34" charset="0"/>
                <a:cs typeface="Arial" panose="020B0604020202020204" pitchFamily="34" charset="0"/>
              </a:rPr>
              <a:t>delivery of technical platforms / products</a:t>
            </a:r>
          </a:p>
        </p:txBody>
      </p:sp>
      <p:sp>
        <p:nvSpPr>
          <p:cNvPr id="15" name="Oval 14">
            <a:extLst>
              <a:ext uri="{FF2B5EF4-FFF2-40B4-BE49-F238E27FC236}">
                <a16:creationId xmlns:a16="http://schemas.microsoft.com/office/drawing/2014/main" id="{85487325-2A3D-48F7-8541-0AB2B2E033A6}"/>
              </a:ext>
            </a:extLst>
          </p:cNvPr>
          <p:cNvSpPr>
            <a:spLocks noChangeAspect="1"/>
          </p:cNvSpPr>
          <p:nvPr/>
        </p:nvSpPr>
        <p:spPr>
          <a:xfrm>
            <a:off x="5255549" y="2858757"/>
            <a:ext cx="1288832" cy="1289695"/>
          </a:xfrm>
          <a:prstGeom prst="ellipse">
            <a:avLst/>
          </a:prstGeom>
          <a:solidFill>
            <a:srgbClr val="FFFFFF"/>
          </a:solidFill>
          <a:ln w="25400" cap="rnd">
            <a:solidFill>
              <a:srgbClr val="005778"/>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ts val="1400"/>
            </a:pPr>
            <a:endParaRPr lang="en-US" sz="1200" dirty="0">
              <a:solidFill>
                <a:srgbClr val="005778"/>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ECA75C10-CF90-4F47-829F-94DFD3BE4514}"/>
              </a:ext>
            </a:extLst>
          </p:cNvPr>
          <p:cNvSpPr/>
          <p:nvPr/>
        </p:nvSpPr>
        <p:spPr>
          <a:xfrm>
            <a:off x="4185173" y="2609303"/>
            <a:ext cx="1540053" cy="516914"/>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289D9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ts val="1400"/>
            </a:pPr>
            <a:r>
              <a:rPr lang="en-US" sz="2000" b="1" dirty="0" err="1">
                <a:solidFill>
                  <a:srgbClr val="005778"/>
                </a:solidFill>
                <a:latin typeface="Arial" panose="020B0604020202020204" pitchFamily="34" charset="0"/>
                <a:cs typeface="Arial" panose="020B0604020202020204" pitchFamily="34" charset="0"/>
              </a:rPr>
              <a:t>SAFe</a:t>
            </a:r>
            <a:endParaRPr lang="en-US" sz="2000" b="1" dirty="0">
              <a:solidFill>
                <a:srgbClr val="005778"/>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45D6A56B-95B0-4CE4-AB92-A50777EFD90C}"/>
              </a:ext>
            </a:extLst>
          </p:cNvPr>
          <p:cNvSpPr/>
          <p:nvPr/>
        </p:nvSpPr>
        <p:spPr>
          <a:xfrm>
            <a:off x="4185173" y="4252653"/>
            <a:ext cx="1540053" cy="516914"/>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289D9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ts val="1400"/>
            </a:pPr>
            <a:r>
              <a:rPr lang="en-US" sz="2000" b="1" dirty="0">
                <a:solidFill>
                  <a:srgbClr val="005778"/>
                </a:solidFill>
                <a:latin typeface="Arial" panose="020B0604020202020204" pitchFamily="34" charset="0"/>
                <a:cs typeface="Arial" panose="020B0604020202020204" pitchFamily="34" charset="0"/>
              </a:rPr>
              <a:t>Waterfall</a:t>
            </a:r>
          </a:p>
        </p:txBody>
      </p:sp>
      <p:sp>
        <p:nvSpPr>
          <p:cNvPr id="8" name="TextBox 7">
            <a:extLst>
              <a:ext uri="{FF2B5EF4-FFF2-40B4-BE49-F238E27FC236}">
                <a16:creationId xmlns:a16="http://schemas.microsoft.com/office/drawing/2014/main" id="{81F183F8-2720-4B3E-AC1D-47F7B39EF4CD}"/>
              </a:ext>
            </a:extLst>
          </p:cNvPr>
          <p:cNvSpPr txBox="1"/>
          <p:nvPr/>
        </p:nvSpPr>
        <p:spPr>
          <a:xfrm>
            <a:off x="6680946" y="4703763"/>
            <a:ext cx="4984582" cy="11541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1600" b="1" dirty="0">
                <a:solidFill>
                  <a:srgbClr val="005778"/>
                </a:solidFill>
                <a:latin typeface="Arial" panose="020B0604020202020204" pitchFamily="34" charset="0"/>
                <a:cs typeface="Arial" panose="020B0604020202020204" pitchFamily="34" charset="0"/>
              </a:rPr>
              <a:t>Waterfall: </a:t>
            </a:r>
            <a:r>
              <a:rPr lang="en-US" sz="1600" b="1" i="1" dirty="0">
                <a:solidFill>
                  <a:srgbClr val="005778"/>
                </a:solidFill>
                <a:latin typeface="Arial" panose="020B0604020202020204" pitchFamily="34" charset="0"/>
                <a:cs typeface="Arial" panose="020B0604020202020204" pitchFamily="34" charset="0"/>
              </a:rPr>
              <a:t>high</a:t>
            </a:r>
            <a:r>
              <a:rPr lang="en-US" sz="1600" b="1" dirty="0">
                <a:solidFill>
                  <a:srgbClr val="005778"/>
                </a:solidFill>
                <a:latin typeface="Arial" panose="020B0604020202020204" pitchFamily="34" charset="0"/>
                <a:cs typeface="Arial" panose="020B0604020202020204" pitchFamily="34" charset="0"/>
              </a:rPr>
              <a:t> maturity today</a:t>
            </a:r>
          </a:p>
          <a:p>
            <a:pPr>
              <a:spcAft>
                <a:spcPts val="600"/>
              </a:spcAft>
            </a:pPr>
            <a:r>
              <a:rPr lang="en-US" sz="1600" b="1" dirty="0">
                <a:solidFill>
                  <a:srgbClr val="005778"/>
                </a:solidFill>
                <a:latin typeface="Arial" panose="020B0604020202020204" pitchFamily="34" charset="0"/>
                <a:cs typeface="Arial" panose="020B0604020202020204" pitchFamily="34" charset="0"/>
              </a:rPr>
              <a:t>Traditional project management approach </a:t>
            </a:r>
            <a:r>
              <a:rPr lang="en-US" sz="1600" dirty="0">
                <a:solidFill>
                  <a:srgbClr val="005778"/>
                </a:solidFill>
                <a:latin typeface="Arial" panose="020B0604020202020204" pitchFamily="34" charset="0"/>
                <a:cs typeface="Arial" panose="020B0604020202020204" pitchFamily="34" charset="0"/>
              </a:rPr>
              <a:t>built on detailed upfront requirements and planning to build features sequentially</a:t>
            </a:r>
          </a:p>
        </p:txBody>
      </p:sp>
      <p:sp>
        <p:nvSpPr>
          <p:cNvPr id="22" name="Rectangle 21">
            <a:extLst>
              <a:ext uri="{FF2B5EF4-FFF2-40B4-BE49-F238E27FC236}">
                <a16:creationId xmlns:a16="http://schemas.microsoft.com/office/drawing/2014/main" id="{A82D4D5F-5685-4B4F-8FE8-A01C037F04FC}"/>
              </a:ext>
            </a:extLst>
          </p:cNvPr>
          <p:cNvSpPr/>
          <p:nvPr/>
        </p:nvSpPr>
        <p:spPr>
          <a:xfrm>
            <a:off x="0" y="0"/>
            <a:ext cx="4302736" cy="6858000"/>
          </a:xfrm>
          <a:prstGeom prst="rect">
            <a:avLst/>
          </a:prstGeom>
          <a:solidFill>
            <a:srgbClr val="383E54">
              <a:alpha val="72157"/>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Arial" panose="020B0604020202020204" pitchFamily="34" charset="0"/>
              <a:cs typeface="Arial" panose="020B0604020202020204" pitchFamily="34" charset="0"/>
            </a:endParaRPr>
          </a:p>
        </p:txBody>
      </p:sp>
      <p:sp>
        <p:nvSpPr>
          <p:cNvPr id="14" name="Rectangle 13"/>
          <p:cNvSpPr/>
          <p:nvPr/>
        </p:nvSpPr>
        <p:spPr>
          <a:xfrm>
            <a:off x="0" y="2067025"/>
            <a:ext cx="4302737" cy="272394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3200" dirty="0">
                <a:solidFill>
                  <a:srgbClr val="FFFFFF"/>
                </a:solidFill>
                <a:latin typeface="Arial" panose="020B0604020202020204" pitchFamily="34" charset="0"/>
                <a:cs typeface="Arial" panose="020B0604020202020204" pitchFamily="34" charset="0"/>
              </a:rPr>
              <a:t>As we shift to digital first over time, expect multiple models to co-exist in the interim</a:t>
            </a:r>
          </a:p>
        </p:txBody>
      </p:sp>
      <p:grpSp>
        <p:nvGrpSpPr>
          <p:cNvPr id="2" name="Group 1">
            <a:extLst>
              <a:ext uri="{FF2B5EF4-FFF2-40B4-BE49-F238E27FC236}">
                <a16:creationId xmlns:a16="http://schemas.microsoft.com/office/drawing/2014/main" id="{04BCF970-C2A9-441E-9779-E2560E86A9AC}"/>
              </a:ext>
            </a:extLst>
          </p:cNvPr>
          <p:cNvGrpSpPr/>
          <p:nvPr/>
        </p:nvGrpSpPr>
        <p:grpSpPr>
          <a:xfrm>
            <a:off x="5255549" y="1081518"/>
            <a:ext cx="1288832" cy="1289695"/>
            <a:chOff x="5255549" y="4635996"/>
            <a:chExt cx="1288832" cy="1289695"/>
          </a:xfrm>
        </p:grpSpPr>
        <p:sp>
          <p:nvSpPr>
            <p:cNvPr id="13" name="Oval 12">
              <a:extLst>
                <a:ext uri="{FF2B5EF4-FFF2-40B4-BE49-F238E27FC236}">
                  <a16:creationId xmlns:a16="http://schemas.microsoft.com/office/drawing/2014/main" id="{D9579578-9D19-4C56-A197-1B2D547E6C31}"/>
                </a:ext>
              </a:extLst>
            </p:cNvPr>
            <p:cNvSpPr>
              <a:spLocks noChangeAspect="1"/>
            </p:cNvSpPr>
            <p:nvPr/>
          </p:nvSpPr>
          <p:spPr>
            <a:xfrm>
              <a:off x="5255549" y="4635996"/>
              <a:ext cx="1288832" cy="1289695"/>
            </a:xfrm>
            <a:prstGeom prst="ellipse">
              <a:avLst/>
            </a:prstGeom>
            <a:solidFill>
              <a:srgbClr val="FFFFFF"/>
            </a:solidFill>
            <a:ln w="25400" cap="rnd">
              <a:solidFill>
                <a:srgbClr val="005778"/>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ts val="1400"/>
              </a:pPr>
              <a:endParaRPr lang="en-US" sz="1200" dirty="0">
                <a:solidFill>
                  <a:srgbClr val="005778"/>
                </a:solidFill>
                <a:latin typeface="Arial" panose="020B0604020202020204" pitchFamily="34" charset="0"/>
                <a:cs typeface="Arial" panose="020B0604020202020204" pitchFamily="34" charset="0"/>
              </a:endParaRPr>
            </a:p>
          </p:txBody>
        </p:sp>
        <p:grpSp>
          <p:nvGrpSpPr>
            <p:cNvPr id="40" name="Group 39">
              <a:extLst>
                <a:ext uri="{FF2B5EF4-FFF2-40B4-BE49-F238E27FC236}">
                  <a16:creationId xmlns:a16="http://schemas.microsoft.com/office/drawing/2014/main" id="{43EFF823-DF55-4091-9EC9-B731CEAFC3D5}"/>
                </a:ext>
              </a:extLst>
            </p:cNvPr>
            <p:cNvGrpSpPr>
              <a:grpSpLocks noChangeAspect="1"/>
            </p:cNvGrpSpPr>
            <p:nvPr/>
          </p:nvGrpSpPr>
          <p:grpSpPr>
            <a:xfrm>
              <a:off x="5430452" y="4846011"/>
              <a:ext cx="943731" cy="942821"/>
              <a:chOff x="5272088" y="2606675"/>
              <a:chExt cx="1646237" cy="1644650"/>
            </a:xfrm>
          </p:grpSpPr>
          <p:sp>
            <p:nvSpPr>
              <p:cNvPr id="41" name="AutoShape 26">
                <a:extLst>
                  <a:ext uri="{FF2B5EF4-FFF2-40B4-BE49-F238E27FC236}">
                    <a16:creationId xmlns:a16="http://schemas.microsoft.com/office/drawing/2014/main" id="{6C60C561-58E5-44DB-81A8-906183E660FA}"/>
                  </a:ext>
                </a:extLst>
              </p:cNvPr>
              <p:cNvSpPr>
                <a:spLocks noChangeAspect="1" noChangeArrowheads="1" noTextEdit="1"/>
              </p:cNvSpPr>
              <p:nvPr/>
            </p:nvSpPr>
            <p:spPr bwMode="auto">
              <a:xfrm>
                <a:off x="5272088" y="2606675"/>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2" name="Group 41">
                <a:extLst>
                  <a:ext uri="{FF2B5EF4-FFF2-40B4-BE49-F238E27FC236}">
                    <a16:creationId xmlns:a16="http://schemas.microsoft.com/office/drawing/2014/main" id="{46CF5152-DE53-4AC0-AF77-AFD0FCC8C25E}"/>
                  </a:ext>
                </a:extLst>
              </p:cNvPr>
              <p:cNvGrpSpPr/>
              <p:nvPr/>
            </p:nvGrpSpPr>
            <p:grpSpPr>
              <a:xfrm>
                <a:off x="5719763" y="2797175"/>
                <a:ext cx="768348" cy="1255713"/>
                <a:chOff x="5719763" y="2797175"/>
                <a:chExt cx="768348" cy="1255713"/>
              </a:xfrm>
            </p:grpSpPr>
            <p:sp>
              <p:nvSpPr>
                <p:cNvPr id="43" name="Freeform 10">
                  <a:extLst>
                    <a:ext uri="{FF2B5EF4-FFF2-40B4-BE49-F238E27FC236}">
                      <a16:creationId xmlns:a16="http://schemas.microsoft.com/office/drawing/2014/main" id="{2C12ABCA-DCC7-4615-A8C2-7259F621DABD}"/>
                    </a:ext>
                  </a:extLst>
                </p:cNvPr>
                <p:cNvSpPr>
                  <a:spLocks/>
                </p:cNvSpPr>
                <p:nvPr/>
              </p:nvSpPr>
              <p:spPr bwMode="auto">
                <a:xfrm>
                  <a:off x="5719763" y="2797175"/>
                  <a:ext cx="744537" cy="869951"/>
                </a:xfrm>
                <a:custGeom>
                  <a:avLst/>
                  <a:gdLst>
                    <a:gd name="connsiteX0" fmla="*/ 527050 w 744537"/>
                    <a:gd name="connsiteY0" fmla="*/ 838200 h 869951"/>
                    <a:gd name="connsiteX1" fmla="*/ 551039 w 744537"/>
                    <a:gd name="connsiteY1" fmla="*/ 842433 h 869951"/>
                    <a:gd name="connsiteX2" fmla="*/ 558800 w 744537"/>
                    <a:gd name="connsiteY2" fmla="*/ 841728 h 869951"/>
                    <a:gd name="connsiteX3" fmla="*/ 558800 w 744537"/>
                    <a:gd name="connsiteY3" fmla="*/ 869950 h 869951"/>
                    <a:gd name="connsiteX4" fmla="*/ 527050 w 744537"/>
                    <a:gd name="connsiteY4" fmla="*/ 869950 h 869951"/>
                    <a:gd name="connsiteX5" fmla="*/ 527050 w 744537"/>
                    <a:gd name="connsiteY5" fmla="*/ 838200 h 869951"/>
                    <a:gd name="connsiteX6" fmla="*/ 379931 w 744537"/>
                    <a:gd name="connsiteY6" fmla="*/ 654050 h 869951"/>
                    <a:gd name="connsiteX7" fmla="*/ 503237 w 744537"/>
                    <a:gd name="connsiteY7" fmla="*/ 725568 h 869951"/>
                    <a:gd name="connsiteX8" fmla="*/ 486844 w 744537"/>
                    <a:gd name="connsiteY8" fmla="*/ 752475 h 869951"/>
                    <a:gd name="connsiteX9" fmla="*/ 363537 w 744537"/>
                    <a:gd name="connsiteY9" fmla="*/ 680250 h 869951"/>
                    <a:gd name="connsiteX10" fmla="*/ 379931 w 744537"/>
                    <a:gd name="connsiteY10" fmla="*/ 654050 h 869951"/>
                    <a:gd name="connsiteX11" fmla="*/ 103785 w 744537"/>
                    <a:gd name="connsiteY11" fmla="*/ 582613 h 869951"/>
                    <a:gd name="connsiteX12" fmla="*/ 115102 w 744537"/>
                    <a:gd name="connsiteY12" fmla="*/ 596873 h 869951"/>
                    <a:gd name="connsiteX13" fmla="*/ 219075 w 744537"/>
                    <a:gd name="connsiteY13" fmla="*/ 807920 h 869951"/>
                    <a:gd name="connsiteX14" fmla="*/ 219075 w 744537"/>
                    <a:gd name="connsiteY14" fmla="*/ 869951 h 869951"/>
                    <a:gd name="connsiteX15" fmla="*/ 187954 w 744537"/>
                    <a:gd name="connsiteY15" fmla="*/ 869951 h 869951"/>
                    <a:gd name="connsiteX16" fmla="*/ 187954 w 744537"/>
                    <a:gd name="connsiteY16" fmla="*/ 807920 h 869951"/>
                    <a:gd name="connsiteX17" fmla="*/ 93175 w 744537"/>
                    <a:gd name="connsiteY17" fmla="*/ 618263 h 869951"/>
                    <a:gd name="connsiteX18" fmla="*/ 92468 w 744537"/>
                    <a:gd name="connsiteY18" fmla="*/ 617550 h 869951"/>
                    <a:gd name="connsiteX19" fmla="*/ 76200 w 744537"/>
                    <a:gd name="connsiteY19" fmla="*/ 597586 h 869951"/>
                    <a:gd name="connsiteX20" fmla="*/ 103785 w 744537"/>
                    <a:gd name="connsiteY20" fmla="*/ 582613 h 869951"/>
                    <a:gd name="connsiteX21" fmla="*/ 699573 w 744537"/>
                    <a:gd name="connsiteY21" fmla="*/ 469900 h 869951"/>
                    <a:gd name="connsiteX22" fmla="*/ 730249 w 744537"/>
                    <a:gd name="connsiteY22" fmla="*/ 477065 h 869951"/>
                    <a:gd name="connsiteX23" fmla="*/ 656055 w 744537"/>
                    <a:gd name="connsiteY23" fmla="*/ 614630 h 869951"/>
                    <a:gd name="connsiteX24" fmla="*/ 654628 w 744537"/>
                    <a:gd name="connsiteY24" fmla="*/ 616063 h 869951"/>
                    <a:gd name="connsiteX25" fmla="*/ 584000 w 744537"/>
                    <a:gd name="connsiteY25" fmla="*/ 712788 h 869951"/>
                    <a:gd name="connsiteX26" fmla="*/ 554037 w 744537"/>
                    <a:gd name="connsiteY26" fmla="*/ 704907 h 869951"/>
                    <a:gd name="connsiteX27" fmla="*/ 632512 w 744537"/>
                    <a:gd name="connsiteY27" fmla="*/ 593852 h 869951"/>
                    <a:gd name="connsiteX28" fmla="*/ 699573 w 744537"/>
                    <a:gd name="connsiteY28" fmla="*/ 469900 h 869951"/>
                    <a:gd name="connsiteX29" fmla="*/ 415091 w 744537"/>
                    <a:gd name="connsiteY29" fmla="*/ 407988 h 869951"/>
                    <a:gd name="connsiteX30" fmla="*/ 442912 w 744537"/>
                    <a:gd name="connsiteY30" fmla="*/ 422928 h 869951"/>
                    <a:gd name="connsiteX31" fmla="*/ 358022 w 744537"/>
                    <a:gd name="connsiteY31" fmla="*/ 579438 h 869951"/>
                    <a:gd name="connsiteX32" fmla="*/ 330200 w 744537"/>
                    <a:gd name="connsiteY32" fmla="*/ 564499 h 869951"/>
                    <a:gd name="connsiteX33" fmla="*/ 415091 w 744537"/>
                    <a:gd name="connsiteY33" fmla="*/ 407988 h 869951"/>
                    <a:gd name="connsiteX34" fmla="*/ 393500 w 744537"/>
                    <a:gd name="connsiteY34" fmla="*/ 368300 h 869951"/>
                    <a:gd name="connsiteX35" fmla="*/ 406400 w 744537"/>
                    <a:gd name="connsiteY35" fmla="*/ 396860 h 869951"/>
                    <a:gd name="connsiteX36" fmla="*/ 123309 w 744537"/>
                    <a:gd name="connsiteY36" fmla="*/ 517525 h 869951"/>
                    <a:gd name="connsiteX37" fmla="*/ 111125 w 744537"/>
                    <a:gd name="connsiteY37" fmla="*/ 488965 h 869951"/>
                    <a:gd name="connsiteX38" fmla="*/ 393500 w 744537"/>
                    <a:gd name="connsiteY38" fmla="*/ 368300 h 869951"/>
                    <a:gd name="connsiteX39" fmla="*/ 527987 w 744537"/>
                    <a:gd name="connsiteY39" fmla="*/ 355600 h 869951"/>
                    <a:gd name="connsiteX40" fmla="*/ 668337 w 744537"/>
                    <a:gd name="connsiteY40" fmla="*/ 381623 h 869951"/>
                    <a:gd name="connsiteX41" fmla="*/ 662638 w 744537"/>
                    <a:gd name="connsiteY41" fmla="*/ 409053 h 869951"/>
                    <a:gd name="connsiteX42" fmla="*/ 662638 w 744537"/>
                    <a:gd name="connsiteY42" fmla="*/ 411163 h 869951"/>
                    <a:gd name="connsiteX43" fmla="*/ 522287 w 744537"/>
                    <a:gd name="connsiteY43" fmla="*/ 385140 h 869951"/>
                    <a:gd name="connsiteX44" fmla="*/ 527987 w 744537"/>
                    <a:gd name="connsiteY44" fmla="*/ 358413 h 869951"/>
                    <a:gd name="connsiteX45" fmla="*/ 527987 w 744537"/>
                    <a:gd name="connsiteY45" fmla="*/ 355600 h 869951"/>
                    <a:gd name="connsiteX46" fmla="*/ 149469 w 744537"/>
                    <a:gd name="connsiteY46" fmla="*/ 268288 h 869951"/>
                    <a:gd name="connsiteX47" fmla="*/ 179387 w 744537"/>
                    <a:gd name="connsiteY47" fmla="*/ 280386 h 869951"/>
                    <a:gd name="connsiteX48" fmla="*/ 97468 w 744537"/>
                    <a:gd name="connsiteY48" fmla="*/ 474663 h 869951"/>
                    <a:gd name="connsiteX49" fmla="*/ 68262 w 744537"/>
                    <a:gd name="connsiteY49" fmla="*/ 462565 h 869951"/>
                    <a:gd name="connsiteX50" fmla="*/ 149469 w 744537"/>
                    <a:gd name="connsiteY50" fmla="*/ 268288 h 869951"/>
                    <a:gd name="connsiteX51" fmla="*/ 492666 w 744537"/>
                    <a:gd name="connsiteY51" fmla="*/ 111125 h 869951"/>
                    <a:gd name="connsiteX52" fmla="*/ 521747 w 744537"/>
                    <a:gd name="connsiteY52" fmla="*/ 117543 h 869951"/>
                    <a:gd name="connsiteX53" fmla="*/ 523875 w 744537"/>
                    <a:gd name="connsiteY53" fmla="*/ 117543 h 869951"/>
                    <a:gd name="connsiteX54" fmla="*/ 488410 w 744537"/>
                    <a:gd name="connsiteY54" fmla="*/ 293688 h 869951"/>
                    <a:gd name="connsiteX55" fmla="*/ 459328 w 744537"/>
                    <a:gd name="connsiteY55" fmla="*/ 287983 h 869951"/>
                    <a:gd name="connsiteX56" fmla="*/ 457200 w 744537"/>
                    <a:gd name="connsiteY56" fmla="*/ 287983 h 869951"/>
                    <a:gd name="connsiteX57" fmla="*/ 492666 w 744537"/>
                    <a:gd name="connsiteY57" fmla="*/ 111125 h 869951"/>
                    <a:gd name="connsiteX58" fmla="*/ 588027 w 744537"/>
                    <a:gd name="connsiteY58" fmla="*/ 66675 h 869951"/>
                    <a:gd name="connsiteX59" fmla="*/ 744537 w 744537"/>
                    <a:gd name="connsiteY59" fmla="*/ 342184 h 869951"/>
                    <a:gd name="connsiteX60" fmla="*/ 731020 w 744537"/>
                    <a:gd name="connsiteY60" fmla="*/ 340753 h 869951"/>
                    <a:gd name="connsiteX61" fmla="*/ 713947 w 744537"/>
                    <a:gd name="connsiteY61" fmla="*/ 342900 h 869951"/>
                    <a:gd name="connsiteX62" fmla="*/ 573087 w 744537"/>
                    <a:gd name="connsiteY62" fmla="*/ 94584 h 869951"/>
                    <a:gd name="connsiteX63" fmla="*/ 588027 w 744537"/>
                    <a:gd name="connsiteY63" fmla="*/ 66675 h 869951"/>
                    <a:gd name="connsiteX64" fmla="*/ 454758 w 744537"/>
                    <a:gd name="connsiteY64" fmla="*/ 65088 h 869951"/>
                    <a:gd name="connsiteX65" fmla="*/ 468312 w 744537"/>
                    <a:gd name="connsiteY65" fmla="*/ 94516 h 869951"/>
                    <a:gd name="connsiteX66" fmla="*/ 256441 w 744537"/>
                    <a:gd name="connsiteY66" fmla="*/ 200026 h 869951"/>
                    <a:gd name="connsiteX67" fmla="*/ 242887 w 744537"/>
                    <a:gd name="connsiteY67" fmla="*/ 171316 h 869951"/>
                    <a:gd name="connsiteX68" fmla="*/ 454758 w 744537"/>
                    <a:gd name="connsiteY68" fmla="*/ 65088 h 869951"/>
                    <a:gd name="connsiteX69" fmla="*/ 373682 w 744537"/>
                    <a:gd name="connsiteY69" fmla="*/ 0 h 869951"/>
                    <a:gd name="connsiteX70" fmla="*/ 465137 w 744537"/>
                    <a:gd name="connsiteY70" fmla="*/ 10707 h 869951"/>
                    <a:gd name="connsiteX71" fmla="*/ 453705 w 744537"/>
                    <a:gd name="connsiteY71" fmla="*/ 40685 h 869951"/>
                    <a:gd name="connsiteX72" fmla="*/ 373682 w 744537"/>
                    <a:gd name="connsiteY72" fmla="*/ 31406 h 869951"/>
                    <a:gd name="connsiteX73" fmla="*/ 31438 w 744537"/>
                    <a:gd name="connsiteY73" fmla="*/ 371879 h 869951"/>
                    <a:gd name="connsiteX74" fmla="*/ 43584 w 744537"/>
                    <a:gd name="connsiteY74" fmla="*/ 462529 h 869951"/>
                    <a:gd name="connsiteX75" fmla="*/ 15004 w 744537"/>
                    <a:gd name="connsiteY75" fmla="*/ 474663 h 869951"/>
                    <a:gd name="connsiteX76" fmla="*/ 0 w 744537"/>
                    <a:gd name="connsiteY76" fmla="*/ 371879 h 869951"/>
                    <a:gd name="connsiteX77" fmla="*/ 373682 w 744537"/>
                    <a:gd name="connsiteY77" fmla="*/ 0 h 86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44537" h="869951">
                      <a:moveTo>
                        <a:pt x="527050" y="838200"/>
                      </a:moveTo>
                      <a:cubicBezTo>
                        <a:pt x="534106" y="841022"/>
                        <a:pt x="542572" y="842433"/>
                        <a:pt x="551039" y="842433"/>
                      </a:cubicBezTo>
                      <a:cubicBezTo>
                        <a:pt x="553861" y="842433"/>
                        <a:pt x="555978" y="842433"/>
                        <a:pt x="558800" y="841728"/>
                      </a:cubicBezTo>
                      <a:cubicBezTo>
                        <a:pt x="558800" y="841728"/>
                        <a:pt x="558800" y="841728"/>
                        <a:pt x="558800" y="869950"/>
                      </a:cubicBezTo>
                      <a:cubicBezTo>
                        <a:pt x="558800" y="869950"/>
                        <a:pt x="558800" y="869950"/>
                        <a:pt x="527050" y="869950"/>
                      </a:cubicBezTo>
                      <a:cubicBezTo>
                        <a:pt x="527050" y="861483"/>
                        <a:pt x="527050" y="850900"/>
                        <a:pt x="527050" y="838200"/>
                      </a:cubicBezTo>
                      <a:close/>
                      <a:moveTo>
                        <a:pt x="379931" y="654050"/>
                      </a:moveTo>
                      <a:cubicBezTo>
                        <a:pt x="379931" y="654050"/>
                        <a:pt x="379931" y="654050"/>
                        <a:pt x="503237" y="725568"/>
                      </a:cubicBezTo>
                      <a:cubicBezTo>
                        <a:pt x="495397" y="733357"/>
                        <a:pt x="489695" y="741854"/>
                        <a:pt x="486844" y="752475"/>
                      </a:cubicBezTo>
                      <a:cubicBezTo>
                        <a:pt x="486844" y="752475"/>
                        <a:pt x="486844" y="752475"/>
                        <a:pt x="363537" y="680250"/>
                      </a:cubicBezTo>
                      <a:cubicBezTo>
                        <a:pt x="370665" y="672461"/>
                        <a:pt x="376367" y="663255"/>
                        <a:pt x="379931" y="654050"/>
                      </a:cubicBezTo>
                      <a:close/>
                      <a:moveTo>
                        <a:pt x="103785" y="582613"/>
                      </a:moveTo>
                      <a:cubicBezTo>
                        <a:pt x="107321" y="586891"/>
                        <a:pt x="110858" y="591882"/>
                        <a:pt x="115102" y="596873"/>
                      </a:cubicBezTo>
                      <a:cubicBezTo>
                        <a:pt x="125004" y="605429"/>
                        <a:pt x="219075" y="698119"/>
                        <a:pt x="219075" y="807920"/>
                      </a:cubicBezTo>
                      <a:cubicBezTo>
                        <a:pt x="219075" y="807920"/>
                        <a:pt x="219075" y="807920"/>
                        <a:pt x="219075" y="869951"/>
                      </a:cubicBezTo>
                      <a:cubicBezTo>
                        <a:pt x="219075" y="869951"/>
                        <a:pt x="219075" y="869951"/>
                        <a:pt x="187954" y="869951"/>
                      </a:cubicBezTo>
                      <a:cubicBezTo>
                        <a:pt x="187954" y="869951"/>
                        <a:pt x="187954" y="869951"/>
                        <a:pt x="187954" y="807920"/>
                      </a:cubicBezTo>
                      <a:cubicBezTo>
                        <a:pt x="187954" y="708814"/>
                        <a:pt x="94590" y="618976"/>
                        <a:pt x="93175" y="618263"/>
                      </a:cubicBezTo>
                      <a:cubicBezTo>
                        <a:pt x="93175" y="618263"/>
                        <a:pt x="93175" y="618263"/>
                        <a:pt x="92468" y="617550"/>
                      </a:cubicBezTo>
                      <a:cubicBezTo>
                        <a:pt x="86809" y="611133"/>
                        <a:pt x="81151" y="604716"/>
                        <a:pt x="76200" y="597586"/>
                      </a:cubicBezTo>
                      <a:cubicBezTo>
                        <a:pt x="86809" y="594734"/>
                        <a:pt x="96004" y="589743"/>
                        <a:pt x="103785" y="582613"/>
                      </a:cubicBezTo>
                      <a:close/>
                      <a:moveTo>
                        <a:pt x="699573" y="469900"/>
                      </a:moveTo>
                      <a:cubicBezTo>
                        <a:pt x="708847" y="474199"/>
                        <a:pt x="718835" y="477065"/>
                        <a:pt x="730249" y="477065"/>
                      </a:cubicBezTo>
                      <a:cubicBezTo>
                        <a:pt x="715268" y="527935"/>
                        <a:pt x="690298" y="575223"/>
                        <a:pt x="656055" y="614630"/>
                      </a:cubicBezTo>
                      <a:cubicBezTo>
                        <a:pt x="656055" y="614630"/>
                        <a:pt x="656055" y="614630"/>
                        <a:pt x="654628" y="616063"/>
                      </a:cubicBezTo>
                      <a:cubicBezTo>
                        <a:pt x="653914" y="616779"/>
                        <a:pt x="612537" y="656902"/>
                        <a:pt x="584000" y="712788"/>
                      </a:cubicBezTo>
                      <a:cubicBezTo>
                        <a:pt x="574726" y="707773"/>
                        <a:pt x="564738" y="704907"/>
                        <a:pt x="554037" y="704907"/>
                      </a:cubicBezTo>
                      <a:cubicBezTo>
                        <a:pt x="581860" y="644006"/>
                        <a:pt x="626092" y="600300"/>
                        <a:pt x="632512" y="593852"/>
                      </a:cubicBezTo>
                      <a:cubicBezTo>
                        <a:pt x="663902" y="558028"/>
                        <a:pt x="686018" y="515039"/>
                        <a:pt x="699573" y="469900"/>
                      </a:cubicBezTo>
                      <a:close/>
                      <a:moveTo>
                        <a:pt x="415091" y="407988"/>
                      </a:moveTo>
                      <a:cubicBezTo>
                        <a:pt x="422938" y="414391"/>
                        <a:pt x="432212" y="420082"/>
                        <a:pt x="442912" y="422928"/>
                      </a:cubicBezTo>
                      <a:cubicBezTo>
                        <a:pt x="442912" y="422928"/>
                        <a:pt x="442912" y="422928"/>
                        <a:pt x="358022" y="579438"/>
                      </a:cubicBezTo>
                      <a:cubicBezTo>
                        <a:pt x="350175" y="573035"/>
                        <a:pt x="340901" y="567344"/>
                        <a:pt x="330200" y="564499"/>
                      </a:cubicBezTo>
                      <a:cubicBezTo>
                        <a:pt x="330200" y="564499"/>
                        <a:pt x="330200" y="564499"/>
                        <a:pt x="415091" y="407988"/>
                      </a:cubicBezTo>
                      <a:close/>
                      <a:moveTo>
                        <a:pt x="393500" y="368300"/>
                      </a:moveTo>
                      <a:cubicBezTo>
                        <a:pt x="396367" y="379010"/>
                        <a:pt x="400667" y="388292"/>
                        <a:pt x="406400" y="396860"/>
                      </a:cubicBezTo>
                      <a:cubicBezTo>
                        <a:pt x="406400" y="396860"/>
                        <a:pt x="406400" y="396860"/>
                        <a:pt x="123309" y="517525"/>
                      </a:cubicBezTo>
                      <a:cubicBezTo>
                        <a:pt x="121876" y="506815"/>
                        <a:pt x="116859" y="496819"/>
                        <a:pt x="111125" y="488965"/>
                      </a:cubicBezTo>
                      <a:cubicBezTo>
                        <a:pt x="111125" y="488965"/>
                        <a:pt x="111125" y="488965"/>
                        <a:pt x="393500" y="368300"/>
                      </a:cubicBezTo>
                      <a:close/>
                      <a:moveTo>
                        <a:pt x="527987" y="355600"/>
                      </a:moveTo>
                      <a:cubicBezTo>
                        <a:pt x="527987" y="355600"/>
                        <a:pt x="527987" y="355600"/>
                        <a:pt x="668337" y="381623"/>
                      </a:cubicBezTo>
                      <a:cubicBezTo>
                        <a:pt x="664775" y="390063"/>
                        <a:pt x="662638" y="399207"/>
                        <a:pt x="662638" y="409053"/>
                      </a:cubicBezTo>
                      <a:cubicBezTo>
                        <a:pt x="662638" y="409756"/>
                        <a:pt x="662638" y="410460"/>
                        <a:pt x="662638" y="411163"/>
                      </a:cubicBezTo>
                      <a:cubicBezTo>
                        <a:pt x="662638" y="411163"/>
                        <a:pt x="662638" y="411163"/>
                        <a:pt x="522287" y="385140"/>
                      </a:cubicBezTo>
                      <a:cubicBezTo>
                        <a:pt x="525849" y="376700"/>
                        <a:pt x="527987" y="367556"/>
                        <a:pt x="527987" y="358413"/>
                      </a:cubicBezTo>
                      <a:cubicBezTo>
                        <a:pt x="527987" y="357710"/>
                        <a:pt x="527987" y="356303"/>
                        <a:pt x="527987" y="355600"/>
                      </a:cubicBezTo>
                      <a:close/>
                      <a:moveTo>
                        <a:pt x="149469" y="268288"/>
                      </a:moveTo>
                      <a:cubicBezTo>
                        <a:pt x="158017" y="274693"/>
                        <a:pt x="168702" y="278962"/>
                        <a:pt x="179387" y="280386"/>
                      </a:cubicBezTo>
                      <a:cubicBezTo>
                        <a:pt x="179387" y="280386"/>
                        <a:pt x="179387" y="280386"/>
                        <a:pt x="97468" y="474663"/>
                      </a:cubicBezTo>
                      <a:cubicBezTo>
                        <a:pt x="88920" y="468970"/>
                        <a:pt x="78947" y="464700"/>
                        <a:pt x="68262" y="462565"/>
                      </a:cubicBezTo>
                      <a:cubicBezTo>
                        <a:pt x="68262" y="462565"/>
                        <a:pt x="68262" y="462565"/>
                        <a:pt x="149469" y="268288"/>
                      </a:cubicBezTo>
                      <a:close/>
                      <a:moveTo>
                        <a:pt x="492666" y="111125"/>
                      </a:moveTo>
                      <a:cubicBezTo>
                        <a:pt x="501887" y="115404"/>
                        <a:pt x="511817" y="117543"/>
                        <a:pt x="521747" y="117543"/>
                      </a:cubicBezTo>
                      <a:cubicBezTo>
                        <a:pt x="522457" y="117543"/>
                        <a:pt x="523166" y="117543"/>
                        <a:pt x="523875" y="117543"/>
                      </a:cubicBezTo>
                      <a:cubicBezTo>
                        <a:pt x="523875" y="117543"/>
                        <a:pt x="523875" y="117543"/>
                        <a:pt x="488410" y="293688"/>
                      </a:cubicBezTo>
                      <a:cubicBezTo>
                        <a:pt x="479898" y="290835"/>
                        <a:pt x="470677" y="287983"/>
                        <a:pt x="459328" y="287983"/>
                      </a:cubicBezTo>
                      <a:cubicBezTo>
                        <a:pt x="458619" y="287983"/>
                        <a:pt x="457910" y="287983"/>
                        <a:pt x="457200" y="287983"/>
                      </a:cubicBezTo>
                      <a:cubicBezTo>
                        <a:pt x="457200" y="287983"/>
                        <a:pt x="457200" y="287983"/>
                        <a:pt x="492666" y="111125"/>
                      </a:cubicBezTo>
                      <a:close/>
                      <a:moveTo>
                        <a:pt x="588027" y="66675"/>
                      </a:moveTo>
                      <a:cubicBezTo>
                        <a:pt x="675530" y="128933"/>
                        <a:pt x="735289" y="228402"/>
                        <a:pt x="744537" y="342184"/>
                      </a:cubicBezTo>
                      <a:cubicBezTo>
                        <a:pt x="739557" y="341469"/>
                        <a:pt x="735289" y="340753"/>
                        <a:pt x="731020" y="340753"/>
                      </a:cubicBezTo>
                      <a:cubicBezTo>
                        <a:pt x="724618" y="340753"/>
                        <a:pt x="718215" y="341469"/>
                        <a:pt x="713947" y="342900"/>
                      </a:cubicBezTo>
                      <a:cubicBezTo>
                        <a:pt x="704698" y="240568"/>
                        <a:pt x="650631" y="151117"/>
                        <a:pt x="573087" y="94584"/>
                      </a:cubicBezTo>
                      <a:cubicBezTo>
                        <a:pt x="579490" y="85996"/>
                        <a:pt x="585181" y="75978"/>
                        <a:pt x="588027" y="66675"/>
                      </a:cubicBezTo>
                      <a:close/>
                      <a:moveTo>
                        <a:pt x="454758" y="65088"/>
                      </a:moveTo>
                      <a:cubicBezTo>
                        <a:pt x="456898" y="75854"/>
                        <a:pt x="461892" y="86621"/>
                        <a:pt x="468312" y="94516"/>
                      </a:cubicBezTo>
                      <a:cubicBezTo>
                        <a:pt x="468312" y="94516"/>
                        <a:pt x="468312" y="94516"/>
                        <a:pt x="256441" y="200026"/>
                      </a:cubicBezTo>
                      <a:cubicBezTo>
                        <a:pt x="254301" y="189260"/>
                        <a:pt x="249308" y="179211"/>
                        <a:pt x="242887" y="171316"/>
                      </a:cubicBezTo>
                      <a:cubicBezTo>
                        <a:pt x="242887" y="171316"/>
                        <a:pt x="242887" y="171316"/>
                        <a:pt x="454758" y="65088"/>
                      </a:cubicBezTo>
                      <a:close/>
                      <a:moveTo>
                        <a:pt x="373682" y="0"/>
                      </a:moveTo>
                      <a:cubicBezTo>
                        <a:pt x="405834" y="0"/>
                        <a:pt x="435843" y="3569"/>
                        <a:pt x="465137" y="10707"/>
                      </a:cubicBezTo>
                      <a:cubicBezTo>
                        <a:pt x="458707" y="19272"/>
                        <a:pt x="455134" y="29265"/>
                        <a:pt x="453705" y="40685"/>
                      </a:cubicBezTo>
                      <a:cubicBezTo>
                        <a:pt x="427983" y="34261"/>
                        <a:pt x="401547" y="31406"/>
                        <a:pt x="373682" y="31406"/>
                      </a:cubicBezTo>
                      <a:cubicBezTo>
                        <a:pt x="185769" y="31406"/>
                        <a:pt x="31438" y="184155"/>
                        <a:pt x="31438" y="371879"/>
                      </a:cubicBezTo>
                      <a:cubicBezTo>
                        <a:pt x="31438" y="402571"/>
                        <a:pt x="35725" y="433264"/>
                        <a:pt x="43584" y="462529"/>
                      </a:cubicBezTo>
                      <a:cubicBezTo>
                        <a:pt x="32867" y="463956"/>
                        <a:pt x="23578" y="468953"/>
                        <a:pt x="15004" y="474663"/>
                      </a:cubicBezTo>
                      <a:cubicBezTo>
                        <a:pt x="5001" y="441829"/>
                        <a:pt x="0" y="406854"/>
                        <a:pt x="0" y="371879"/>
                      </a:cubicBezTo>
                      <a:cubicBezTo>
                        <a:pt x="0" y="167024"/>
                        <a:pt x="167907" y="0"/>
                        <a:pt x="373682" y="0"/>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4" name="Freeform 11">
                  <a:extLst>
                    <a:ext uri="{FF2B5EF4-FFF2-40B4-BE49-F238E27FC236}">
                      <a16:creationId xmlns:a16="http://schemas.microsoft.com/office/drawing/2014/main" id="{544D7F0D-0381-459B-A169-91F3D9B12487}"/>
                    </a:ext>
                  </a:extLst>
                </p:cNvPr>
                <p:cNvSpPr>
                  <a:spLocks/>
                </p:cNvSpPr>
                <p:nvPr/>
              </p:nvSpPr>
              <p:spPr bwMode="auto">
                <a:xfrm>
                  <a:off x="5741987" y="2811463"/>
                  <a:ext cx="746124" cy="1241425"/>
                </a:xfrm>
                <a:custGeom>
                  <a:avLst/>
                  <a:gdLst>
                    <a:gd name="connsiteX0" fmla="*/ 222250 w 746124"/>
                    <a:gd name="connsiteY0" fmla="*/ 1169987 h 1241425"/>
                    <a:gd name="connsiteX1" fmla="*/ 222250 w 746124"/>
                    <a:gd name="connsiteY1" fmla="*/ 1187911 h 1241425"/>
                    <a:gd name="connsiteX2" fmla="*/ 351434 w 746124"/>
                    <a:gd name="connsiteY2" fmla="*/ 1208702 h 1241425"/>
                    <a:gd name="connsiteX3" fmla="*/ 354289 w 746124"/>
                    <a:gd name="connsiteY3" fmla="*/ 1208702 h 1241425"/>
                    <a:gd name="connsiteX4" fmla="*/ 484187 w 746124"/>
                    <a:gd name="connsiteY4" fmla="*/ 1187911 h 1241425"/>
                    <a:gd name="connsiteX5" fmla="*/ 484187 w 746124"/>
                    <a:gd name="connsiteY5" fmla="*/ 1169987 h 1241425"/>
                    <a:gd name="connsiteX6" fmla="*/ 222250 w 746124"/>
                    <a:gd name="connsiteY6" fmla="*/ 1169987 h 1241425"/>
                    <a:gd name="connsiteX7" fmla="*/ 153987 w 746124"/>
                    <a:gd name="connsiteY7" fmla="*/ 1089025 h 1241425"/>
                    <a:gd name="connsiteX8" fmla="*/ 153987 w 746124"/>
                    <a:gd name="connsiteY8" fmla="*/ 1138238 h 1241425"/>
                    <a:gd name="connsiteX9" fmla="*/ 552449 w 746124"/>
                    <a:gd name="connsiteY9" fmla="*/ 1138238 h 1241425"/>
                    <a:gd name="connsiteX10" fmla="*/ 552449 w 746124"/>
                    <a:gd name="connsiteY10" fmla="*/ 1089025 h 1241425"/>
                    <a:gd name="connsiteX11" fmla="*/ 153987 w 746124"/>
                    <a:gd name="connsiteY11" fmla="*/ 1089025 h 1241425"/>
                    <a:gd name="connsiteX12" fmla="*/ 153987 w 746124"/>
                    <a:gd name="connsiteY12" fmla="*/ 1011237 h 1241425"/>
                    <a:gd name="connsiteX13" fmla="*/ 153987 w 746124"/>
                    <a:gd name="connsiteY13" fmla="*/ 1057275 h 1241425"/>
                    <a:gd name="connsiteX14" fmla="*/ 552449 w 746124"/>
                    <a:gd name="connsiteY14" fmla="*/ 1057275 h 1241425"/>
                    <a:gd name="connsiteX15" fmla="*/ 552449 w 746124"/>
                    <a:gd name="connsiteY15" fmla="*/ 1011237 h 1241425"/>
                    <a:gd name="connsiteX16" fmla="*/ 153987 w 746124"/>
                    <a:gd name="connsiteY16" fmla="*/ 1011237 h 1241425"/>
                    <a:gd name="connsiteX17" fmla="*/ 153987 w 746124"/>
                    <a:gd name="connsiteY17" fmla="*/ 919162 h 1241425"/>
                    <a:gd name="connsiteX18" fmla="*/ 153987 w 746124"/>
                    <a:gd name="connsiteY18" fmla="*/ 979487 h 1241425"/>
                    <a:gd name="connsiteX19" fmla="*/ 552449 w 746124"/>
                    <a:gd name="connsiteY19" fmla="*/ 979487 h 1241425"/>
                    <a:gd name="connsiteX20" fmla="*/ 552449 w 746124"/>
                    <a:gd name="connsiteY20" fmla="*/ 919162 h 1241425"/>
                    <a:gd name="connsiteX21" fmla="*/ 153987 w 746124"/>
                    <a:gd name="connsiteY21" fmla="*/ 919162 h 1241425"/>
                    <a:gd name="connsiteX22" fmla="*/ 154469 w 746124"/>
                    <a:gd name="connsiteY22" fmla="*/ 887412 h 1241425"/>
                    <a:gd name="connsiteX23" fmla="*/ 168010 w 746124"/>
                    <a:gd name="connsiteY23" fmla="*/ 887412 h 1241425"/>
                    <a:gd name="connsiteX24" fmla="*/ 199367 w 746124"/>
                    <a:gd name="connsiteY24" fmla="*/ 887412 h 1241425"/>
                    <a:gd name="connsiteX25" fmla="*/ 505808 w 746124"/>
                    <a:gd name="connsiteY25" fmla="*/ 887412 h 1241425"/>
                    <a:gd name="connsiteX26" fmla="*/ 537165 w 746124"/>
                    <a:gd name="connsiteY26" fmla="*/ 887412 h 1241425"/>
                    <a:gd name="connsiteX27" fmla="*/ 553556 w 746124"/>
                    <a:gd name="connsiteY27" fmla="*/ 887412 h 1241425"/>
                    <a:gd name="connsiteX28" fmla="*/ 584200 w 746124"/>
                    <a:gd name="connsiteY28" fmla="*/ 917450 h 1241425"/>
                    <a:gd name="connsiteX29" fmla="*/ 584200 w 746124"/>
                    <a:gd name="connsiteY29" fmla="*/ 980385 h 1241425"/>
                    <a:gd name="connsiteX30" fmla="*/ 580637 w 746124"/>
                    <a:gd name="connsiteY30" fmla="*/ 995404 h 1241425"/>
                    <a:gd name="connsiteX31" fmla="*/ 584200 w 746124"/>
                    <a:gd name="connsiteY31" fmla="*/ 1010423 h 1241425"/>
                    <a:gd name="connsiteX32" fmla="*/ 584200 w 746124"/>
                    <a:gd name="connsiteY32" fmla="*/ 1059055 h 1241425"/>
                    <a:gd name="connsiteX33" fmla="*/ 580637 w 746124"/>
                    <a:gd name="connsiteY33" fmla="*/ 1074074 h 1241425"/>
                    <a:gd name="connsiteX34" fmla="*/ 584200 w 746124"/>
                    <a:gd name="connsiteY34" fmla="*/ 1089092 h 1241425"/>
                    <a:gd name="connsiteX35" fmla="*/ 584200 w 746124"/>
                    <a:gd name="connsiteY35" fmla="*/ 1139870 h 1241425"/>
                    <a:gd name="connsiteX36" fmla="*/ 553556 w 746124"/>
                    <a:gd name="connsiteY36" fmla="*/ 1170623 h 1241425"/>
                    <a:gd name="connsiteX37" fmla="*/ 515073 w 746124"/>
                    <a:gd name="connsiteY37" fmla="*/ 1170623 h 1241425"/>
                    <a:gd name="connsiteX38" fmla="*/ 515073 w 746124"/>
                    <a:gd name="connsiteY38" fmla="*/ 1198514 h 1241425"/>
                    <a:gd name="connsiteX39" fmla="*/ 505808 w 746124"/>
                    <a:gd name="connsiteY39" fmla="*/ 1212818 h 1241425"/>
                    <a:gd name="connsiteX40" fmla="*/ 370404 w 746124"/>
                    <a:gd name="connsiteY40" fmla="*/ 1241425 h 1241425"/>
                    <a:gd name="connsiteX41" fmla="*/ 352587 w 746124"/>
                    <a:gd name="connsiteY41" fmla="*/ 1240710 h 1241425"/>
                    <a:gd name="connsiteX42" fmla="*/ 334771 w 746124"/>
                    <a:gd name="connsiteY42" fmla="*/ 1241425 h 1241425"/>
                    <a:gd name="connsiteX43" fmla="*/ 200079 w 746124"/>
                    <a:gd name="connsiteY43" fmla="*/ 1212818 h 1241425"/>
                    <a:gd name="connsiteX44" fmla="*/ 190815 w 746124"/>
                    <a:gd name="connsiteY44" fmla="*/ 1198514 h 1241425"/>
                    <a:gd name="connsiteX45" fmla="*/ 190815 w 746124"/>
                    <a:gd name="connsiteY45" fmla="*/ 1170623 h 1241425"/>
                    <a:gd name="connsiteX46" fmla="*/ 154469 w 746124"/>
                    <a:gd name="connsiteY46" fmla="*/ 1170623 h 1241425"/>
                    <a:gd name="connsiteX47" fmla="*/ 123825 w 746124"/>
                    <a:gd name="connsiteY47" fmla="*/ 1139870 h 1241425"/>
                    <a:gd name="connsiteX48" fmla="*/ 123825 w 746124"/>
                    <a:gd name="connsiteY48" fmla="*/ 1089092 h 1241425"/>
                    <a:gd name="connsiteX49" fmla="*/ 128101 w 746124"/>
                    <a:gd name="connsiteY49" fmla="*/ 1074074 h 1241425"/>
                    <a:gd name="connsiteX50" fmla="*/ 123825 w 746124"/>
                    <a:gd name="connsiteY50" fmla="*/ 1059055 h 1241425"/>
                    <a:gd name="connsiteX51" fmla="*/ 123825 w 746124"/>
                    <a:gd name="connsiteY51" fmla="*/ 1010423 h 1241425"/>
                    <a:gd name="connsiteX52" fmla="*/ 128101 w 746124"/>
                    <a:gd name="connsiteY52" fmla="*/ 995404 h 1241425"/>
                    <a:gd name="connsiteX53" fmla="*/ 123825 w 746124"/>
                    <a:gd name="connsiteY53" fmla="*/ 980385 h 1241425"/>
                    <a:gd name="connsiteX54" fmla="*/ 123825 w 746124"/>
                    <a:gd name="connsiteY54" fmla="*/ 917450 h 1241425"/>
                    <a:gd name="connsiteX55" fmla="*/ 154469 w 746124"/>
                    <a:gd name="connsiteY55" fmla="*/ 887412 h 1241425"/>
                    <a:gd name="connsiteX56" fmla="*/ 530225 w 746124"/>
                    <a:gd name="connsiteY56" fmla="*/ 722312 h 1241425"/>
                    <a:gd name="connsiteX57" fmla="*/ 568325 w 746124"/>
                    <a:gd name="connsiteY57" fmla="*/ 759619 h 1241425"/>
                    <a:gd name="connsiteX58" fmla="*/ 530225 w 746124"/>
                    <a:gd name="connsiteY58" fmla="*/ 796926 h 1241425"/>
                    <a:gd name="connsiteX59" fmla="*/ 492125 w 746124"/>
                    <a:gd name="connsiteY59" fmla="*/ 759619 h 1241425"/>
                    <a:gd name="connsiteX60" fmla="*/ 530225 w 746124"/>
                    <a:gd name="connsiteY60" fmla="*/ 722312 h 1241425"/>
                    <a:gd name="connsiteX61" fmla="*/ 289718 w 746124"/>
                    <a:gd name="connsiteY61" fmla="*/ 579437 h 1241425"/>
                    <a:gd name="connsiteX62" fmla="*/ 327024 w 746124"/>
                    <a:gd name="connsiteY62" fmla="*/ 616744 h 1241425"/>
                    <a:gd name="connsiteX63" fmla="*/ 289718 w 746124"/>
                    <a:gd name="connsiteY63" fmla="*/ 654051 h 1241425"/>
                    <a:gd name="connsiteX64" fmla="*/ 252412 w 746124"/>
                    <a:gd name="connsiteY64" fmla="*/ 616744 h 1241425"/>
                    <a:gd name="connsiteX65" fmla="*/ 289718 w 746124"/>
                    <a:gd name="connsiteY65" fmla="*/ 579437 h 1241425"/>
                    <a:gd name="connsiteX66" fmla="*/ 36513 w 746124"/>
                    <a:gd name="connsiteY66" fmla="*/ 477837 h 1241425"/>
                    <a:gd name="connsiteX67" fmla="*/ 73026 w 746124"/>
                    <a:gd name="connsiteY67" fmla="*/ 515144 h 1241425"/>
                    <a:gd name="connsiteX68" fmla="*/ 36513 w 746124"/>
                    <a:gd name="connsiteY68" fmla="*/ 552451 h 1241425"/>
                    <a:gd name="connsiteX69" fmla="*/ 0 w 746124"/>
                    <a:gd name="connsiteY69" fmla="*/ 515144 h 1241425"/>
                    <a:gd name="connsiteX70" fmla="*/ 36513 w 746124"/>
                    <a:gd name="connsiteY70" fmla="*/ 477837 h 1241425"/>
                    <a:gd name="connsiteX71" fmla="*/ 708818 w 746124"/>
                    <a:gd name="connsiteY71" fmla="*/ 357187 h 1241425"/>
                    <a:gd name="connsiteX72" fmla="*/ 746124 w 746124"/>
                    <a:gd name="connsiteY72" fmla="*/ 394494 h 1241425"/>
                    <a:gd name="connsiteX73" fmla="*/ 708818 w 746124"/>
                    <a:gd name="connsiteY73" fmla="*/ 431801 h 1241425"/>
                    <a:gd name="connsiteX74" fmla="*/ 671512 w 746124"/>
                    <a:gd name="connsiteY74" fmla="*/ 394494 h 1241425"/>
                    <a:gd name="connsiteX75" fmla="*/ 708818 w 746124"/>
                    <a:gd name="connsiteY75" fmla="*/ 357187 h 1241425"/>
                    <a:gd name="connsiteX76" fmla="*/ 437001 w 746124"/>
                    <a:gd name="connsiteY76" fmla="*/ 306387 h 1241425"/>
                    <a:gd name="connsiteX77" fmla="*/ 474662 w 746124"/>
                    <a:gd name="connsiteY77" fmla="*/ 342899 h 1241425"/>
                    <a:gd name="connsiteX78" fmla="*/ 437001 w 746124"/>
                    <a:gd name="connsiteY78" fmla="*/ 379412 h 1241425"/>
                    <a:gd name="connsiteX79" fmla="*/ 400050 w 746124"/>
                    <a:gd name="connsiteY79" fmla="*/ 342899 h 1241425"/>
                    <a:gd name="connsiteX80" fmla="*/ 437001 w 746124"/>
                    <a:gd name="connsiteY80" fmla="*/ 306387 h 1241425"/>
                    <a:gd name="connsiteX81" fmla="*/ 168275 w 746124"/>
                    <a:gd name="connsiteY81" fmla="*/ 161925 h 1241425"/>
                    <a:gd name="connsiteX82" fmla="*/ 204787 w 746124"/>
                    <a:gd name="connsiteY82" fmla="*/ 198083 h 1241425"/>
                    <a:gd name="connsiteX83" fmla="*/ 168275 w 746124"/>
                    <a:gd name="connsiteY83" fmla="*/ 234950 h 1241425"/>
                    <a:gd name="connsiteX84" fmla="*/ 131762 w 746124"/>
                    <a:gd name="connsiteY84" fmla="*/ 198083 h 1241425"/>
                    <a:gd name="connsiteX85" fmla="*/ 168275 w 746124"/>
                    <a:gd name="connsiteY85" fmla="*/ 161925 h 1241425"/>
                    <a:gd name="connsiteX86" fmla="*/ 500063 w 746124"/>
                    <a:gd name="connsiteY86" fmla="*/ 0 h 1241425"/>
                    <a:gd name="connsiteX87" fmla="*/ 536576 w 746124"/>
                    <a:gd name="connsiteY87" fmla="*/ 36513 h 1241425"/>
                    <a:gd name="connsiteX88" fmla="*/ 500063 w 746124"/>
                    <a:gd name="connsiteY88" fmla="*/ 73026 h 1241425"/>
                    <a:gd name="connsiteX89" fmla="*/ 463550 w 746124"/>
                    <a:gd name="connsiteY89" fmla="*/ 36513 h 1241425"/>
                    <a:gd name="connsiteX90" fmla="*/ 500063 w 746124"/>
                    <a:gd name="connsiteY90" fmla="*/ 0 h 124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6124" h="1241425">
                      <a:moveTo>
                        <a:pt x="222250" y="1169987"/>
                      </a:moveTo>
                      <a:cubicBezTo>
                        <a:pt x="222250" y="1169987"/>
                        <a:pt x="222250" y="1169987"/>
                        <a:pt x="222250" y="1187911"/>
                      </a:cubicBezTo>
                      <a:cubicBezTo>
                        <a:pt x="289340" y="1214437"/>
                        <a:pt x="350721" y="1208702"/>
                        <a:pt x="351434" y="1208702"/>
                      </a:cubicBezTo>
                      <a:cubicBezTo>
                        <a:pt x="352148" y="1208702"/>
                        <a:pt x="353576" y="1208702"/>
                        <a:pt x="354289" y="1208702"/>
                      </a:cubicBezTo>
                      <a:cubicBezTo>
                        <a:pt x="355003" y="1208702"/>
                        <a:pt x="416383" y="1214437"/>
                        <a:pt x="484187" y="1187911"/>
                      </a:cubicBezTo>
                      <a:cubicBezTo>
                        <a:pt x="484187" y="1187911"/>
                        <a:pt x="484187" y="1187911"/>
                        <a:pt x="484187" y="1169987"/>
                      </a:cubicBezTo>
                      <a:cubicBezTo>
                        <a:pt x="484187" y="1169987"/>
                        <a:pt x="484187" y="1169987"/>
                        <a:pt x="222250" y="1169987"/>
                      </a:cubicBezTo>
                      <a:close/>
                      <a:moveTo>
                        <a:pt x="153987" y="1089025"/>
                      </a:moveTo>
                      <a:cubicBezTo>
                        <a:pt x="153987" y="1089025"/>
                        <a:pt x="153987" y="1089025"/>
                        <a:pt x="153987" y="1138238"/>
                      </a:cubicBezTo>
                      <a:cubicBezTo>
                        <a:pt x="153987" y="1138238"/>
                        <a:pt x="153987" y="1138238"/>
                        <a:pt x="552449" y="1138238"/>
                      </a:cubicBezTo>
                      <a:cubicBezTo>
                        <a:pt x="552449" y="1138238"/>
                        <a:pt x="552449" y="1138238"/>
                        <a:pt x="552449" y="1089025"/>
                      </a:cubicBezTo>
                      <a:cubicBezTo>
                        <a:pt x="552449" y="1089025"/>
                        <a:pt x="552449" y="1089025"/>
                        <a:pt x="153987" y="1089025"/>
                      </a:cubicBezTo>
                      <a:close/>
                      <a:moveTo>
                        <a:pt x="153987" y="1011237"/>
                      </a:moveTo>
                      <a:cubicBezTo>
                        <a:pt x="153987" y="1011237"/>
                        <a:pt x="153987" y="1011237"/>
                        <a:pt x="153987" y="1057275"/>
                      </a:cubicBezTo>
                      <a:cubicBezTo>
                        <a:pt x="153987" y="1057275"/>
                        <a:pt x="153987" y="1057275"/>
                        <a:pt x="552449" y="1057275"/>
                      </a:cubicBezTo>
                      <a:cubicBezTo>
                        <a:pt x="552449" y="1057275"/>
                        <a:pt x="552449" y="1057275"/>
                        <a:pt x="552449" y="1011237"/>
                      </a:cubicBezTo>
                      <a:cubicBezTo>
                        <a:pt x="552449" y="1011237"/>
                        <a:pt x="552449" y="1011237"/>
                        <a:pt x="153987" y="1011237"/>
                      </a:cubicBezTo>
                      <a:close/>
                      <a:moveTo>
                        <a:pt x="153987" y="919162"/>
                      </a:moveTo>
                      <a:cubicBezTo>
                        <a:pt x="153987" y="919162"/>
                        <a:pt x="153987" y="919162"/>
                        <a:pt x="153987" y="979487"/>
                      </a:cubicBezTo>
                      <a:cubicBezTo>
                        <a:pt x="153987" y="979487"/>
                        <a:pt x="153987" y="979487"/>
                        <a:pt x="552449" y="979487"/>
                      </a:cubicBezTo>
                      <a:cubicBezTo>
                        <a:pt x="552449" y="979487"/>
                        <a:pt x="552449" y="979487"/>
                        <a:pt x="552449" y="919162"/>
                      </a:cubicBezTo>
                      <a:cubicBezTo>
                        <a:pt x="552449" y="919162"/>
                        <a:pt x="552449" y="919162"/>
                        <a:pt x="153987" y="919162"/>
                      </a:cubicBezTo>
                      <a:close/>
                      <a:moveTo>
                        <a:pt x="154469" y="887412"/>
                      </a:moveTo>
                      <a:cubicBezTo>
                        <a:pt x="154469" y="887412"/>
                        <a:pt x="154469" y="887412"/>
                        <a:pt x="168010" y="887412"/>
                      </a:cubicBezTo>
                      <a:cubicBezTo>
                        <a:pt x="174424" y="887412"/>
                        <a:pt x="184401" y="887412"/>
                        <a:pt x="199367" y="887412"/>
                      </a:cubicBezTo>
                      <a:cubicBezTo>
                        <a:pt x="243551" y="887412"/>
                        <a:pt x="331208" y="887412"/>
                        <a:pt x="505808" y="887412"/>
                      </a:cubicBezTo>
                      <a:cubicBezTo>
                        <a:pt x="515785" y="887412"/>
                        <a:pt x="525763" y="887412"/>
                        <a:pt x="537165" y="887412"/>
                      </a:cubicBezTo>
                      <a:cubicBezTo>
                        <a:pt x="542154" y="887412"/>
                        <a:pt x="547855" y="887412"/>
                        <a:pt x="553556" y="887412"/>
                      </a:cubicBezTo>
                      <a:cubicBezTo>
                        <a:pt x="570660" y="887412"/>
                        <a:pt x="584200" y="900285"/>
                        <a:pt x="584200" y="917450"/>
                      </a:cubicBezTo>
                      <a:cubicBezTo>
                        <a:pt x="584200" y="917450"/>
                        <a:pt x="584200" y="917450"/>
                        <a:pt x="584200" y="980385"/>
                      </a:cubicBezTo>
                      <a:cubicBezTo>
                        <a:pt x="584200" y="986107"/>
                        <a:pt x="582775" y="991113"/>
                        <a:pt x="580637" y="995404"/>
                      </a:cubicBezTo>
                      <a:cubicBezTo>
                        <a:pt x="582775" y="999695"/>
                        <a:pt x="584200" y="1004701"/>
                        <a:pt x="584200" y="1010423"/>
                      </a:cubicBezTo>
                      <a:cubicBezTo>
                        <a:pt x="584200" y="1010423"/>
                        <a:pt x="584200" y="1010423"/>
                        <a:pt x="584200" y="1059055"/>
                      </a:cubicBezTo>
                      <a:cubicBezTo>
                        <a:pt x="584200" y="1064061"/>
                        <a:pt x="582775" y="1069067"/>
                        <a:pt x="580637" y="1074074"/>
                      </a:cubicBezTo>
                      <a:cubicBezTo>
                        <a:pt x="582775" y="1078365"/>
                        <a:pt x="584200" y="1083371"/>
                        <a:pt x="584200" y="1089092"/>
                      </a:cubicBezTo>
                      <a:cubicBezTo>
                        <a:pt x="584200" y="1089092"/>
                        <a:pt x="584200" y="1089092"/>
                        <a:pt x="584200" y="1139870"/>
                      </a:cubicBezTo>
                      <a:cubicBezTo>
                        <a:pt x="584200" y="1157034"/>
                        <a:pt x="570660" y="1170623"/>
                        <a:pt x="553556" y="1170623"/>
                      </a:cubicBezTo>
                      <a:cubicBezTo>
                        <a:pt x="553556" y="1170623"/>
                        <a:pt x="553556" y="1170623"/>
                        <a:pt x="515073" y="1170623"/>
                      </a:cubicBezTo>
                      <a:cubicBezTo>
                        <a:pt x="515073" y="1170623"/>
                        <a:pt x="515073" y="1170623"/>
                        <a:pt x="515073" y="1198514"/>
                      </a:cubicBezTo>
                      <a:cubicBezTo>
                        <a:pt x="515073" y="1204951"/>
                        <a:pt x="511509" y="1210672"/>
                        <a:pt x="505808" y="1212818"/>
                      </a:cubicBezTo>
                      <a:cubicBezTo>
                        <a:pt x="450221" y="1237849"/>
                        <a:pt x="397485" y="1241425"/>
                        <a:pt x="370404" y="1241425"/>
                      </a:cubicBezTo>
                      <a:cubicBezTo>
                        <a:pt x="361852" y="1241425"/>
                        <a:pt x="355438" y="1241425"/>
                        <a:pt x="352587" y="1240710"/>
                      </a:cubicBezTo>
                      <a:cubicBezTo>
                        <a:pt x="349737" y="1240710"/>
                        <a:pt x="343323" y="1241425"/>
                        <a:pt x="334771" y="1241425"/>
                      </a:cubicBezTo>
                      <a:cubicBezTo>
                        <a:pt x="307690" y="1241425"/>
                        <a:pt x="254954" y="1237849"/>
                        <a:pt x="200079" y="1212818"/>
                      </a:cubicBezTo>
                      <a:cubicBezTo>
                        <a:pt x="194378" y="1210672"/>
                        <a:pt x="190815" y="1204951"/>
                        <a:pt x="190815" y="1198514"/>
                      </a:cubicBezTo>
                      <a:cubicBezTo>
                        <a:pt x="190815" y="1198514"/>
                        <a:pt x="190815" y="1198514"/>
                        <a:pt x="190815" y="1170623"/>
                      </a:cubicBezTo>
                      <a:cubicBezTo>
                        <a:pt x="190815" y="1170623"/>
                        <a:pt x="190815" y="1170623"/>
                        <a:pt x="154469" y="1170623"/>
                      </a:cubicBezTo>
                      <a:cubicBezTo>
                        <a:pt x="137366" y="1170623"/>
                        <a:pt x="123825" y="1157034"/>
                        <a:pt x="123825" y="1139870"/>
                      </a:cubicBezTo>
                      <a:cubicBezTo>
                        <a:pt x="123825" y="1139870"/>
                        <a:pt x="123825" y="1139870"/>
                        <a:pt x="123825" y="1089092"/>
                      </a:cubicBezTo>
                      <a:cubicBezTo>
                        <a:pt x="123825" y="1083371"/>
                        <a:pt x="125251" y="1078365"/>
                        <a:pt x="128101" y="1074074"/>
                      </a:cubicBezTo>
                      <a:cubicBezTo>
                        <a:pt x="125251" y="1069067"/>
                        <a:pt x="123825" y="1064061"/>
                        <a:pt x="123825" y="1059055"/>
                      </a:cubicBezTo>
                      <a:cubicBezTo>
                        <a:pt x="123825" y="1059055"/>
                        <a:pt x="123825" y="1059055"/>
                        <a:pt x="123825" y="1010423"/>
                      </a:cubicBezTo>
                      <a:cubicBezTo>
                        <a:pt x="123825" y="1004701"/>
                        <a:pt x="125251" y="999695"/>
                        <a:pt x="128101" y="995404"/>
                      </a:cubicBezTo>
                      <a:cubicBezTo>
                        <a:pt x="125251" y="991113"/>
                        <a:pt x="123825" y="986107"/>
                        <a:pt x="123825" y="980385"/>
                      </a:cubicBezTo>
                      <a:cubicBezTo>
                        <a:pt x="123825" y="980385"/>
                        <a:pt x="123825" y="980385"/>
                        <a:pt x="123825" y="917450"/>
                      </a:cubicBezTo>
                      <a:cubicBezTo>
                        <a:pt x="123825" y="900285"/>
                        <a:pt x="137366" y="887412"/>
                        <a:pt x="154469" y="887412"/>
                      </a:cubicBezTo>
                      <a:close/>
                      <a:moveTo>
                        <a:pt x="530225" y="722312"/>
                      </a:moveTo>
                      <a:cubicBezTo>
                        <a:pt x="551267" y="722312"/>
                        <a:pt x="568325" y="739015"/>
                        <a:pt x="568325" y="759619"/>
                      </a:cubicBezTo>
                      <a:cubicBezTo>
                        <a:pt x="568325" y="780223"/>
                        <a:pt x="551267" y="796926"/>
                        <a:pt x="530225" y="796926"/>
                      </a:cubicBezTo>
                      <a:cubicBezTo>
                        <a:pt x="509183" y="796926"/>
                        <a:pt x="492125" y="780223"/>
                        <a:pt x="492125" y="759619"/>
                      </a:cubicBezTo>
                      <a:cubicBezTo>
                        <a:pt x="492125" y="739015"/>
                        <a:pt x="509183" y="722312"/>
                        <a:pt x="530225" y="722312"/>
                      </a:cubicBezTo>
                      <a:close/>
                      <a:moveTo>
                        <a:pt x="289718" y="579437"/>
                      </a:moveTo>
                      <a:cubicBezTo>
                        <a:pt x="310322" y="579437"/>
                        <a:pt x="327024" y="596140"/>
                        <a:pt x="327024" y="616744"/>
                      </a:cubicBezTo>
                      <a:cubicBezTo>
                        <a:pt x="327024" y="637348"/>
                        <a:pt x="310322" y="654051"/>
                        <a:pt x="289718" y="654051"/>
                      </a:cubicBezTo>
                      <a:cubicBezTo>
                        <a:pt x="269114" y="654051"/>
                        <a:pt x="252412" y="637348"/>
                        <a:pt x="252412" y="616744"/>
                      </a:cubicBezTo>
                      <a:cubicBezTo>
                        <a:pt x="252412" y="596140"/>
                        <a:pt x="269114" y="579437"/>
                        <a:pt x="289718" y="579437"/>
                      </a:cubicBezTo>
                      <a:close/>
                      <a:moveTo>
                        <a:pt x="36513" y="477837"/>
                      </a:moveTo>
                      <a:cubicBezTo>
                        <a:pt x="56679" y="477837"/>
                        <a:pt x="73026" y="494540"/>
                        <a:pt x="73026" y="515144"/>
                      </a:cubicBezTo>
                      <a:cubicBezTo>
                        <a:pt x="73026" y="535748"/>
                        <a:pt x="56679" y="552451"/>
                        <a:pt x="36513" y="552451"/>
                      </a:cubicBezTo>
                      <a:cubicBezTo>
                        <a:pt x="16347" y="552451"/>
                        <a:pt x="0" y="535748"/>
                        <a:pt x="0" y="515144"/>
                      </a:cubicBezTo>
                      <a:cubicBezTo>
                        <a:pt x="0" y="494540"/>
                        <a:pt x="16347" y="477837"/>
                        <a:pt x="36513" y="477837"/>
                      </a:cubicBezTo>
                      <a:close/>
                      <a:moveTo>
                        <a:pt x="708818" y="357187"/>
                      </a:moveTo>
                      <a:cubicBezTo>
                        <a:pt x="729422" y="357187"/>
                        <a:pt x="746124" y="373890"/>
                        <a:pt x="746124" y="394494"/>
                      </a:cubicBezTo>
                      <a:cubicBezTo>
                        <a:pt x="746124" y="415098"/>
                        <a:pt x="729422" y="431801"/>
                        <a:pt x="708818" y="431801"/>
                      </a:cubicBezTo>
                      <a:cubicBezTo>
                        <a:pt x="688214" y="431801"/>
                        <a:pt x="671512" y="415098"/>
                        <a:pt x="671512" y="394494"/>
                      </a:cubicBezTo>
                      <a:cubicBezTo>
                        <a:pt x="671512" y="373890"/>
                        <a:pt x="688214" y="357187"/>
                        <a:pt x="708818" y="357187"/>
                      </a:cubicBezTo>
                      <a:close/>
                      <a:moveTo>
                        <a:pt x="437001" y="306387"/>
                      </a:moveTo>
                      <a:cubicBezTo>
                        <a:pt x="458319" y="306387"/>
                        <a:pt x="474662" y="322537"/>
                        <a:pt x="474662" y="342899"/>
                      </a:cubicBezTo>
                      <a:cubicBezTo>
                        <a:pt x="474662" y="362560"/>
                        <a:pt x="458319" y="379412"/>
                        <a:pt x="437001" y="379412"/>
                      </a:cubicBezTo>
                      <a:cubicBezTo>
                        <a:pt x="417104" y="379412"/>
                        <a:pt x="400050" y="362560"/>
                        <a:pt x="400050" y="342899"/>
                      </a:cubicBezTo>
                      <a:cubicBezTo>
                        <a:pt x="400050" y="322537"/>
                        <a:pt x="417104" y="306387"/>
                        <a:pt x="437001" y="306387"/>
                      </a:cubicBezTo>
                      <a:close/>
                      <a:moveTo>
                        <a:pt x="168275" y="161925"/>
                      </a:moveTo>
                      <a:cubicBezTo>
                        <a:pt x="187935" y="161925"/>
                        <a:pt x="204787" y="178940"/>
                        <a:pt x="204787" y="198083"/>
                      </a:cubicBezTo>
                      <a:cubicBezTo>
                        <a:pt x="204787" y="218643"/>
                        <a:pt x="187935" y="234950"/>
                        <a:pt x="168275" y="234950"/>
                      </a:cubicBezTo>
                      <a:cubicBezTo>
                        <a:pt x="147912" y="234950"/>
                        <a:pt x="131762" y="218643"/>
                        <a:pt x="131762" y="198083"/>
                      </a:cubicBezTo>
                      <a:cubicBezTo>
                        <a:pt x="131762" y="178940"/>
                        <a:pt x="147912" y="161925"/>
                        <a:pt x="168275" y="161925"/>
                      </a:cubicBezTo>
                      <a:close/>
                      <a:moveTo>
                        <a:pt x="500063" y="0"/>
                      </a:moveTo>
                      <a:cubicBezTo>
                        <a:pt x="520229" y="0"/>
                        <a:pt x="536576" y="16347"/>
                        <a:pt x="536576" y="36513"/>
                      </a:cubicBezTo>
                      <a:cubicBezTo>
                        <a:pt x="536576" y="56679"/>
                        <a:pt x="520229" y="73026"/>
                        <a:pt x="500063" y="73026"/>
                      </a:cubicBezTo>
                      <a:cubicBezTo>
                        <a:pt x="479897" y="73026"/>
                        <a:pt x="463550" y="56679"/>
                        <a:pt x="463550" y="36513"/>
                      </a:cubicBezTo>
                      <a:cubicBezTo>
                        <a:pt x="463550" y="16347"/>
                        <a:pt x="479897" y="0"/>
                        <a:pt x="500063" y="0"/>
                      </a:cubicBezTo>
                      <a:close/>
                    </a:path>
                  </a:pathLst>
                </a:custGeom>
                <a:solidFill>
                  <a:srgbClr val="000A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35" name="Group 34">
            <a:extLst>
              <a:ext uri="{FF2B5EF4-FFF2-40B4-BE49-F238E27FC236}">
                <a16:creationId xmlns:a16="http://schemas.microsoft.com/office/drawing/2014/main" id="{46B2FD99-F9AA-49E3-B993-881B783EB6D1}"/>
              </a:ext>
            </a:extLst>
          </p:cNvPr>
          <p:cNvGrpSpPr>
            <a:grpSpLocks noChangeAspect="1"/>
          </p:cNvGrpSpPr>
          <p:nvPr/>
        </p:nvGrpSpPr>
        <p:grpSpPr>
          <a:xfrm>
            <a:off x="5441826" y="2998085"/>
            <a:ext cx="943732" cy="943732"/>
            <a:chOff x="5273675" y="2514600"/>
            <a:chExt cx="1646238" cy="1646238"/>
          </a:xfrm>
        </p:grpSpPr>
        <p:sp>
          <p:nvSpPr>
            <p:cNvPr id="36" name="AutoShape 9">
              <a:extLst>
                <a:ext uri="{FF2B5EF4-FFF2-40B4-BE49-F238E27FC236}">
                  <a16:creationId xmlns:a16="http://schemas.microsoft.com/office/drawing/2014/main" id="{B7DE3597-6537-4AEB-88FB-EAC56989F616}"/>
                </a:ext>
              </a:extLst>
            </p:cNvPr>
            <p:cNvSpPr>
              <a:spLocks noChangeAspect="1" noChangeArrowheads="1" noTextEdit="1"/>
            </p:cNvSpPr>
            <p:nvPr/>
          </p:nvSpPr>
          <p:spPr bwMode="auto">
            <a:xfrm>
              <a:off x="5273675" y="2514600"/>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 name="Group 36">
              <a:extLst>
                <a:ext uri="{FF2B5EF4-FFF2-40B4-BE49-F238E27FC236}">
                  <a16:creationId xmlns:a16="http://schemas.microsoft.com/office/drawing/2014/main" id="{3663BFF6-BFEB-47A8-A78E-3CBF3A19C3C0}"/>
                </a:ext>
              </a:extLst>
            </p:cNvPr>
            <p:cNvGrpSpPr/>
            <p:nvPr/>
          </p:nvGrpSpPr>
          <p:grpSpPr>
            <a:xfrm>
              <a:off x="5466557" y="2735263"/>
              <a:ext cx="1260475" cy="1204913"/>
              <a:chOff x="5468938" y="2735263"/>
              <a:chExt cx="1260475" cy="1204913"/>
            </a:xfrm>
          </p:grpSpPr>
          <p:sp>
            <p:nvSpPr>
              <p:cNvPr id="38" name="Freeform 5">
                <a:extLst>
                  <a:ext uri="{FF2B5EF4-FFF2-40B4-BE49-F238E27FC236}">
                    <a16:creationId xmlns:a16="http://schemas.microsoft.com/office/drawing/2014/main" id="{47873F84-CDC3-4D00-9205-861A20307C2B}"/>
                  </a:ext>
                </a:extLst>
              </p:cNvPr>
              <p:cNvSpPr>
                <a:spLocks/>
              </p:cNvSpPr>
              <p:nvPr/>
            </p:nvSpPr>
            <p:spPr bwMode="auto">
              <a:xfrm>
                <a:off x="5530850" y="2797175"/>
                <a:ext cx="1135063" cy="1081088"/>
              </a:xfrm>
              <a:custGeom>
                <a:avLst/>
                <a:gdLst>
                  <a:gd name="connsiteX0" fmla="*/ 559594 w 1135063"/>
                  <a:gd name="connsiteY0" fmla="*/ 141288 h 1081088"/>
                  <a:gd name="connsiteX1" fmla="*/ 264894 w 1135063"/>
                  <a:gd name="connsiteY1" fmla="*/ 263562 h 1081088"/>
                  <a:gd name="connsiteX2" fmla="*/ 142875 w 1135063"/>
                  <a:gd name="connsiteY2" fmla="*/ 559595 h 1081088"/>
                  <a:gd name="connsiteX3" fmla="*/ 264894 w 1135063"/>
                  <a:gd name="connsiteY3" fmla="*/ 855627 h 1081088"/>
                  <a:gd name="connsiteX4" fmla="*/ 559594 w 1135063"/>
                  <a:gd name="connsiteY4" fmla="*/ 977901 h 1081088"/>
                  <a:gd name="connsiteX5" fmla="*/ 854294 w 1135063"/>
                  <a:gd name="connsiteY5" fmla="*/ 855627 h 1081088"/>
                  <a:gd name="connsiteX6" fmla="*/ 976313 w 1135063"/>
                  <a:gd name="connsiteY6" fmla="*/ 559595 h 1081088"/>
                  <a:gd name="connsiteX7" fmla="*/ 854294 w 1135063"/>
                  <a:gd name="connsiteY7" fmla="*/ 263562 h 1081088"/>
                  <a:gd name="connsiteX8" fmla="*/ 559594 w 1135063"/>
                  <a:gd name="connsiteY8" fmla="*/ 141288 h 1081088"/>
                  <a:gd name="connsiteX9" fmla="*/ 332371 w 1135063"/>
                  <a:gd name="connsiteY9" fmla="*/ 0 h 1081088"/>
                  <a:gd name="connsiteX10" fmla="*/ 333800 w 1135063"/>
                  <a:gd name="connsiteY10" fmla="*/ 0 h 1081088"/>
                  <a:gd name="connsiteX11" fmla="*/ 349525 w 1135063"/>
                  <a:gd name="connsiteY11" fmla="*/ 14281 h 1081088"/>
                  <a:gd name="connsiteX12" fmla="*/ 356673 w 1135063"/>
                  <a:gd name="connsiteY12" fmla="*/ 117820 h 1081088"/>
                  <a:gd name="connsiteX13" fmla="*/ 356673 w 1135063"/>
                  <a:gd name="connsiteY13" fmla="*/ 118534 h 1081088"/>
                  <a:gd name="connsiteX14" fmla="*/ 356673 w 1135063"/>
                  <a:gd name="connsiteY14" fmla="*/ 119248 h 1081088"/>
                  <a:gd name="connsiteX15" fmla="*/ 356673 w 1135063"/>
                  <a:gd name="connsiteY15" fmla="*/ 119962 h 1081088"/>
                  <a:gd name="connsiteX16" fmla="*/ 356673 w 1135063"/>
                  <a:gd name="connsiteY16" fmla="*/ 120676 h 1081088"/>
                  <a:gd name="connsiteX17" fmla="*/ 356673 w 1135063"/>
                  <a:gd name="connsiteY17" fmla="*/ 121390 h 1081088"/>
                  <a:gd name="connsiteX18" fmla="*/ 356673 w 1135063"/>
                  <a:gd name="connsiteY18" fmla="*/ 122105 h 1081088"/>
                  <a:gd name="connsiteX19" fmla="*/ 356673 w 1135063"/>
                  <a:gd name="connsiteY19" fmla="*/ 122819 h 1081088"/>
                  <a:gd name="connsiteX20" fmla="*/ 355958 w 1135063"/>
                  <a:gd name="connsiteY20" fmla="*/ 123533 h 1081088"/>
                  <a:gd name="connsiteX21" fmla="*/ 355958 w 1135063"/>
                  <a:gd name="connsiteY21" fmla="*/ 124247 h 1081088"/>
                  <a:gd name="connsiteX22" fmla="*/ 355958 w 1135063"/>
                  <a:gd name="connsiteY22" fmla="*/ 124961 h 1081088"/>
                  <a:gd name="connsiteX23" fmla="*/ 355244 w 1135063"/>
                  <a:gd name="connsiteY23" fmla="*/ 124961 h 1081088"/>
                  <a:gd name="connsiteX24" fmla="*/ 355244 w 1135063"/>
                  <a:gd name="connsiteY24" fmla="*/ 125675 h 1081088"/>
                  <a:gd name="connsiteX25" fmla="*/ 355244 w 1135063"/>
                  <a:gd name="connsiteY25" fmla="*/ 126389 h 1081088"/>
                  <a:gd name="connsiteX26" fmla="*/ 354529 w 1135063"/>
                  <a:gd name="connsiteY26" fmla="*/ 127103 h 1081088"/>
                  <a:gd name="connsiteX27" fmla="*/ 354529 w 1135063"/>
                  <a:gd name="connsiteY27" fmla="*/ 127817 h 1081088"/>
                  <a:gd name="connsiteX28" fmla="*/ 353814 w 1135063"/>
                  <a:gd name="connsiteY28" fmla="*/ 127817 h 1081088"/>
                  <a:gd name="connsiteX29" fmla="*/ 353814 w 1135063"/>
                  <a:gd name="connsiteY29" fmla="*/ 128531 h 1081088"/>
                  <a:gd name="connsiteX30" fmla="*/ 353099 w 1135063"/>
                  <a:gd name="connsiteY30" fmla="*/ 129245 h 1081088"/>
                  <a:gd name="connsiteX31" fmla="*/ 352384 w 1135063"/>
                  <a:gd name="connsiteY31" fmla="*/ 129245 h 1081088"/>
                  <a:gd name="connsiteX32" fmla="*/ 352384 w 1135063"/>
                  <a:gd name="connsiteY32" fmla="*/ 129959 h 1081088"/>
                  <a:gd name="connsiteX33" fmla="*/ 351670 w 1135063"/>
                  <a:gd name="connsiteY33" fmla="*/ 130673 h 1081088"/>
                  <a:gd name="connsiteX34" fmla="*/ 350955 w 1135063"/>
                  <a:gd name="connsiteY34" fmla="*/ 131387 h 1081088"/>
                  <a:gd name="connsiteX35" fmla="*/ 350240 w 1135063"/>
                  <a:gd name="connsiteY35" fmla="*/ 131387 h 1081088"/>
                  <a:gd name="connsiteX36" fmla="*/ 349525 w 1135063"/>
                  <a:gd name="connsiteY36" fmla="*/ 132101 h 1081088"/>
                  <a:gd name="connsiteX37" fmla="*/ 348811 w 1135063"/>
                  <a:gd name="connsiteY37" fmla="*/ 132101 h 1081088"/>
                  <a:gd name="connsiteX38" fmla="*/ 348096 w 1135063"/>
                  <a:gd name="connsiteY38" fmla="*/ 132815 h 1081088"/>
                  <a:gd name="connsiteX39" fmla="*/ 347381 w 1135063"/>
                  <a:gd name="connsiteY39" fmla="*/ 133529 h 1081088"/>
                  <a:gd name="connsiteX40" fmla="*/ 346666 w 1135063"/>
                  <a:gd name="connsiteY40" fmla="*/ 133529 h 1081088"/>
                  <a:gd name="connsiteX41" fmla="*/ 345237 w 1135063"/>
                  <a:gd name="connsiteY41" fmla="*/ 133529 h 1081088"/>
                  <a:gd name="connsiteX42" fmla="*/ 345237 w 1135063"/>
                  <a:gd name="connsiteY42" fmla="*/ 134244 h 1081088"/>
                  <a:gd name="connsiteX43" fmla="*/ 343807 w 1135063"/>
                  <a:gd name="connsiteY43" fmla="*/ 134244 h 1081088"/>
                  <a:gd name="connsiteX44" fmla="*/ 342378 w 1135063"/>
                  <a:gd name="connsiteY44" fmla="*/ 134244 h 1081088"/>
                  <a:gd name="connsiteX45" fmla="*/ 247312 w 1135063"/>
                  <a:gd name="connsiteY45" fmla="*/ 142098 h 1081088"/>
                  <a:gd name="connsiteX46" fmla="*/ 245883 w 1135063"/>
                  <a:gd name="connsiteY46" fmla="*/ 142098 h 1081088"/>
                  <a:gd name="connsiteX47" fmla="*/ 230158 w 1135063"/>
                  <a:gd name="connsiteY47" fmla="*/ 127817 h 1081088"/>
                  <a:gd name="connsiteX48" fmla="*/ 244453 w 1135063"/>
                  <a:gd name="connsiteY48" fmla="*/ 110680 h 1081088"/>
                  <a:gd name="connsiteX49" fmla="*/ 311642 w 1135063"/>
                  <a:gd name="connsiteY49" fmla="*/ 105681 h 1081088"/>
                  <a:gd name="connsiteX50" fmla="*/ 192275 w 1135063"/>
                  <a:gd name="connsiteY50" fmla="*/ 52841 h 1081088"/>
                  <a:gd name="connsiteX51" fmla="*/ 32165 w 1135063"/>
                  <a:gd name="connsiteY51" fmla="*/ 212790 h 1081088"/>
                  <a:gd name="connsiteX52" fmla="*/ 146529 w 1135063"/>
                  <a:gd name="connsiteY52" fmla="*/ 367027 h 1081088"/>
                  <a:gd name="connsiteX53" fmla="*/ 153677 w 1135063"/>
                  <a:gd name="connsiteY53" fmla="*/ 369170 h 1081088"/>
                  <a:gd name="connsiteX54" fmla="*/ 559669 w 1135063"/>
                  <a:gd name="connsiteY54" fmla="*/ 109965 h 1081088"/>
                  <a:gd name="connsiteX55" fmla="*/ 1008548 w 1135063"/>
                  <a:gd name="connsiteY55" fmla="*/ 559110 h 1081088"/>
                  <a:gd name="connsiteX56" fmla="*/ 724782 w 1135063"/>
                  <a:gd name="connsiteY56" fmla="*/ 977549 h 1081088"/>
                  <a:gd name="connsiteX57" fmla="*/ 725497 w 1135063"/>
                  <a:gd name="connsiteY57" fmla="*/ 977549 h 1081088"/>
                  <a:gd name="connsiteX58" fmla="*/ 1083599 w 1135063"/>
                  <a:gd name="connsiteY58" fmla="*/ 977549 h 1081088"/>
                  <a:gd name="connsiteX59" fmla="*/ 1041428 w 1135063"/>
                  <a:gd name="connsiteY59" fmla="*/ 931135 h 1081088"/>
                  <a:gd name="connsiteX60" fmla="*/ 1042857 w 1135063"/>
                  <a:gd name="connsiteY60" fmla="*/ 909000 h 1081088"/>
                  <a:gd name="connsiteX61" fmla="*/ 1052864 w 1135063"/>
                  <a:gd name="connsiteY61" fmla="*/ 904715 h 1081088"/>
                  <a:gd name="connsiteX62" fmla="*/ 1065015 w 1135063"/>
                  <a:gd name="connsiteY62" fmla="*/ 909714 h 1081088"/>
                  <a:gd name="connsiteX63" fmla="*/ 1130775 w 1135063"/>
                  <a:gd name="connsiteY63" fmla="*/ 982548 h 1081088"/>
                  <a:gd name="connsiteX64" fmla="*/ 1131489 w 1135063"/>
                  <a:gd name="connsiteY64" fmla="*/ 983976 h 1081088"/>
                  <a:gd name="connsiteX65" fmla="*/ 1132204 w 1135063"/>
                  <a:gd name="connsiteY65" fmla="*/ 983976 h 1081088"/>
                  <a:gd name="connsiteX66" fmla="*/ 1132204 w 1135063"/>
                  <a:gd name="connsiteY66" fmla="*/ 984690 h 1081088"/>
                  <a:gd name="connsiteX67" fmla="*/ 1132919 w 1135063"/>
                  <a:gd name="connsiteY67" fmla="*/ 985404 h 1081088"/>
                  <a:gd name="connsiteX68" fmla="*/ 1133634 w 1135063"/>
                  <a:gd name="connsiteY68" fmla="*/ 986118 h 1081088"/>
                  <a:gd name="connsiteX69" fmla="*/ 1133634 w 1135063"/>
                  <a:gd name="connsiteY69" fmla="*/ 986832 h 1081088"/>
                  <a:gd name="connsiteX70" fmla="*/ 1133634 w 1135063"/>
                  <a:gd name="connsiteY70" fmla="*/ 987546 h 1081088"/>
                  <a:gd name="connsiteX71" fmla="*/ 1134348 w 1135063"/>
                  <a:gd name="connsiteY71" fmla="*/ 988260 h 1081088"/>
                  <a:gd name="connsiteX72" fmla="*/ 1134348 w 1135063"/>
                  <a:gd name="connsiteY72" fmla="*/ 988974 h 1081088"/>
                  <a:gd name="connsiteX73" fmla="*/ 1134348 w 1135063"/>
                  <a:gd name="connsiteY73" fmla="*/ 989688 h 1081088"/>
                  <a:gd name="connsiteX74" fmla="*/ 1134348 w 1135063"/>
                  <a:gd name="connsiteY74" fmla="*/ 990402 h 1081088"/>
                  <a:gd name="connsiteX75" fmla="*/ 1135063 w 1135063"/>
                  <a:gd name="connsiteY75" fmla="*/ 991116 h 1081088"/>
                  <a:gd name="connsiteX76" fmla="*/ 1135063 w 1135063"/>
                  <a:gd name="connsiteY76" fmla="*/ 991831 h 1081088"/>
                  <a:gd name="connsiteX77" fmla="*/ 1135063 w 1135063"/>
                  <a:gd name="connsiteY77" fmla="*/ 992545 h 1081088"/>
                  <a:gd name="connsiteX78" fmla="*/ 1135063 w 1135063"/>
                  <a:gd name="connsiteY78" fmla="*/ 993259 h 1081088"/>
                  <a:gd name="connsiteX79" fmla="*/ 1135063 w 1135063"/>
                  <a:gd name="connsiteY79" fmla="*/ 993973 h 1081088"/>
                  <a:gd name="connsiteX80" fmla="*/ 1135063 w 1135063"/>
                  <a:gd name="connsiteY80" fmla="*/ 995401 h 1081088"/>
                  <a:gd name="connsiteX81" fmla="*/ 1134348 w 1135063"/>
                  <a:gd name="connsiteY81" fmla="*/ 995401 h 1081088"/>
                  <a:gd name="connsiteX82" fmla="*/ 1134348 w 1135063"/>
                  <a:gd name="connsiteY82" fmla="*/ 996829 h 1081088"/>
                  <a:gd name="connsiteX83" fmla="*/ 1134348 w 1135063"/>
                  <a:gd name="connsiteY83" fmla="*/ 998257 h 1081088"/>
                  <a:gd name="connsiteX84" fmla="*/ 1133634 w 1135063"/>
                  <a:gd name="connsiteY84" fmla="*/ 998257 h 1081088"/>
                  <a:gd name="connsiteX85" fmla="*/ 1133634 w 1135063"/>
                  <a:gd name="connsiteY85" fmla="*/ 999685 h 1081088"/>
                  <a:gd name="connsiteX86" fmla="*/ 1132919 w 1135063"/>
                  <a:gd name="connsiteY86" fmla="*/ 1001113 h 1081088"/>
                  <a:gd name="connsiteX87" fmla="*/ 1132204 w 1135063"/>
                  <a:gd name="connsiteY87" fmla="*/ 1001113 h 1081088"/>
                  <a:gd name="connsiteX88" fmla="*/ 1132204 w 1135063"/>
                  <a:gd name="connsiteY88" fmla="*/ 1001827 h 1081088"/>
                  <a:gd name="connsiteX89" fmla="*/ 1131489 w 1135063"/>
                  <a:gd name="connsiteY89" fmla="*/ 1002541 h 1081088"/>
                  <a:gd name="connsiteX90" fmla="*/ 1130775 w 1135063"/>
                  <a:gd name="connsiteY90" fmla="*/ 1003256 h 1081088"/>
                  <a:gd name="connsiteX91" fmla="*/ 1130775 w 1135063"/>
                  <a:gd name="connsiteY91" fmla="*/ 1003970 h 1081088"/>
                  <a:gd name="connsiteX92" fmla="*/ 1065015 w 1135063"/>
                  <a:gd name="connsiteY92" fmla="*/ 1076090 h 1081088"/>
                  <a:gd name="connsiteX93" fmla="*/ 1052864 w 1135063"/>
                  <a:gd name="connsiteY93" fmla="*/ 1081088 h 1081088"/>
                  <a:gd name="connsiteX94" fmla="*/ 1042857 w 1135063"/>
                  <a:gd name="connsiteY94" fmla="*/ 1076804 h 1081088"/>
                  <a:gd name="connsiteX95" fmla="*/ 1041428 w 1135063"/>
                  <a:gd name="connsiteY95" fmla="*/ 1054668 h 1081088"/>
                  <a:gd name="connsiteX96" fmla="*/ 1083599 w 1135063"/>
                  <a:gd name="connsiteY96" fmla="*/ 1008968 h 1081088"/>
                  <a:gd name="connsiteX97" fmla="*/ 15725 w 1135063"/>
                  <a:gd name="connsiteY97" fmla="*/ 1008968 h 1081088"/>
                  <a:gd name="connsiteX98" fmla="*/ 0 w 1135063"/>
                  <a:gd name="connsiteY98" fmla="*/ 993259 h 1081088"/>
                  <a:gd name="connsiteX99" fmla="*/ 15725 w 1135063"/>
                  <a:gd name="connsiteY99" fmla="*/ 977549 h 1081088"/>
                  <a:gd name="connsiteX100" fmla="*/ 395271 w 1135063"/>
                  <a:gd name="connsiteY100" fmla="*/ 977549 h 1081088"/>
                  <a:gd name="connsiteX101" fmla="*/ 110790 w 1135063"/>
                  <a:gd name="connsiteY101" fmla="*/ 559110 h 1081088"/>
                  <a:gd name="connsiteX102" fmla="*/ 140811 w 1135063"/>
                  <a:gd name="connsiteY102" fmla="*/ 398446 h 1081088"/>
                  <a:gd name="connsiteX103" fmla="*/ 137952 w 1135063"/>
                  <a:gd name="connsiteY103" fmla="*/ 397018 h 1081088"/>
                  <a:gd name="connsiteX104" fmla="*/ 715 w 1135063"/>
                  <a:gd name="connsiteY104" fmla="*/ 212790 h 1081088"/>
                  <a:gd name="connsiteX105" fmla="*/ 192275 w 1135063"/>
                  <a:gd name="connsiteY105" fmla="*/ 21422 h 1081088"/>
                  <a:gd name="connsiteX106" fmla="*/ 322364 w 1135063"/>
                  <a:gd name="connsiteY106" fmla="*/ 71406 h 1081088"/>
                  <a:gd name="connsiteX107" fmla="*/ 318075 w 1135063"/>
                  <a:gd name="connsiteY107" fmla="*/ 16424 h 1081088"/>
                  <a:gd name="connsiteX108" fmla="*/ 332371 w 1135063"/>
                  <a:gd name="connsiteY108" fmla="*/ 0 h 108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135063" h="1081088">
                    <a:moveTo>
                      <a:pt x="559594" y="141288"/>
                    </a:moveTo>
                    <a:cubicBezTo>
                      <a:pt x="448279" y="141288"/>
                      <a:pt x="344099" y="184906"/>
                      <a:pt x="264894" y="263562"/>
                    </a:cubicBezTo>
                    <a:cubicBezTo>
                      <a:pt x="186402" y="343648"/>
                      <a:pt x="142875" y="448046"/>
                      <a:pt x="142875" y="559595"/>
                    </a:cubicBezTo>
                    <a:cubicBezTo>
                      <a:pt x="142875" y="671143"/>
                      <a:pt x="186402" y="776971"/>
                      <a:pt x="264894" y="855627"/>
                    </a:cubicBezTo>
                    <a:cubicBezTo>
                      <a:pt x="344099" y="934998"/>
                      <a:pt x="448279" y="977901"/>
                      <a:pt x="559594" y="977901"/>
                    </a:cubicBezTo>
                    <a:cubicBezTo>
                      <a:pt x="670910" y="977901"/>
                      <a:pt x="775803" y="934998"/>
                      <a:pt x="854294" y="855627"/>
                    </a:cubicBezTo>
                    <a:cubicBezTo>
                      <a:pt x="933500" y="776971"/>
                      <a:pt x="976313" y="671143"/>
                      <a:pt x="976313" y="559595"/>
                    </a:cubicBezTo>
                    <a:cubicBezTo>
                      <a:pt x="976313" y="448046"/>
                      <a:pt x="933500" y="343648"/>
                      <a:pt x="854294" y="263562"/>
                    </a:cubicBezTo>
                    <a:cubicBezTo>
                      <a:pt x="775803" y="184906"/>
                      <a:pt x="670910" y="141288"/>
                      <a:pt x="559594" y="141288"/>
                    </a:cubicBezTo>
                    <a:close/>
                    <a:moveTo>
                      <a:pt x="332371" y="0"/>
                    </a:moveTo>
                    <a:cubicBezTo>
                      <a:pt x="333085" y="0"/>
                      <a:pt x="333085" y="0"/>
                      <a:pt x="333800" y="0"/>
                    </a:cubicBezTo>
                    <a:cubicBezTo>
                      <a:pt x="341663" y="0"/>
                      <a:pt x="348811" y="6427"/>
                      <a:pt x="349525" y="14281"/>
                    </a:cubicBezTo>
                    <a:cubicBezTo>
                      <a:pt x="349525" y="14281"/>
                      <a:pt x="349525" y="14281"/>
                      <a:pt x="356673" y="117820"/>
                    </a:cubicBezTo>
                    <a:cubicBezTo>
                      <a:pt x="356673" y="117820"/>
                      <a:pt x="356673" y="117820"/>
                      <a:pt x="356673" y="118534"/>
                    </a:cubicBezTo>
                    <a:cubicBezTo>
                      <a:pt x="356673" y="118534"/>
                      <a:pt x="356673" y="118534"/>
                      <a:pt x="356673" y="119248"/>
                    </a:cubicBezTo>
                    <a:cubicBezTo>
                      <a:pt x="356673" y="119248"/>
                      <a:pt x="356673" y="119248"/>
                      <a:pt x="356673" y="119962"/>
                    </a:cubicBezTo>
                    <a:cubicBezTo>
                      <a:pt x="356673" y="119962"/>
                      <a:pt x="356673" y="119962"/>
                      <a:pt x="356673" y="120676"/>
                    </a:cubicBezTo>
                    <a:cubicBezTo>
                      <a:pt x="356673" y="120676"/>
                      <a:pt x="356673" y="120676"/>
                      <a:pt x="356673" y="121390"/>
                    </a:cubicBezTo>
                    <a:cubicBezTo>
                      <a:pt x="356673" y="122105"/>
                      <a:pt x="356673" y="122105"/>
                      <a:pt x="356673" y="122105"/>
                    </a:cubicBezTo>
                    <a:cubicBezTo>
                      <a:pt x="356673" y="122819"/>
                      <a:pt x="356673" y="122819"/>
                      <a:pt x="356673" y="122819"/>
                    </a:cubicBezTo>
                    <a:cubicBezTo>
                      <a:pt x="355958" y="123533"/>
                      <a:pt x="355958" y="123533"/>
                      <a:pt x="355958" y="123533"/>
                    </a:cubicBezTo>
                    <a:cubicBezTo>
                      <a:pt x="355958" y="124247"/>
                      <a:pt x="355958" y="124247"/>
                      <a:pt x="355958" y="124247"/>
                    </a:cubicBezTo>
                    <a:cubicBezTo>
                      <a:pt x="355958" y="124961"/>
                      <a:pt x="355958" y="124961"/>
                      <a:pt x="355958" y="124961"/>
                    </a:cubicBezTo>
                    <a:cubicBezTo>
                      <a:pt x="355958" y="124961"/>
                      <a:pt x="355958" y="124961"/>
                      <a:pt x="355244" y="124961"/>
                    </a:cubicBezTo>
                    <a:cubicBezTo>
                      <a:pt x="355244" y="125675"/>
                      <a:pt x="355244" y="125675"/>
                      <a:pt x="355244" y="125675"/>
                    </a:cubicBezTo>
                    <a:cubicBezTo>
                      <a:pt x="355244" y="126389"/>
                      <a:pt x="355244" y="126389"/>
                      <a:pt x="355244" y="126389"/>
                    </a:cubicBezTo>
                    <a:cubicBezTo>
                      <a:pt x="354529" y="127103"/>
                      <a:pt x="354529" y="127103"/>
                      <a:pt x="354529" y="127103"/>
                    </a:cubicBezTo>
                    <a:cubicBezTo>
                      <a:pt x="354529" y="127103"/>
                      <a:pt x="354529" y="127103"/>
                      <a:pt x="354529" y="127817"/>
                    </a:cubicBezTo>
                    <a:cubicBezTo>
                      <a:pt x="354529" y="127817"/>
                      <a:pt x="354529" y="127817"/>
                      <a:pt x="353814" y="127817"/>
                    </a:cubicBezTo>
                    <a:cubicBezTo>
                      <a:pt x="353814" y="127817"/>
                      <a:pt x="353814" y="127817"/>
                      <a:pt x="353814" y="128531"/>
                    </a:cubicBezTo>
                    <a:cubicBezTo>
                      <a:pt x="353099" y="128531"/>
                      <a:pt x="353099" y="128531"/>
                      <a:pt x="353099" y="129245"/>
                    </a:cubicBezTo>
                    <a:cubicBezTo>
                      <a:pt x="353099" y="129245"/>
                      <a:pt x="353099" y="129245"/>
                      <a:pt x="352384" y="129245"/>
                    </a:cubicBezTo>
                    <a:cubicBezTo>
                      <a:pt x="352384" y="129959"/>
                      <a:pt x="352384" y="129959"/>
                      <a:pt x="352384" y="129959"/>
                    </a:cubicBezTo>
                    <a:cubicBezTo>
                      <a:pt x="351670" y="129959"/>
                      <a:pt x="351670" y="130673"/>
                      <a:pt x="351670" y="130673"/>
                    </a:cubicBezTo>
                    <a:cubicBezTo>
                      <a:pt x="351670" y="130673"/>
                      <a:pt x="350955" y="130673"/>
                      <a:pt x="350955" y="131387"/>
                    </a:cubicBezTo>
                    <a:cubicBezTo>
                      <a:pt x="350955" y="131387"/>
                      <a:pt x="350955" y="131387"/>
                      <a:pt x="350240" y="131387"/>
                    </a:cubicBezTo>
                    <a:cubicBezTo>
                      <a:pt x="350240" y="131387"/>
                      <a:pt x="350240" y="132101"/>
                      <a:pt x="349525" y="132101"/>
                    </a:cubicBezTo>
                    <a:cubicBezTo>
                      <a:pt x="349525" y="132101"/>
                      <a:pt x="349525" y="132101"/>
                      <a:pt x="348811" y="132101"/>
                    </a:cubicBezTo>
                    <a:cubicBezTo>
                      <a:pt x="348811" y="132815"/>
                      <a:pt x="348811" y="132815"/>
                      <a:pt x="348096" y="132815"/>
                    </a:cubicBezTo>
                    <a:cubicBezTo>
                      <a:pt x="347381" y="132815"/>
                      <a:pt x="347381" y="133529"/>
                      <a:pt x="347381" y="133529"/>
                    </a:cubicBezTo>
                    <a:cubicBezTo>
                      <a:pt x="346666" y="133529"/>
                      <a:pt x="346666" y="133529"/>
                      <a:pt x="346666" y="133529"/>
                    </a:cubicBezTo>
                    <a:cubicBezTo>
                      <a:pt x="345951" y="133529"/>
                      <a:pt x="345951" y="133529"/>
                      <a:pt x="345237" y="133529"/>
                    </a:cubicBezTo>
                    <a:cubicBezTo>
                      <a:pt x="345237" y="134244"/>
                      <a:pt x="345237" y="134244"/>
                      <a:pt x="345237" y="134244"/>
                    </a:cubicBezTo>
                    <a:cubicBezTo>
                      <a:pt x="344522" y="134244"/>
                      <a:pt x="344522" y="134244"/>
                      <a:pt x="343807" y="134244"/>
                    </a:cubicBezTo>
                    <a:cubicBezTo>
                      <a:pt x="343092" y="134244"/>
                      <a:pt x="343092" y="134244"/>
                      <a:pt x="342378" y="134244"/>
                    </a:cubicBezTo>
                    <a:cubicBezTo>
                      <a:pt x="342378" y="134244"/>
                      <a:pt x="342378" y="134244"/>
                      <a:pt x="247312" y="142098"/>
                    </a:cubicBezTo>
                    <a:cubicBezTo>
                      <a:pt x="246598" y="142098"/>
                      <a:pt x="246598" y="142098"/>
                      <a:pt x="245883" y="142098"/>
                    </a:cubicBezTo>
                    <a:cubicBezTo>
                      <a:pt x="238020" y="142098"/>
                      <a:pt x="230873" y="135672"/>
                      <a:pt x="230158" y="127817"/>
                    </a:cubicBezTo>
                    <a:cubicBezTo>
                      <a:pt x="229443" y="118534"/>
                      <a:pt x="235876" y="111394"/>
                      <a:pt x="244453" y="110680"/>
                    </a:cubicBezTo>
                    <a:cubicBezTo>
                      <a:pt x="244453" y="110680"/>
                      <a:pt x="244453" y="110680"/>
                      <a:pt x="311642" y="105681"/>
                    </a:cubicBezTo>
                    <a:cubicBezTo>
                      <a:pt x="280907" y="72120"/>
                      <a:pt x="238735" y="52841"/>
                      <a:pt x="192275" y="52841"/>
                    </a:cubicBezTo>
                    <a:cubicBezTo>
                      <a:pt x="104357" y="52841"/>
                      <a:pt x="32165" y="124961"/>
                      <a:pt x="32165" y="212790"/>
                    </a:cubicBezTo>
                    <a:cubicBezTo>
                      <a:pt x="32165" y="283482"/>
                      <a:pt x="79340" y="347034"/>
                      <a:pt x="146529" y="367027"/>
                    </a:cubicBezTo>
                    <a:cubicBezTo>
                      <a:pt x="147959" y="367741"/>
                      <a:pt x="150818" y="368455"/>
                      <a:pt x="153677" y="369170"/>
                    </a:cubicBezTo>
                    <a:cubicBezTo>
                      <a:pt x="225154" y="215646"/>
                      <a:pt x="380261" y="109965"/>
                      <a:pt x="559669" y="109965"/>
                    </a:cubicBezTo>
                    <a:cubicBezTo>
                      <a:pt x="807696" y="109965"/>
                      <a:pt x="1008548" y="310617"/>
                      <a:pt x="1008548" y="559110"/>
                    </a:cubicBezTo>
                    <a:cubicBezTo>
                      <a:pt x="1008548" y="749764"/>
                      <a:pt x="891325" y="911856"/>
                      <a:pt x="724782" y="977549"/>
                    </a:cubicBezTo>
                    <a:cubicBezTo>
                      <a:pt x="724782" y="977549"/>
                      <a:pt x="724782" y="977549"/>
                      <a:pt x="725497" y="977549"/>
                    </a:cubicBezTo>
                    <a:cubicBezTo>
                      <a:pt x="725497" y="977549"/>
                      <a:pt x="725497" y="977549"/>
                      <a:pt x="1083599" y="977549"/>
                    </a:cubicBezTo>
                    <a:cubicBezTo>
                      <a:pt x="1083599" y="977549"/>
                      <a:pt x="1083599" y="977549"/>
                      <a:pt x="1041428" y="931135"/>
                    </a:cubicBezTo>
                    <a:cubicBezTo>
                      <a:pt x="1035709" y="924709"/>
                      <a:pt x="1036424" y="914712"/>
                      <a:pt x="1042857" y="909000"/>
                    </a:cubicBezTo>
                    <a:cubicBezTo>
                      <a:pt x="1045716" y="906143"/>
                      <a:pt x="1049290" y="904715"/>
                      <a:pt x="1052864" y="904715"/>
                    </a:cubicBezTo>
                    <a:cubicBezTo>
                      <a:pt x="1057153" y="904715"/>
                      <a:pt x="1061441" y="906857"/>
                      <a:pt x="1065015" y="909714"/>
                    </a:cubicBezTo>
                    <a:cubicBezTo>
                      <a:pt x="1065015" y="909714"/>
                      <a:pt x="1065015" y="909714"/>
                      <a:pt x="1130775" y="982548"/>
                    </a:cubicBezTo>
                    <a:cubicBezTo>
                      <a:pt x="1131489" y="983262"/>
                      <a:pt x="1131489" y="983262"/>
                      <a:pt x="1131489" y="983976"/>
                    </a:cubicBezTo>
                    <a:cubicBezTo>
                      <a:pt x="1131489" y="983976"/>
                      <a:pt x="1131489" y="983976"/>
                      <a:pt x="1132204" y="983976"/>
                    </a:cubicBezTo>
                    <a:cubicBezTo>
                      <a:pt x="1132204" y="983976"/>
                      <a:pt x="1132204" y="983976"/>
                      <a:pt x="1132204" y="984690"/>
                    </a:cubicBezTo>
                    <a:cubicBezTo>
                      <a:pt x="1132919" y="984690"/>
                      <a:pt x="1132919" y="985404"/>
                      <a:pt x="1132919" y="985404"/>
                    </a:cubicBezTo>
                    <a:cubicBezTo>
                      <a:pt x="1132919" y="985404"/>
                      <a:pt x="1132919" y="986118"/>
                      <a:pt x="1133634" y="986118"/>
                    </a:cubicBezTo>
                    <a:cubicBezTo>
                      <a:pt x="1133634" y="986118"/>
                      <a:pt x="1133634" y="986118"/>
                      <a:pt x="1133634" y="986832"/>
                    </a:cubicBezTo>
                    <a:cubicBezTo>
                      <a:pt x="1133634" y="986832"/>
                      <a:pt x="1133634" y="986832"/>
                      <a:pt x="1133634" y="987546"/>
                    </a:cubicBezTo>
                    <a:cubicBezTo>
                      <a:pt x="1133634" y="987546"/>
                      <a:pt x="1133634" y="987546"/>
                      <a:pt x="1134348" y="988260"/>
                    </a:cubicBezTo>
                    <a:cubicBezTo>
                      <a:pt x="1134348" y="988260"/>
                      <a:pt x="1134348" y="988260"/>
                      <a:pt x="1134348" y="988974"/>
                    </a:cubicBezTo>
                    <a:cubicBezTo>
                      <a:pt x="1134348" y="988974"/>
                      <a:pt x="1134348" y="988974"/>
                      <a:pt x="1134348" y="989688"/>
                    </a:cubicBezTo>
                    <a:cubicBezTo>
                      <a:pt x="1134348" y="989688"/>
                      <a:pt x="1134348" y="989688"/>
                      <a:pt x="1134348" y="990402"/>
                    </a:cubicBezTo>
                    <a:cubicBezTo>
                      <a:pt x="1134348" y="990402"/>
                      <a:pt x="1134348" y="991116"/>
                      <a:pt x="1135063" y="991116"/>
                    </a:cubicBezTo>
                    <a:cubicBezTo>
                      <a:pt x="1135063" y="991116"/>
                      <a:pt x="1135063" y="991116"/>
                      <a:pt x="1135063" y="991831"/>
                    </a:cubicBezTo>
                    <a:cubicBezTo>
                      <a:pt x="1135063" y="992545"/>
                      <a:pt x="1135063" y="992545"/>
                      <a:pt x="1135063" y="992545"/>
                    </a:cubicBezTo>
                    <a:cubicBezTo>
                      <a:pt x="1135063" y="992545"/>
                      <a:pt x="1135063" y="992545"/>
                      <a:pt x="1135063" y="993259"/>
                    </a:cubicBezTo>
                    <a:cubicBezTo>
                      <a:pt x="1135063" y="993973"/>
                      <a:pt x="1135063" y="993973"/>
                      <a:pt x="1135063" y="993973"/>
                    </a:cubicBezTo>
                    <a:cubicBezTo>
                      <a:pt x="1135063" y="994687"/>
                      <a:pt x="1135063" y="994687"/>
                      <a:pt x="1135063" y="995401"/>
                    </a:cubicBezTo>
                    <a:cubicBezTo>
                      <a:pt x="1134348" y="995401"/>
                      <a:pt x="1134348" y="995401"/>
                      <a:pt x="1134348" y="995401"/>
                    </a:cubicBezTo>
                    <a:cubicBezTo>
                      <a:pt x="1134348" y="996115"/>
                      <a:pt x="1134348" y="996115"/>
                      <a:pt x="1134348" y="996829"/>
                    </a:cubicBezTo>
                    <a:cubicBezTo>
                      <a:pt x="1134348" y="997543"/>
                      <a:pt x="1134348" y="997543"/>
                      <a:pt x="1134348" y="998257"/>
                    </a:cubicBezTo>
                    <a:cubicBezTo>
                      <a:pt x="1133634" y="998257"/>
                      <a:pt x="1133634" y="998257"/>
                      <a:pt x="1133634" y="998257"/>
                    </a:cubicBezTo>
                    <a:cubicBezTo>
                      <a:pt x="1133634" y="998971"/>
                      <a:pt x="1133634" y="998971"/>
                      <a:pt x="1133634" y="999685"/>
                    </a:cubicBezTo>
                    <a:cubicBezTo>
                      <a:pt x="1132919" y="1000399"/>
                      <a:pt x="1132919" y="1000399"/>
                      <a:pt x="1132919" y="1001113"/>
                    </a:cubicBezTo>
                    <a:cubicBezTo>
                      <a:pt x="1132919" y="1001113"/>
                      <a:pt x="1132919" y="1001113"/>
                      <a:pt x="1132204" y="1001113"/>
                    </a:cubicBezTo>
                    <a:cubicBezTo>
                      <a:pt x="1132204" y="1001827"/>
                      <a:pt x="1132204" y="1001827"/>
                      <a:pt x="1132204" y="1001827"/>
                    </a:cubicBezTo>
                    <a:cubicBezTo>
                      <a:pt x="1132204" y="1002541"/>
                      <a:pt x="1131489" y="1002541"/>
                      <a:pt x="1131489" y="1002541"/>
                    </a:cubicBezTo>
                    <a:cubicBezTo>
                      <a:pt x="1131489" y="1002541"/>
                      <a:pt x="1131489" y="1003256"/>
                      <a:pt x="1130775" y="1003256"/>
                    </a:cubicBezTo>
                    <a:cubicBezTo>
                      <a:pt x="1130775" y="1003256"/>
                      <a:pt x="1130775" y="1003256"/>
                      <a:pt x="1130775" y="1003970"/>
                    </a:cubicBezTo>
                    <a:cubicBezTo>
                      <a:pt x="1130775" y="1003970"/>
                      <a:pt x="1130775" y="1003970"/>
                      <a:pt x="1065015" y="1076090"/>
                    </a:cubicBezTo>
                    <a:cubicBezTo>
                      <a:pt x="1061441" y="1079660"/>
                      <a:pt x="1057153" y="1081088"/>
                      <a:pt x="1052864" y="1081088"/>
                    </a:cubicBezTo>
                    <a:cubicBezTo>
                      <a:pt x="1049290" y="1081088"/>
                      <a:pt x="1045716" y="1079660"/>
                      <a:pt x="1042857" y="1076804"/>
                    </a:cubicBezTo>
                    <a:cubicBezTo>
                      <a:pt x="1036424" y="1071091"/>
                      <a:pt x="1035709" y="1061094"/>
                      <a:pt x="1041428" y="1054668"/>
                    </a:cubicBezTo>
                    <a:cubicBezTo>
                      <a:pt x="1041428" y="1054668"/>
                      <a:pt x="1041428" y="1054668"/>
                      <a:pt x="1083599" y="1008968"/>
                    </a:cubicBezTo>
                    <a:cubicBezTo>
                      <a:pt x="1083599" y="1008968"/>
                      <a:pt x="1083599" y="1008968"/>
                      <a:pt x="15725" y="1008968"/>
                    </a:cubicBezTo>
                    <a:cubicBezTo>
                      <a:pt x="7148" y="1008968"/>
                      <a:pt x="0" y="1001827"/>
                      <a:pt x="0" y="993259"/>
                    </a:cubicBezTo>
                    <a:cubicBezTo>
                      <a:pt x="0" y="984690"/>
                      <a:pt x="7148" y="977549"/>
                      <a:pt x="15725" y="977549"/>
                    </a:cubicBezTo>
                    <a:cubicBezTo>
                      <a:pt x="15725" y="977549"/>
                      <a:pt x="15725" y="977549"/>
                      <a:pt x="395271" y="977549"/>
                    </a:cubicBezTo>
                    <a:cubicBezTo>
                      <a:pt x="228728" y="911856"/>
                      <a:pt x="110790" y="749764"/>
                      <a:pt x="110790" y="559110"/>
                    </a:cubicBezTo>
                    <a:cubicBezTo>
                      <a:pt x="110790" y="502699"/>
                      <a:pt x="121512" y="448430"/>
                      <a:pt x="140811" y="398446"/>
                    </a:cubicBezTo>
                    <a:cubicBezTo>
                      <a:pt x="139381" y="397732"/>
                      <a:pt x="138667" y="397018"/>
                      <a:pt x="137952" y="397018"/>
                    </a:cubicBezTo>
                    <a:cubicBezTo>
                      <a:pt x="57182" y="373454"/>
                      <a:pt x="715" y="297049"/>
                      <a:pt x="715" y="212790"/>
                    </a:cubicBezTo>
                    <a:cubicBezTo>
                      <a:pt x="715" y="107109"/>
                      <a:pt x="87203" y="21422"/>
                      <a:pt x="192275" y="21422"/>
                    </a:cubicBezTo>
                    <a:cubicBezTo>
                      <a:pt x="241594" y="21422"/>
                      <a:pt x="287340" y="39273"/>
                      <a:pt x="322364" y="71406"/>
                    </a:cubicBezTo>
                    <a:cubicBezTo>
                      <a:pt x="322364" y="71406"/>
                      <a:pt x="322364" y="71406"/>
                      <a:pt x="318075" y="16424"/>
                    </a:cubicBezTo>
                    <a:cubicBezTo>
                      <a:pt x="317360" y="7855"/>
                      <a:pt x="323793" y="714"/>
                      <a:pt x="332371" y="0"/>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9" name="Freeform 6">
                <a:extLst>
                  <a:ext uri="{FF2B5EF4-FFF2-40B4-BE49-F238E27FC236}">
                    <a16:creationId xmlns:a16="http://schemas.microsoft.com/office/drawing/2014/main" id="{9C6A4AEE-15DB-48D3-A6D1-2E2D86E9D595}"/>
                  </a:ext>
                </a:extLst>
              </p:cNvPr>
              <p:cNvSpPr>
                <a:spLocks/>
              </p:cNvSpPr>
              <p:nvPr/>
            </p:nvSpPr>
            <p:spPr bwMode="auto">
              <a:xfrm>
                <a:off x="5468938" y="2735263"/>
                <a:ext cx="1260475" cy="1204913"/>
              </a:xfrm>
              <a:custGeom>
                <a:avLst/>
                <a:gdLst>
                  <a:gd name="connsiteX0" fmla="*/ 229849 w 1260475"/>
                  <a:gd name="connsiteY0" fmla="*/ 180975 h 1204913"/>
                  <a:gd name="connsiteX1" fmla="*/ 157162 w 1260475"/>
                  <a:gd name="connsiteY1" fmla="*/ 275004 h 1204913"/>
                  <a:gd name="connsiteX2" fmla="*/ 189547 w 1260475"/>
                  <a:gd name="connsiteY2" fmla="*/ 347663 h 1204913"/>
                  <a:gd name="connsiteX3" fmla="*/ 265112 w 1260475"/>
                  <a:gd name="connsiteY3" fmla="*/ 254346 h 1204913"/>
                  <a:gd name="connsiteX4" fmla="*/ 229849 w 1260475"/>
                  <a:gd name="connsiteY4" fmla="*/ 194510 h 1204913"/>
                  <a:gd name="connsiteX5" fmla="*/ 229849 w 1260475"/>
                  <a:gd name="connsiteY5" fmla="*/ 180975 h 1204913"/>
                  <a:gd name="connsiteX6" fmla="*/ 254252 w 1260475"/>
                  <a:gd name="connsiteY6" fmla="*/ 146050 h 1204913"/>
                  <a:gd name="connsiteX7" fmla="*/ 275579 w 1260475"/>
                  <a:gd name="connsiteY7" fmla="*/ 147481 h 1204913"/>
                  <a:gd name="connsiteX8" fmla="*/ 281266 w 1260475"/>
                  <a:gd name="connsiteY8" fmla="*/ 148911 h 1204913"/>
                  <a:gd name="connsiteX9" fmla="*/ 262072 w 1260475"/>
                  <a:gd name="connsiteY9" fmla="*/ 177523 h 1204913"/>
                  <a:gd name="connsiteX10" fmla="*/ 260650 w 1260475"/>
                  <a:gd name="connsiteY10" fmla="*/ 191829 h 1204913"/>
                  <a:gd name="connsiteX11" fmla="*/ 265626 w 1260475"/>
                  <a:gd name="connsiteY11" fmla="*/ 208281 h 1204913"/>
                  <a:gd name="connsiteX12" fmla="*/ 267759 w 1260475"/>
                  <a:gd name="connsiteY12" fmla="*/ 213288 h 1204913"/>
                  <a:gd name="connsiteX13" fmla="*/ 278422 w 1260475"/>
                  <a:gd name="connsiteY13" fmla="*/ 224733 h 1204913"/>
                  <a:gd name="connsiteX14" fmla="*/ 280555 w 1260475"/>
                  <a:gd name="connsiteY14" fmla="*/ 226879 h 1204913"/>
                  <a:gd name="connsiteX15" fmla="*/ 283399 w 1260475"/>
                  <a:gd name="connsiteY15" fmla="*/ 228310 h 1204913"/>
                  <a:gd name="connsiteX16" fmla="*/ 288375 w 1260475"/>
                  <a:gd name="connsiteY16" fmla="*/ 231171 h 1204913"/>
                  <a:gd name="connsiteX17" fmla="*/ 291930 w 1260475"/>
                  <a:gd name="connsiteY17" fmla="*/ 232601 h 1204913"/>
                  <a:gd name="connsiteX18" fmla="*/ 299039 w 1260475"/>
                  <a:gd name="connsiteY18" fmla="*/ 234747 h 1204913"/>
                  <a:gd name="connsiteX19" fmla="*/ 307569 w 1260475"/>
                  <a:gd name="connsiteY19" fmla="*/ 235463 h 1204913"/>
                  <a:gd name="connsiteX20" fmla="*/ 311124 w 1260475"/>
                  <a:gd name="connsiteY20" fmla="*/ 235463 h 1204913"/>
                  <a:gd name="connsiteX21" fmla="*/ 311835 w 1260475"/>
                  <a:gd name="connsiteY21" fmla="*/ 235463 h 1204913"/>
                  <a:gd name="connsiteX22" fmla="*/ 338138 w 1260475"/>
                  <a:gd name="connsiteY22" fmla="*/ 233317 h 1204913"/>
                  <a:gd name="connsiteX23" fmla="*/ 316100 w 1260475"/>
                  <a:gd name="connsiteY23" fmla="*/ 250484 h 1204913"/>
                  <a:gd name="connsiteX24" fmla="*/ 286953 w 1260475"/>
                  <a:gd name="connsiteY24" fmla="*/ 276235 h 1204913"/>
                  <a:gd name="connsiteX25" fmla="*/ 259939 w 1260475"/>
                  <a:gd name="connsiteY25" fmla="*/ 304847 h 1204913"/>
                  <a:gd name="connsiteX26" fmla="*/ 251408 w 1260475"/>
                  <a:gd name="connsiteY26" fmla="*/ 314861 h 1204913"/>
                  <a:gd name="connsiteX27" fmla="*/ 249986 w 1260475"/>
                  <a:gd name="connsiteY27" fmla="*/ 317007 h 1204913"/>
                  <a:gd name="connsiteX28" fmla="*/ 243588 w 1260475"/>
                  <a:gd name="connsiteY28" fmla="*/ 324875 h 1204913"/>
                  <a:gd name="connsiteX29" fmla="*/ 242166 w 1260475"/>
                  <a:gd name="connsiteY29" fmla="*/ 326306 h 1204913"/>
                  <a:gd name="connsiteX30" fmla="*/ 227948 w 1260475"/>
                  <a:gd name="connsiteY30" fmla="*/ 347049 h 1204913"/>
                  <a:gd name="connsiteX31" fmla="*/ 200934 w 1260475"/>
                  <a:gd name="connsiteY31" fmla="*/ 392113 h 1204913"/>
                  <a:gd name="connsiteX32" fmla="*/ 134109 w 1260475"/>
                  <a:gd name="connsiteY32" fmla="*/ 315576 h 1204913"/>
                  <a:gd name="connsiteX33" fmla="*/ 133398 w 1260475"/>
                  <a:gd name="connsiteY33" fmla="*/ 314145 h 1204913"/>
                  <a:gd name="connsiteX34" fmla="*/ 132687 w 1260475"/>
                  <a:gd name="connsiteY34" fmla="*/ 311284 h 1204913"/>
                  <a:gd name="connsiteX35" fmla="*/ 131977 w 1260475"/>
                  <a:gd name="connsiteY35" fmla="*/ 309854 h 1204913"/>
                  <a:gd name="connsiteX36" fmla="*/ 131266 w 1260475"/>
                  <a:gd name="connsiteY36" fmla="*/ 306993 h 1204913"/>
                  <a:gd name="connsiteX37" fmla="*/ 130555 w 1260475"/>
                  <a:gd name="connsiteY37" fmla="*/ 303416 h 1204913"/>
                  <a:gd name="connsiteX38" fmla="*/ 129844 w 1260475"/>
                  <a:gd name="connsiteY38" fmla="*/ 302701 h 1204913"/>
                  <a:gd name="connsiteX39" fmla="*/ 129133 w 1260475"/>
                  <a:gd name="connsiteY39" fmla="*/ 298409 h 1204913"/>
                  <a:gd name="connsiteX40" fmla="*/ 129133 w 1260475"/>
                  <a:gd name="connsiteY40" fmla="*/ 297694 h 1204913"/>
                  <a:gd name="connsiteX41" fmla="*/ 128422 w 1260475"/>
                  <a:gd name="connsiteY41" fmla="*/ 294117 h 1204913"/>
                  <a:gd name="connsiteX42" fmla="*/ 128422 w 1260475"/>
                  <a:gd name="connsiteY42" fmla="*/ 293402 h 1204913"/>
                  <a:gd name="connsiteX43" fmla="*/ 127711 w 1260475"/>
                  <a:gd name="connsiteY43" fmla="*/ 284818 h 1204913"/>
                  <a:gd name="connsiteX44" fmla="*/ 127711 w 1260475"/>
                  <a:gd name="connsiteY44" fmla="*/ 284103 h 1204913"/>
                  <a:gd name="connsiteX45" fmla="*/ 127000 w 1260475"/>
                  <a:gd name="connsiteY45" fmla="*/ 274804 h 1204913"/>
                  <a:gd name="connsiteX46" fmla="*/ 129133 w 1260475"/>
                  <a:gd name="connsiteY46" fmla="*/ 253345 h 1204913"/>
                  <a:gd name="connsiteX47" fmla="*/ 131266 w 1260475"/>
                  <a:gd name="connsiteY47" fmla="*/ 241900 h 1204913"/>
                  <a:gd name="connsiteX48" fmla="*/ 166811 w 1260475"/>
                  <a:gd name="connsiteY48" fmla="*/ 181815 h 1204913"/>
                  <a:gd name="connsiteX49" fmla="*/ 185294 w 1260475"/>
                  <a:gd name="connsiteY49" fmla="*/ 166794 h 1204913"/>
                  <a:gd name="connsiteX50" fmla="*/ 198801 w 1260475"/>
                  <a:gd name="connsiteY50" fmla="*/ 158926 h 1204913"/>
                  <a:gd name="connsiteX51" fmla="*/ 213019 w 1260475"/>
                  <a:gd name="connsiteY51" fmla="*/ 153203 h 1204913"/>
                  <a:gd name="connsiteX52" fmla="*/ 220839 w 1260475"/>
                  <a:gd name="connsiteY52" fmla="*/ 150342 h 1204913"/>
                  <a:gd name="connsiteX53" fmla="*/ 228659 w 1260475"/>
                  <a:gd name="connsiteY53" fmla="*/ 148911 h 1204913"/>
                  <a:gd name="connsiteX54" fmla="*/ 254252 w 1260475"/>
                  <a:gd name="connsiteY54" fmla="*/ 146050 h 1204913"/>
                  <a:gd name="connsiteX55" fmla="*/ 393128 w 1260475"/>
                  <a:gd name="connsiteY55" fmla="*/ 31750 h 1204913"/>
                  <a:gd name="connsiteX56" fmla="*/ 367417 w 1260475"/>
                  <a:gd name="connsiteY56" fmla="*/ 41750 h 1204913"/>
                  <a:gd name="connsiteX57" fmla="*/ 363847 w 1260475"/>
                  <a:gd name="connsiteY57" fmla="*/ 44607 h 1204913"/>
                  <a:gd name="connsiteX58" fmla="*/ 360990 w 1260475"/>
                  <a:gd name="connsiteY58" fmla="*/ 48178 h 1204913"/>
                  <a:gd name="connsiteX59" fmla="*/ 351705 w 1260475"/>
                  <a:gd name="connsiteY59" fmla="*/ 63178 h 1204913"/>
                  <a:gd name="connsiteX60" fmla="*/ 350991 w 1260475"/>
                  <a:gd name="connsiteY60" fmla="*/ 68178 h 1204913"/>
                  <a:gd name="connsiteX61" fmla="*/ 349563 w 1260475"/>
                  <a:gd name="connsiteY61" fmla="*/ 73892 h 1204913"/>
                  <a:gd name="connsiteX62" fmla="*/ 344564 w 1260475"/>
                  <a:gd name="connsiteY62" fmla="*/ 71750 h 1204913"/>
                  <a:gd name="connsiteX63" fmla="*/ 261718 w 1260475"/>
                  <a:gd name="connsiteY63" fmla="*/ 53178 h 1204913"/>
                  <a:gd name="connsiteX64" fmla="*/ 255290 w 1260475"/>
                  <a:gd name="connsiteY64" fmla="*/ 53178 h 1204913"/>
                  <a:gd name="connsiteX65" fmla="*/ 221724 w 1260475"/>
                  <a:gd name="connsiteY65" fmla="*/ 56036 h 1204913"/>
                  <a:gd name="connsiteX66" fmla="*/ 192442 w 1260475"/>
                  <a:gd name="connsiteY66" fmla="*/ 62464 h 1204913"/>
                  <a:gd name="connsiteX67" fmla="*/ 176016 w 1260475"/>
                  <a:gd name="connsiteY67" fmla="*/ 68178 h 1204913"/>
                  <a:gd name="connsiteX68" fmla="*/ 168874 w 1260475"/>
                  <a:gd name="connsiteY68" fmla="*/ 71035 h 1204913"/>
                  <a:gd name="connsiteX69" fmla="*/ 147448 w 1260475"/>
                  <a:gd name="connsiteY69" fmla="*/ 81035 h 1204913"/>
                  <a:gd name="connsiteX70" fmla="*/ 91028 w 1260475"/>
                  <a:gd name="connsiteY70" fmla="*/ 126035 h 1204913"/>
                  <a:gd name="connsiteX71" fmla="*/ 75316 w 1260475"/>
                  <a:gd name="connsiteY71" fmla="*/ 145320 h 1204913"/>
                  <a:gd name="connsiteX72" fmla="*/ 43891 w 1260475"/>
                  <a:gd name="connsiteY72" fmla="*/ 206748 h 1204913"/>
                  <a:gd name="connsiteX73" fmla="*/ 41035 w 1260475"/>
                  <a:gd name="connsiteY73" fmla="*/ 214605 h 1204913"/>
                  <a:gd name="connsiteX74" fmla="*/ 33893 w 1260475"/>
                  <a:gd name="connsiteY74" fmla="*/ 253176 h 1204913"/>
                  <a:gd name="connsiteX75" fmla="*/ 32464 w 1260475"/>
                  <a:gd name="connsiteY75" fmla="*/ 276033 h 1204913"/>
                  <a:gd name="connsiteX76" fmla="*/ 32464 w 1260475"/>
                  <a:gd name="connsiteY76" fmla="*/ 284604 h 1204913"/>
                  <a:gd name="connsiteX77" fmla="*/ 33179 w 1260475"/>
                  <a:gd name="connsiteY77" fmla="*/ 289604 h 1204913"/>
                  <a:gd name="connsiteX78" fmla="*/ 33179 w 1260475"/>
                  <a:gd name="connsiteY78" fmla="*/ 292461 h 1204913"/>
                  <a:gd name="connsiteX79" fmla="*/ 33893 w 1260475"/>
                  <a:gd name="connsiteY79" fmla="*/ 297461 h 1204913"/>
                  <a:gd name="connsiteX80" fmla="*/ 33893 w 1260475"/>
                  <a:gd name="connsiteY80" fmla="*/ 300318 h 1204913"/>
                  <a:gd name="connsiteX81" fmla="*/ 34607 w 1260475"/>
                  <a:gd name="connsiteY81" fmla="*/ 305318 h 1204913"/>
                  <a:gd name="connsiteX82" fmla="*/ 35321 w 1260475"/>
                  <a:gd name="connsiteY82" fmla="*/ 308889 h 1204913"/>
                  <a:gd name="connsiteX83" fmla="*/ 36035 w 1260475"/>
                  <a:gd name="connsiteY83" fmla="*/ 315318 h 1204913"/>
                  <a:gd name="connsiteX84" fmla="*/ 36035 w 1260475"/>
                  <a:gd name="connsiteY84" fmla="*/ 316746 h 1204913"/>
                  <a:gd name="connsiteX85" fmla="*/ 163875 w 1260475"/>
                  <a:gd name="connsiteY85" fmla="*/ 478887 h 1204913"/>
                  <a:gd name="connsiteX86" fmla="*/ 154590 w 1260475"/>
                  <a:gd name="connsiteY86" fmla="*/ 514601 h 1204913"/>
                  <a:gd name="connsiteX87" fmla="*/ 142449 w 1260475"/>
                  <a:gd name="connsiteY87" fmla="*/ 621028 h 1204913"/>
                  <a:gd name="connsiteX88" fmla="*/ 142449 w 1260475"/>
                  <a:gd name="connsiteY88" fmla="*/ 630313 h 1204913"/>
                  <a:gd name="connsiteX89" fmla="*/ 149591 w 1260475"/>
                  <a:gd name="connsiteY89" fmla="*/ 701741 h 1204913"/>
                  <a:gd name="connsiteX90" fmla="*/ 151019 w 1260475"/>
                  <a:gd name="connsiteY90" fmla="*/ 711741 h 1204913"/>
                  <a:gd name="connsiteX91" fmla="*/ 156733 w 1260475"/>
                  <a:gd name="connsiteY91" fmla="*/ 738169 h 1204913"/>
                  <a:gd name="connsiteX92" fmla="*/ 164589 w 1260475"/>
                  <a:gd name="connsiteY92" fmla="*/ 764597 h 1204913"/>
                  <a:gd name="connsiteX93" fmla="*/ 166731 w 1260475"/>
                  <a:gd name="connsiteY93" fmla="*/ 773169 h 1204913"/>
                  <a:gd name="connsiteX94" fmla="*/ 173159 w 1260475"/>
                  <a:gd name="connsiteY94" fmla="*/ 790311 h 1204913"/>
                  <a:gd name="connsiteX95" fmla="*/ 179587 w 1260475"/>
                  <a:gd name="connsiteY95" fmla="*/ 806740 h 1204913"/>
                  <a:gd name="connsiteX96" fmla="*/ 187443 w 1260475"/>
                  <a:gd name="connsiteY96" fmla="*/ 823168 h 1204913"/>
                  <a:gd name="connsiteX97" fmla="*/ 199584 w 1260475"/>
                  <a:gd name="connsiteY97" fmla="*/ 846739 h 1204913"/>
                  <a:gd name="connsiteX98" fmla="*/ 203869 w 1260475"/>
                  <a:gd name="connsiteY98" fmla="*/ 855310 h 1204913"/>
                  <a:gd name="connsiteX99" fmla="*/ 209582 w 1260475"/>
                  <a:gd name="connsiteY99" fmla="*/ 864596 h 1204913"/>
                  <a:gd name="connsiteX100" fmla="*/ 218153 w 1260475"/>
                  <a:gd name="connsiteY100" fmla="*/ 879596 h 1204913"/>
                  <a:gd name="connsiteX101" fmla="*/ 228151 w 1260475"/>
                  <a:gd name="connsiteY101" fmla="*/ 893881 h 1204913"/>
                  <a:gd name="connsiteX102" fmla="*/ 236721 w 1260475"/>
                  <a:gd name="connsiteY102" fmla="*/ 905310 h 1204913"/>
                  <a:gd name="connsiteX103" fmla="*/ 336707 w 1260475"/>
                  <a:gd name="connsiteY103" fmla="*/ 1006737 h 1204913"/>
                  <a:gd name="connsiteX104" fmla="*/ 78886 w 1260475"/>
                  <a:gd name="connsiteY104" fmla="*/ 1006737 h 1204913"/>
                  <a:gd name="connsiteX105" fmla="*/ 69602 w 1260475"/>
                  <a:gd name="connsiteY105" fmla="*/ 1007451 h 1204913"/>
                  <a:gd name="connsiteX106" fmla="*/ 61746 w 1260475"/>
                  <a:gd name="connsiteY106" fmla="*/ 1009594 h 1204913"/>
                  <a:gd name="connsiteX107" fmla="*/ 31750 w 1260475"/>
                  <a:gd name="connsiteY107" fmla="*/ 1053879 h 1204913"/>
                  <a:gd name="connsiteX108" fmla="*/ 61746 w 1260475"/>
                  <a:gd name="connsiteY108" fmla="*/ 1097450 h 1204913"/>
                  <a:gd name="connsiteX109" fmla="*/ 69602 w 1260475"/>
                  <a:gd name="connsiteY109" fmla="*/ 1099593 h 1204913"/>
                  <a:gd name="connsiteX110" fmla="*/ 78886 w 1260475"/>
                  <a:gd name="connsiteY110" fmla="*/ 1101021 h 1204913"/>
                  <a:gd name="connsiteX111" fmla="*/ 1075890 w 1260475"/>
                  <a:gd name="connsiteY111" fmla="*/ 1101021 h 1204913"/>
                  <a:gd name="connsiteX112" fmla="*/ 1083746 w 1260475"/>
                  <a:gd name="connsiteY112" fmla="*/ 1161020 h 1204913"/>
                  <a:gd name="connsiteX113" fmla="*/ 1110885 w 1260475"/>
                  <a:gd name="connsiteY113" fmla="*/ 1173163 h 1204913"/>
                  <a:gd name="connsiteX114" fmla="*/ 1115170 w 1260475"/>
                  <a:gd name="connsiteY114" fmla="*/ 1173163 h 1204913"/>
                  <a:gd name="connsiteX115" fmla="*/ 1122312 w 1260475"/>
                  <a:gd name="connsiteY115" fmla="*/ 1172449 h 1204913"/>
                  <a:gd name="connsiteX116" fmla="*/ 1128739 w 1260475"/>
                  <a:gd name="connsiteY116" fmla="*/ 1171020 h 1204913"/>
                  <a:gd name="connsiteX117" fmla="*/ 1150165 w 1260475"/>
                  <a:gd name="connsiteY117" fmla="*/ 1158163 h 1204913"/>
                  <a:gd name="connsiteX118" fmla="*/ 1216584 w 1260475"/>
                  <a:gd name="connsiteY118" fmla="*/ 1085307 h 1204913"/>
                  <a:gd name="connsiteX119" fmla="*/ 1218012 w 1260475"/>
                  <a:gd name="connsiteY119" fmla="*/ 1083879 h 1204913"/>
                  <a:gd name="connsiteX120" fmla="*/ 1218012 w 1260475"/>
                  <a:gd name="connsiteY120" fmla="*/ 1083164 h 1204913"/>
                  <a:gd name="connsiteX121" fmla="*/ 1218727 w 1260475"/>
                  <a:gd name="connsiteY121" fmla="*/ 1083164 h 1204913"/>
                  <a:gd name="connsiteX122" fmla="*/ 1218727 w 1260475"/>
                  <a:gd name="connsiteY122" fmla="*/ 1082450 h 1204913"/>
                  <a:gd name="connsiteX123" fmla="*/ 1219441 w 1260475"/>
                  <a:gd name="connsiteY123" fmla="*/ 1081736 h 1204913"/>
                  <a:gd name="connsiteX124" fmla="*/ 1219441 w 1260475"/>
                  <a:gd name="connsiteY124" fmla="*/ 1081022 h 1204913"/>
                  <a:gd name="connsiteX125" fmla="*/ 1220155 w 1260475"/>
                  <a:gd name="connsiteY125" fmla="*/ 1081022 h 1204913"/>
                  <a:gd name="connsiteX126" fmla="*/ 1221583 w 1260475"/>
                  <a:gd name="connsiteY126" fmla="*/ 1078164 h 1204913"/>
                  <a:gd name="connsiteX127" fmla="*/ 1222298 w 1260475"/>
                  <a:gd name="connsiteY127" fmla="*/ 1077450 h 1204913"/>
                  <a:gd name="connsiteX128" fmla="*/ 1223726 w 1260475"/>
                  <a:gd name="connsiteY128" fmla="*/ 1073879 h 1204913"/>
                  <a:gd name="connsiteX129" fmla="*/ 1224440 w 1260475"/>
                  <a:gd name="connsiteY129" fmla="*/ 1073879 h 1204913"/>
                  <a:gd name="connsiteX130" fmla="*/ 1224440 w 1260475"/>
                  <a:gd name="connsiteY130" fmla="*/ 1073165 h 1204913"/>
                  <a:gd name="connsiteX131" fmla="*/ 1225154 w 1260475"/>
                  <a:gd name="connsiteY131" fmla="*/ 1071022 h 1204913"/>
                  <a:gd name="connsiteX132" fmla="*/ 1225868 w 1260475"/>
                  <a:gd name="connsiteY132" fmla="*/ 1070307 h 1204913"/>
                  <a:gd name="connsiteX133" fmla="*/ 1225868 w 1260475"/>
                  <a:gd name="connsiteY133" fmla="*/ 1068879 h 1204913"/>
                  <a:gd name="connsiteX134" fmla="*/ 1227297 w 1260475"/>
                  <a:gd name="connsiteY134" fmla="*/ 1065307 h 1204913"/>
                  <a:gd name="connsiteX135" fmla="*/ 1227297 w 1260475"/>
                  <a:gd name="connsiteY135" fmla="*/ 1064593 h 1204913"/>
                  <a:gd name="connsiteX136" fmla="*/ 1228011 w 1260475"/>
                  <a:gd name="connsiteY136" fmla="*/ 1061022 h 1204913"/>
                  <a:gd name="connsiteX137" fmla="*/ 1228011 w 1260475"/>
                  <a:gd name="connsiteY137" fmla="*/ 1059593 h 1204913"/>
                  <a:gd name="connsiteX138" fmla="*/ 1228011 w 1260475"/>
                  <a:gd name="connsiteY138" fmla="*/ 1058879 h 1204913"/>
                  <a:gd name="connsiteX139" fmla="*/ 1228725 w 1260475"/>
                  <a:gd name="connsiteY139" fmla="*/ 1056736 h 1204913"/>
                  <a:gd name="connsiteX140" fmla="*/ 1228725 w 1260475"/>
                  <a:gd name="connsiteY140" fmla="*/ 1056022 h 1204913"/>
                  <a:gd name="connsiteX141" fmla="*/ 1228725 w 1260475"/>
                  <a:gd name="connsiteY141" fmla="*/ 1053879 h 1204913"/>
                  <a:gd name="connsiteX142" fmla="*/ 1228725 w 1260475"/>
                  <a:gd name="connsiteY142" fmla="*/ 1051736 h 1204913"/>
                  <a:gd name="connsiteX143" fmla="*/ 1228725 w 1260475"/>
                  <a:gd name="connsiteY143" fmla="*/ 1051022 h 1204913"/>
                  <a:gd name="connsiteX144" fmla="*/ 1228011 w 1260475"/>
                  <a:gd name="connsiteY144" fmla="*/ 1047451 h 1204913"/>
                  <a:gd name="connsiteX145" fmla="*/ 1228011 w 1260475"/>
                  <a:gd name="connsiteY145" fmla="*/ 1046022 h 1204913"/>
                  <a:gd name="connsiteX146" fmla="*/ 1227297 w 1260475"/>
                  <a:gd name="connsiteY146" fmla="*/ 1044593 h 1204913"/>
                  <a:gd name="connsiteX147" fmla="*/ 1227297 w 1260475"/>
                  <a:gd name="connsiteY147" fmla="*/ 1043165 h 1204913"/>
                  <a:gd name="connsiteX148" fmla="*/ 1227297 w 1260475"/>
                  <a:gd name="connsiteY148" fmla="*/ 1041736 h 1204913"/>
                  <a:gd name="connsiteX149" fmla="*/ 1225868 w 1260475"/>
                  <a:gd name="connsiteY149" fmla="*/ 1038165 h 1204913"/>
                  <a:gd name="connsiteX150" fmla="*/ 1225868 w 1260475"/>
                  <a:gd name="connsiteY150" fmla="*/ 1037451 h 1204913"/>
                  <a:gd name="connsiteX151" fmla="*/ 1224440 w 1260475"/>
                  <a:gd name="connsiteY151" fmla="*/ 1034594 h 1204913"/>
                  <a:gd name="connsiteX152" fmla="*/ 1223726 w 1260475"/>
                  <a:gd name="connsiteY152" fmla="*/ 1033165 h 1204913"/>
                  <a:gd name="connsiteX153" fmla="*/ 1222298 w 1260475"/>
                  <a:gd name="connsiteY153" fmla="*/ 1030308 h 1204913"/>
                  <a:gd name="connsiteX154" fmla="*/ 1221583 w 1260475"/>
                  <a:gd name="connsiteY154" fmla="*/ 1028879 h 1204913"/>
                  <a:gd name="connsiteX155" fmla="*/ 1219441 w 1260475"/>
                  <a:gd name="connsiteY155" fmla="*/ 1026022 h 1204913"/>
                  <a:gd name="connsiteX156" fmla="*/ 1218727 w 1260475"/>
                  <a:gd name="connsiteY156" fmla="*/ 1025308 h 1204913"/>
                  <a:gd name="connsiteX157" fmla="*/ 1218727 w 1260475"/>
                  <a:gd name="connsiteY157" fmla="*/ 1024594 h 1204913"/>
                  <a:gd name="connsiteX158" fmla="*/ 1218012 w 1260475"/>
                  <a:gd name="connsiteY158" fmla="*/ 1023879 h 1204913"/>
                  <a:gd name="connsiteX159" fmla="*/ 1216584 w 1260475"/>
                  <a:gd name="connsiteY159" fmla="*/ 1022451 h 1204913"/>
                  <a:gd name="connsiteX160" fmla="*/ 1216584 w 1260475"/>
                  <a:gd name="connsiteY160" fmla="*/ 1021737 h 1204913"/>
                  <a:gd name="connsiteX161" fmla="*/ 1150165 w 1260475"/>
                  <a:gd name="connsiteY161" fmla="*/ 949595 h 1204913"/>
                  <a:gd name="connsiteX162" fmla="*/ 1143023 w 1260475"/>
                  <a:gd name="connsiteY162" fmla="*/ 943166 h 1204913"/>
                  <a:gd name="connsiteX163" fmla="*/ 1137309 w 1260475"/>
                  <a:gd name="connsiteY163" fmla="*/ 939595 h 1204913"/>
                  <a:gd name="connsiteX164" fmla="*/ 1134453 w 1260475"/>
                  <a:gd name="connsiteY164" fmla="*/ 938166 h 1204913"/>
                  <a:gd name="connsiteX165" fmla="*/ 1131596 w 1260475"/>
                  <a:gd name="connsiteY165" fmla="*/ 936738 h 1204913"/>
                  <a:gd name="connsiteX166" fmla="*/ 1115170 w 1260475"/>
                  <a:gd name="connsiteY166" fmla="*/ 933881 h 1204913"/>
                  <a:gd name="connsiteX167" fmla="*/ 1087316 w 1260475"/>
                  <a:gd name="connsiteY167" fmla="*/ 943881 h 1204913"/>
                  <a:gd name="connsiteX168" fmla="*/ 1083746 w 1260475"/>
                  <a:gd name="connsiteY168" fmla="*/ 946023 h 1204913"/>
                  <a:gd name="connsiteX169" fmla="*/ 1080175 w 1260475"/>
                  <a:gd name="connsiteY169" fmla="*/ 949595 h 1204913"/>
                  <a:gd name="connsiteX170" fmla="*/ 1079460 w 1260475"/>
                  <a:gd name="connsiteY170" fmla="*/ 951023 h 1204913"/>
                  <a:gd name="connsiteX171" fmla="*/ 1078032 w 1260475"/>
                  <a:gd name="connsiteY171" fmla="*/ 953166 h 1204913"/>
                  <a:gd name="connsiteX172" fmla="*/ 1076604 w 1260475"/>
                  <a:gd name="connsiteY172" fmla="*/ 954595 h 1204913"/>
                  <a:gd name="connsiteX173" fmla="*/ 1075175 w 1260475"/>
                  <a:gd name="connsiteY173" fmla="*/ 956738 h 1204913"/>
                  <a:gd name="connsiteX174" fmla="*/ 1073747 w 1260475"/>
                  <a:gd name="connsiteY174" fmla="*/ 958880 h 1204913"/>
                  <a:gd name="connsiteX175" fmla="*/ 1073033 w 1260475"/>
                  <a:gd name="connsiteY175" fmla="*/ 960309 h 1204913"/>
                  <a:gd name="connsiteX176" fmla="*/ 1072319 w 1260475"/>
                  <a:gd name="connsiteY176" fmla="*/ 962452 h 1204913"/>
                  <a:gd name="connsiteX177" fmla="*/ 1071604 w 1260475"/>
                  <a:gd name="connsiteY177" fmla="*/ 963880 h 1204913"/>
                  <a:gd name="connsiteX178" fmla="*/ 1070890 w 1260475"/>
                  <a:gd name="connsiteY178" fmla="*/ 966737 h 1204913"/>
                  <a:gd name="connsiteX179" fmla="*/ 1070176 w 1260475"/>
                  <a:gd name="connsiteY179" fmla="*/ 968166 h 1204913"/>
                  <a:gd name="connsiteX180" fmla="*/ 1069462 w 1260475"/>
                  <a:gd name="connsiteY180" fmla="*/ 971023 h 1204913"/>
                  <a:gd name="connsiteX181" fmla="*/ 1069462 w 1260475"/>
                  <a:gd name="connsiteY181" fmla="*/ 971737 h 1204913"/>
                  <a:gd name="connsiteX182" fmla="*/ 1068748 w 1260475"/>
                  <a:gd name="connsiteY182" fmla="*/ 975309 h 1204913"/>
                  <a:gd name="connsiteX183" fmla="*/ 1068748 w 1260475"/>
                  <a:gd name="connsiteY183" fmla="*/ 976023 h 1204913"/>
                  <a:gd name="connsiteX184" fmla="*/ 1068033 w 1260475"/>
                  <a:gd name="connsiteY184" fmla="*/ 978880 h 1204913"/>
                  <a:gd name="connsiteX185" fmla="*/ 1068033 w 1260475"/>
                  <a:gd name="connsiteY185" fmla="*/ 981737 h 1204913"/>
                  <a:gd name="connsiteX186" fmla="*/ 1068748 w 1260475"/>
                  <a:gd name="connsiteY186" fmla="*/ 983880 h 1204913"/>
                  <a:gd name="connsiteX187" fmla="*/ 1068748 w 1260475"/>
                  <a:gd name="connsiteY187" fmla="*/ 987451 h 1204913"/>
                  <a:gd name="connsiteX188" fmla="*/ 1069462 w 1260475"/>
                  <a:gd name="connsiteY188" fmla="*/ 991023 h 1204913"/>
                  <a:gd name="connsiteX189" fmla="*/ 1069462 w 1260475"/>
                  <a:gd name="connsiteY189" fmla="*/ 991737 h 1204913"/>
                  <a:gd name="connsiteX190" fmla="*/ 1070176 w 1260475"/>
                  <a:gd name="connsiteY190" fmla="*/ 995308 h 1204913"/>
                  <a:gd name="connsiteX191" fmla="*/ 1071604 w 1260475"/>
                  <a:gd name="connsiteY191" fmla="*/ 998880 h 1204913"/>
                  <a:gd name="connsiteX192" fmla="*/ 1071604 w 1260475"/>
                  <a:gd name="connsiteY192" fmla="*/ 999594 h 1204913"/>
                  <a:gd name="connsiteX193" fmla="*/ 1073747 w 1260475"/>
                  <a:gd name="connsiteY193" fmla="*/ 1002451 h 1204913"/>
                  <a:gd name="connsiteX194" fmla="*/ 1073747 w 1260475"/>
                  <a:gd name="connsiteY194" fmla="*/ 1003165 h 1204913"/>
                  <a:gd name="connsiteX195" fmla="*/ 1075890 w 1260475"/>
                  <a:gd name="connsiteY195" fmla="*/ 1006737 h 1204913"/>
                  <a:gd name="connsiteX196" fmla="*/ 908056 w 1260475"/>
                  <a:gd name="connsiteY196" fmla="*/ 1006737 h 1204913"/>
                  <a:gd name="connsiteX197" fmla="*/ 1014470 w 1260475"/>
                  <a:gd name="connsiteY197" fmla="*/ 897453 h 1204913"/>
                  <a:gd name="connsiteX198" fmla="*/ 1017326 w 1260475"/>
                  <a:gd name="connsiteY198" fmla="*/ 893881 h 1204913"/>
                  <a:gd name="connsiteX199" fmla="*/ 1022326 w 1260475"/>
                  <a:gd name="connsiteY199" fmla="*/ 886024 h 1204913"/>
                  <a:gd name="connsiteX200" fmla="*/ 1102314 w 1260475"/>
                  <a:gd name="connsiteY200" fmla="*/ 621028 h 1204913"/>
                  <a:gd name="connsiteX201" fmla="*/ 1102314 w 1260475"/>
                  <a:gd name="connsiteY201" fmla="*/ 608885 h 1204913"/>
                  <a:gd name="connsiteX202" fmla="*/ 1102314 w 1260475"/>
                  <a:gd name="connsiteY202" fmla="*/ 596742 h 1204913"/>
                  <a:gd name="connsiteX203" fmla="*/ 1101600 w 1260475"/>
                  <a:gd name="connsiteY203" fmla="*/ 596028 h 1204913"/>
                  <a:gd name="connsiteX204" fmla="*/ 1100886 w 1260475"/>
                  <a:gd name="connsiteY204" fmla="*/ 584600 h 1204913"/>
                  <a:gd name="connsiteX205" fmla="*/ 1100172 w 1260475"/>
                  <a:gd name="connsiteY205" fmla="*/ 573171 h 1204913"/>
                  <a:gd name="connsiteX206" fmla="*/ 1100172 w 1260475"/>
                  <a:gd name="connsiteY206" fmla="*/ 571743 h 1204913"/>
                  <a:gd name="connsiteX207" fmla="*/ 1098743 w 1260475"/>
                  <a:gd name="connsiteY207" fmla="*/ 561029 h 1204913"/>
                  <a:gd name="connsiteX208" fmla="*/ 1096601 w 1260475"/>
                  <a:gd name="connsiteY208" fmla="*/ 547457 h 1204913"/>
                  <a:gd name="connsiteX209" fmla="*/ 1095887 w 1260475"/>
                  <a:gd name="connsiteY209" fmla="*/ 541743 h 1204913"/>
                  <a:gd name="connsiteX210" fmla="*/ 1094458 w 1260475"/>
                  <a:gd name="connsiteY210" fmla="*/ 533886 h 1204913"/>
                  <a:gd name="connsiteX211" fmla="*/ 1092316 w 1260475"/>
                  <a:gd name="connsiteY211" fmla="*/ 521029 h 1204913"/>
                  <a:gd name="connsiteX212" fmla="*/ 1091602 w 1260475"/>
                  <a:gd name="connsiteY212" fmla="*/ 517458 h 1204913"/>
                  <a:gd name="connsiteX213" fmla="*/ 1088745 w 1260475"/>
                  <a:gd name="connsiteY213" fmla="*/ 507458 h 1204913"/>
                  <a:gd name="connsiteX214" fmla="*/ 1065177 w 1260475"/>
                  <a:gd name="connsiteY214" fmla="*/ 434602 h 1204913"/>
                  <a:gd name="connsiteX215" fmla="*/ 962334 w 1260475"/>
                  <a:gd name="connsiteY215" fmla="*/ 282461 h 1204913"/>
                  <a:gd name="connsiteX216" fmla="*/ 809498 w 1260475"/>
                  <a:gd name="connsiteY216" fmla="*/ 179605 h 1204913"/>
                  <a:gd name="connsiteX217" fmla="*/ 634523 w 1260475"/>
                  <a:gd name="connsiteY217" fmla="*/ 141749 h 1204913"/>
                  <a:gd name="connsiteX218" fmla="*/ 626667 w 1260475"/>
                  <a:gd name="connsiteY218" fmla="*/ 141749 h 1204913"/>
                  <a:gd name="connsiteX219" fmla="*/ 622382 w 1260475"/>
                  <a:gd name="connsiteY219" fmla="*/ 141749 h 1204913"/>
                  <a:gd name="connsiteX220" fmla="*/ 450977 w 1260475"/>
                  <a:gd name="connsiteY220" fmla="*/ 173891 h 1204913"/>
                  <a:gd name="connsiteX221" fmla="*/ 443835 w 1260475"/>
                  <a:gd name="connsiteY221" fmla="*/ 75321 h 1204913"/>
                  <a:gd name="connsiteX222" fmla="*/ 396699 w 1260475"/>
                  <a:gd name="connsiteY222" fmla="*/ 31750 h 1204913"/>
                  <a:gd name="connsiteX223" fmla="*/ 395271 w 1260475"/>
                  <a:gd name="connsiteY223" fmla="*/ 31750 h 1204913"/>
                  <a:gd name="connsiteX224" fmla="*/ 393128 w 1260475"/>
                  <a:gd name="connsiteY224" fmla="*/ 31750 h 1204913"/>
                  <a:gd name="connsiteX225" fmla="*/ 390862 w 1260475"/>
                  <a:gd name="connsiteY225" fmla="*/ 0 h 1204913"/>
                  <a:gd name="connsiteX226" fmla="*/ 396578 w 1260475"/>
                  <a:gd name="connsiteY226" fmla="*/ 0 h 1204913"/>
                  <a:gd name="connsiteX227" fmla="*/ 475179 w 1260475"/>
                  <a:gd name="connsiteY227" fmla="*/ 72895 h 1204913"/>
                  <a:gd name="connsiteX228" fmla="*/ 479467 w 1260475"/>
                  <a:gd name="connsiteY228" fmla="*/ 130783 h 1204913"/>
                  <a:gd name="connsiteX229" fmla="*/ 622378 w 1260475"/>
                  <a:gd name="connsiteY229" fmla="*/ 110057 h 1204913"/>
                  <a:gd name="connsiteX230" fmla="*/ 1133999 w 1260475"/>
                  <a:gd name="connsiteY230" fmla="*/ 621038 h 1204913"/>
                  <a:gd name="connsiteX231" fmla="*/ 1043251 w 1260475"/>
                  <a:gd name="connsiteY231" fmla="*/ 911903 h 1204913"/>
                  <a:gd name="connsiteX232" fmla="*/ 991803 w 1260475"/>
                  <a:gd name="connsiteY232" fmla="*/ 975508 h 1204913"/>
                  <a:gd name="connsiteX233" fmla="*/ 1037534 w 1260475"/>
                  <a:gd name="connsiteY233" fmla="*/ 975508 h 1204913"/>
                  <a:gd name="connsiteX234" fmla="*/ 1062543 w 1260475"/>
                  <a:gd name="connsiteY234" fmla="*/ 923338 h 1204913"/>
                  <a:gd name="connsiteX235" fmla="*/ 1115421 w 1260475"/>
                  <a:gd name="connsiteY235" fmla="*/ 902613 h 1204913"/>
                  <a:gd name="connsiteX236" fmla="*/ 1174014 w 1260475"/>
                  <a:gd name="connsiteY236" fmla="*/ 928341 h 1204913"/>
                  <a:gd name="connsiteX237" fmla="*/ 1240468 w 1260475"/>
                  <a:gd name="connsiteY237" fmla="*/ 1001236 h 1204913"/>
                  <a:gd name="connsiteX238" fmla="*/ 1240468 w 1260475"/>
                  <a:gd name="connsiteY238" fmla="*/ 1001950 h 1204913"/>
                  <a:gd name="connsiteX239" fmla="*/ 1241897 w 1260475"/>
                  <a:gd name="connsiteY239" fmla="*/ 1003380 h 1204913"/>
                  <a:gd name="connsiteX240" fmla="*/ 1243326 w 1260475"/>
                  <a:gd name="connsiteY240" fmla="*/ 1004809 h 1204913"/>
                  <a:gd name="connsiteX241" fmla="*/ 1244040 w 1260475"/>
                  <a:gd name="connsiteY241" fmla="*/ 1006238 h 1204913"/>
                  <a:gd name="connsiteX242" fmla="*/ 1244755 w 1260475"/>
                  <a:gd name="connsiteY242" fmla="*/ 1006953 h 1204913"/>
                  <a:gd name="connsiteX243" fmla="*/ 1245470 w 1260475"/>
                  <a:gd name="connsiteY243" fmla="*/ 1008382 h 1204913"/>
                  <a:gd name="connsiteX244" fmla="*/ 1248328 w 1260475"/>
                  <a:gd name="connsiteY244" fmla="*/ 1012670 h 1204913"/>
                  <a:gd name="connsiteX245" fmla="*/ 1249757 w 1260475"/>
                  <a:gd name="connsiteY245" fmla="*/ 1014814 h 1204913"/>
                  <a:gd name="connsiteX246" fmla="*/ 1252615 w 1260475"/>
                  <a:gd name="connsiteY246" fmla="*/ 1019817 h 1204913"/>
                  <a:gd name="connsiteX247" fmla="*/ 1253330 w 1260475"/>
                  <a:gd name="connsiteY247" fmla="*/ 1021961 h 1204913"/>
                  <a:gd name="connsiteX248" fmla="*/ 1255473 w 1260475"/>
                  <a:gd name="connsiteY248" fmla="*/ 1026963 h 1204913"/>
                  <a:gd name="connsiteX249" fmla="*/ 1256188 w 1260475"/>
                  <a:gd name="connsiteY249" fmla="*/ 1028393 h 1204913"/>
                  <a:gd name="connsiteX250" fmla="*/ 1257617 w 1260475"/>
                  <a:gd name="connsiteY250" fmla="*/ 1034110 h 1204913"/>
                  <a:gd name="connsiteX251" fmla="*/ 1257617 w 1260475"/>
                  <a:gd name="connsiteY251" fmla="*/ 1034825 h 1204913"/>
                  <a:gd name="connsiteX252" fmla="*/ 1258332 w 1260475"/>
                  <a:gd name="connsiteY252" fmla="*/ 1035539 h 1204913"/>
                  <a:gd name="connsiteX253" fmla="*/ 1258332 w 1260475"/>
                  <a:gd name="connsiteY253" fmla="*/ 1036254 h 1204913"/>
                  <a:gd name="connsiteX254" fmla="*/ 1259046 w 1260475"/>
                  <a:gd name="connsiteY254" fmla="*/ 1041257 h 1204913"/>
                  <a:gd name="connsiteX255" fmla="*/ 1259761 w 1260475"/>
                  <a:gd name="connsiteY255" fmla="*/ 1044115 h 1204913"/>
                  <a:gd name="connsiteX256" fmla="*/ 1260475 w 1260475"/>
                  <a:gd name="connsiteY256" fmla="*/ 1049118 h 1204913"/>
                  <a:gd name="connsiteX257" fmla="*/ 1260475 w 1260475"/>
                  <a:gd name="connsiteY257" fmla="*/ 1049832 h 1204913"/>
                  <a:gd name="connsiteX258" fmla="*/ 1260475 w 1260475"/>
                  <a:gd name="connsiteY258" fmla="*/ 1054120 h 1204913"/>
                  <a:gd name="connsiteX259" fmla="*/ 1260475 w 1260475"/>
                  <a:gd name="connsiteY259" fmla="*/ 1058408 h 1204913"/>
                  <a:gd name="connsiteX260" fmla="*/ 1259761 w 1260475"/>
                  <a:gd name="connsiteY260" fmla="*/ 1064126 h 1204913"/>
                  <a:gd name="connsiteX261" fmla="*/ 1259761 w 1260475"/>
                  <a:gd name="connsiteY261" fmla="*/ 1064840 h 1204913"/>
                  <a:gd name="connsiteX262" fmla="*/ 1259046 w 1260475"/>
                  <a:gd name="connsiteY262" fmla="*/ 1065555 h 1204913"/>
                  <a:gd name="connsiteX263" fmla="*/ 1259046 w 1260475"/>
                  <a:gd name="connsiteY263" fmla="*/ 1066270 h 1204913"/>
                  <a:gd name="connsiteX264" fmla="*/ 1258332 w 1260475"/>
                  <a:gd name="connsiteY264" fmla="*/ 1071987 h 1204913"/>
                  <a:gd name="connsiteX265" fmla="*/ 1257617 w 1260475"/>
                  <a:gd name="connsiteY265" fmla="*/ 1073416 h 1204913"/>
                  <a:gd name="connsiteX266" fmla="*/ 1256188 w 1260475"/>
                  <a:gd name="connsiteY266" fmla="*/ 1079133 h 1204913"/>
                  <a:gd name="connsiteX267" fmla="*/ 1256188 w 1260475"/>
                  <a:gd name="connsiteY267" fmla="*/ 1079848 h 1204913"/>
                  <a:gd name="connsiteX268" fmla="*/ 1255473 w 1260475"/>
                  <a:gd name="connsiteY268" fmla="*/ 1080563 h 1204913"/>
                  <a:gd name="connsiteX269" fmla="*/ 1255473 w 1260475"/>
                  <a:gd name="connsiteY269" fmla="*/ 1081277 h 1204913"/>
                  <a:gd name="connsiteX270" fmla="*/ 1253330 w 1260475"/>
                  <a:gd name="connsiteY270" fmla="*/ 1086280 h 1204913"/>
                  <a:gd name="connsiteX271" fmla="*/ 1253330 w 1260475"/>
                  <a:gd name="connsiteY271" fmla="*/ 1086995 h 1204913"/>
                  <a:gd name="connsiteX272" fmla="*/ 1252615 w 1260475"/>
                  <a:gd name="connsiteY272" fmla="*/ 1086995 h 1204913"/>
                  <a:gd name="connsiteX273" fmla="*/ 1252615 w 1260475"/>
                  <a:gd name="connsiteY273" fmla="*/ 1087709 h 1204913"/>
                  <a:gd name="connsiteX274" fmla="*/ 1252615 w 1260475"/>
                  <a:gd name="connsiteY274" fmla="*/ 1088424 h 1204913"/>
                  <a:gd name="connsiteX275" fmla="*/ 1249757 w 1260475"/>
                  <a:gd name="connsiteY275" fmla="*/ 1093427 h 1204913"/>
                  <a:gd name="connsiteX276" fmla="*/ 1249042 w 1260475"/>
                  <a:gd name="connsiteY276" fmla="*/ 1094856 h 1204913"/>
                  <a:gd name="connsiteX277" fmla="*/ 1246184 w 1260475"/>
                  <a:gd name="connsiteY277" fmla="*/ 1099144 h 1204913"/>
                  <a:gd name="connsiteX278" fmla="*/ 1245470 w 1260475"/>
                  <a:gd name="connsiteY278" fmla="*/ 1099144 h 1204913"/>
                  <a:gd name="connsiteX279" fmla="*/ 1245470 w 1260475"/>
                  <a:gd name="connsiteY279" fmla="*/ 1099858 h 1204913"/>
                  <a:gd name="connsiteX280" fmla="*/ 1244755 w 1260475"/>
                  <a:gd name="connsiteY280" fmla="*/ 1100573 h 1204913"/>
                  <a:gd name="connsiteX281" fmla="*/ 1244040 w 1260475"/>
                  <a:gd name="connsiteY281" fmla="*/ 1101288 h 1204913"/>
                  <a:gd name="connsiteX282" fmla="*/ 1243326 w 1260475"/>
                  <a:gd name="connsiteY282" fmla="*/ 1102717 h 1204913"/>
                  <a:gd name="connsiteX283" fmla="*/ 1241897 w 1260475"/>
                  <a:gd name="connsiteY283" fmla="*/ 1104146 h 1204913"/>
                  <a:gd name="connsiteX284" fmla="*/ 1240468 w 1260475"/>
                  <a:gd name="connsiteY284" fmla="*/ 1106290 h 1204913"/>
                  <a:gd name="connsiteX285" fmla="*/ 1239753 w 1260475"/>
                  <a:gd name="connsiteY285" fmla="*/ 1106290 h 1204913"/>
                  <a:gd name="connsiteX286" fmla="*/ 1239753 w 1260475"/>
                  <a:gd name="connsiteY286" fmla="*/ 1107005 h 1204913"/>
                  <a:gd name="connsiteX287" fmla="*/ 1174014 w 1260475"/>
                  <a:gd name="connsiteY287" fmla="*/ 1179186 h 1204913"/>
                  <a:gd name="connsiteX288" fmla="*/ 1115421 w 1260475"/>
                  <a:gd name="connsiteY288" fmla="*/ 1204913 h 1204913"/>
                  <a:gd name="connsiteX289" fmla="*/ 1062543 w 1260475"/>
                  <a:gd name="connsiteY289" fmla="*/ 1184903 h 1204913"/>
                  <a:gd name="connsiteX290" fmla="*/ 1037534 w 1260475"/>
                  <a:gd name="connsiteY290" fmla="*/ 1132733 h 1204913"/>
                  <a:gd name="connsiteX291" fmla="*/ 78601 w 1260475"/>
                  <a:gd name="connsiteY291" fmla="*/ 1132733 h 1204913"/>
                  <a:gd name="connsiteX292" fmla="*/ 0 w 1260475"/>
                  <a:gd name="connsiteY292" fmla="*/ 1054120 h 1204913"/>
                  <a:gd name="connsiteX293" fmla="*/ 78601 w 1260475"/>
                  <a:gd name="connsiteY293" fmla="*/ 975508 h 1204913"/>
                  <a:gd name="connsiteX294" fmla="*/ 253667 w 1260475"/>
                  <a:gd name="connsiteY294" fmla="*/ 975508 h 1204913"/>
                  <a:gd name="connsiteX295" fmla="*/ 201505 w 1260475"/>
                  <a:gd name="connsiteY295" fmla="*/ 911903 h 1204913"/>
                  <a:gd name="connsiteX296" fmla="*/ 110756 w 1260475"/>
                  <a:gd name="connsiteY296" fmla="*/ 621038 h 1204913"/>
                  <a:gd name="connsiteX297" fmla="*/ 126476 w 1260475"/>
                  <a:gd name="connsiteY297" fmla="*/ 494543 h 1204913"/>
                  <a:gd name="connsiteX298" fmla="*/ 42159 w 1260475"/>
                  <a:gd name="connsiteY298" fmla="*/ 413787 h 1204913"/>
                  <a:gd name="connsiteX299" fmla="*/ 715 w 1260475"/>
                  <a:gd name="connsiteY299" fmla="*/ 275858 h 1204913"/>
                  <a:gd name="connsiteX300" fmla="*/ 255096 w 1260475"/>
                  <a:gd name="connsiteY300" fmla="*/ 21440 h 1204913"/>
                  <a:gd name="connsiteX301" fmla="*/ 332268 w 1260475"/>
                  <a:gd name="connsiteY301" fmla="*/ 32874 h 1204913"/>
                  <a:gd name="connsiteX302" fmla="*/ 337270 w 1260475"/>
                  <a:gd name="connsiteY302" fmla="*/ 27157 h 1204913"/>
                  <a:gd name="connsiteX303" fmla="*/ 390862 w 1260475"/>
                  <a:gd name="connsiteY303" fmla="*/ 0 h 120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1260475" h="1204913">
                    <a:moveTo>
                      <a:pt x="229849" y="180975"/>
                    </a:moveTo>
                    <a:cubicBezTo>
                      <a:pt x="188108" y="192373"/>
                      <a:pt x="157162" y="230127"/>
                      <a:pt x="157162" y="275004"/>
                    </a:cubicBezTo>
                    <a:cubicBezTo>
                      <a:pt x="157162" y="302786"/>
                      <a:pt x="169397" y="329142"/>
                      <a:pt x="189547" y="347663"/>
                    </a:cubicBezTo>
                    <a:cubicBezTo>
                      <a:pt x="210418" y="313471"/>
                      <a:pt x="236326" y="282128"/>
                      <a:pt x="265112" y="254346"/>
                    </a:cubicBezTo>
                    <a:cubicBezTo>
                      <a:pt x="245681" y="241524"/>
                      <a:pt x="231288" y="219442"/>
                      <a:pt x="229849" y="194510"/>
                    </a:cubicBezTo>
                    <a:cubicBezTo>
                      <a:pt x="229129" y="190236"/>
                      <a:pt x="229129" y="185962"/>
                      <a:pt x="229849" y="180975"/>
                    </a:cubicBezTo>
                    <a:close/>
                    <a:moveTo>
                      <a:pt x="254252" y="146050"/>
                    </a:moveTo>
                    <a:cubicBezTo>
                      <a:pt x="262072" y="146050"/>
                      <a:pt x="269181" y="146765"/>
                      <a:pt x="275579" y="147481"/>
                    </a:cubicBezTo>
                    <a:cubicBezTo>
                      <a:pt x="277712" y="148196"/>
                      <a:pt x="279844" y="148196"/>
                      <a:pt x="281266" y="148911"/>
                    </a:cubicBezTo>
                    <a:cubicBezTo>
                      <a:pt x="272024" y="155349"/>
                      <a:pt x="264915" y="165363"/>
                      <a:pt x="262072" y="177523"/>
                    </a:cubicBezTo>
                    <a:cubicBezTo>
                      <a:pt x="260650" y="181815"/>
                      <a:pt x="260650" y="186822"/>
                      <a:pt x="260650" y="191829"/>
                    </a:cubicBezTo>
                    <a:cubicBezTo>
                      <a:pt x="261361" y="197552"/>
                      <a:pt x="262783" y="203274"/>
                      <a:pt x="265626" y="208281"/>
                    </a:cubicBezTo>
                    <a:cubicBezTo>
                      <a:pt x="266337" y="209712"/>
                      <a:pt x="267048" y="211858"/>
                      <a:pt x="267759" y="213288"/>
                    </a:cubicBezTo>
                    <a:cubicBezTo>
                      <a:pt x="270603" y="217580"/>
                      <a:pt x="274157" y="221872"/>
                      <a:pt x="278422" y="224733"/>
                    </a:cubicBezTo>
                    <a:cubicBezTo>
                      <a:pt x="279133" y="225448"/>
                      <a:pt x="279844" y="226164"/>
                      <a:pt x="280555" y="226879"/>
                    </a:cubicBezTo>
                    <a:cubicBezTo>
                      <a:pt x="281977" y="227594"/>
                      <a:pt x="282688" y="227594"/>
                      <a:pt x="283399" y="228310"/>
                    </a:cubicBezTo>
                    <a:cubicBezTo>
                      <a:pt x="285531" y="229740"/>
                      <a:pt x="286953" y="230455"/>
                      <a:pt x="288375" y="231171"/>
                    </a:cubicBezTo>
                    <a:cubicBezTo>
                      <a:pt x="289797" y="231886"/>
                      <a:pt x="290508" y="231886"/>
                      <a:pt x="291930" y="232601"/>
                    </a:cubicBezTo>
                    <a:cubicBezTo>
                      <a:pt x="294062" y="233317"/>
                      <a:pt x="296195" y="234032"/>
                      <a:pt x="299039" y="234747"/>
                    </a:cubicBezTo>
                    <a:cubicBezTo>
                      <a:pt x="301882" y="234747"/>
                      <a:pt x="304726" y="235463"/>
                      <a:pt x="307569" y="235463"/>
                    </a:cubicBezTo>
                    <a:cubicBezTo>
                      <a:pt x="308991" y="235463"/>
                      <a:pt x="309702" y="235463"/>
                      <a:pt x="311124" y="235463"/>
                    </a:cubicBezTo>
                    <a:cubicBezTo>
                      <a:pt x="311124" y="235463"/>
                      <a:pt x="311124" y="235463"/>
                      <a:pt x="311835" y="235463"/>
                    </a:cubicBezTo>
                    <a:cubicBezTo>
                      <a:pt x="311835" y="235463"/>
                      <a:pt x="311835" y="235463"/>
                      <a:pt x="338138" y="233317"/>
                    </a:cubicBezTo>
                    <a:cubicBezTo>
                      <a:pt x="330318" y="238324"/>
                      <a:pt x="323209" y="244046"/>
                      <a:pt x="316100" y="250484"/>
                    </a:cubicBezTo>
                    <a:cubicBezTo>
                      <a:pt x="306148" y="258352"/>
                      <a:pt x="296195" y="267651"/>
                      <a:pt x="286953" y="276235"/>
                    </a:cubicBezTo>
                    <a:cubicBezTo>
                      <a:pt x="277712" y="285534"/>
                      <a:pt x="268470" y="294832"/>
                      <a:pt x="259939" y="304847"/>
                    </a:cubicBezTo>
                    <a:cubicBezTo>
                      <a:pt x="257095" y="308423"/>
                      <a:pt x="254252" y="311284"/>
                      <a:pt x="251408" y="314861"/>
                    </a:cubicBezTo>
                    <a:cubicBezTo>
                      <a:pt x="251408" y="315576"/>
                      <a:pt x="250697" y="316291"/>
                      <a:pt x="249986" y="317007"/>
                    </a:cubicBezTo>
                    <a:cubicBezTo>
                      <a:pt x="247854" y="319868"/>
                      <a:pt x="245721" y="322014"/>
                      <a:pt x="243588" y="324875"/>
                    </a:cubicBezTo>
                    <a:cubicBezTo>
                      <a:pt x="242877" y="325590"/>
                      <a:pt x="242877" y="326306"/>
                      <a:pt x="242166" y="326306"/>
                    </a:cubicBezTo>
                    <a:cubicBezTo>
                      <a:pt x="237190" y="332743"/>
                      <a:pt x="232214" y="340612"/>
                      <a:pt x="227948" y="347049"/>
                    </a:cubicBezTo>
                    <a:cubicBezTo>
                      <a:pt x="217996" y="361355"/>
                      <a:pt x="208754" y="377092"/>
                      <a:pt x="200934" y="392113"/>
                    </a:cubicBezTo>
                    <a:cubicBezTo>
                      <a:pt x="168943" y="377092"/>
                      <a:pt x="144773" y="349195"/>
                      <a:pt x="134109" y="315576"/>
                    </a:cubicBezTo>
                    <a:cubicBezTo>
                      <a:pt x="133398" y="315576"/>
                      <a:pt x="133398" y="314861"/>
                      <a:pt x="133398" y="314145"/>
                    </a:cubicBezTo>
                    <a:cubicBezTo>
                      <a:pt x="133398" y="313430"/>
                      <a:pt x="132687" y="312000"/>
                      <a:pt x="132687" y="311284"/>
                    </a:cubicBezTo>
                    <a:cubicBezTo>
                      <a:pt x="132687" y="311284"/>
                      <a:pt x="131977" y="310569"/>
                      <a:pt x="131977" y="309854"/>
                    </a:cubicBezTo>
                    <a:cubicBezTo>
                      <a:pt x="131977" y="309138"/>
                      <a:pt x="131266" y="307708"/>
                      <a:pt x="131266" y="306993"/>
                    </a:cubicBezTo>
                    <a:cubicBezTo>
                      <a:pt x="131266" y="305562"/>
                      <a:pt x="130555" y="304847"/>
                      <a:pt x="130555" y="303416"/>
                    </a:cubicBezTo>
                    <a:cubicBezTo>
                      <a:pt x="130555" y="303416"/>
                      <a:pt x="130555" y="302701"/>
                      <a:pt x="129844" y="302701"/>
                    </a:cubicBezTo>
                    <a:cubicBezTo>
                      <a:pt x="129844" y="301270"/>
                      <a:pt x="129844" y="299840"/>
                      <a:pt x="129133" y="298409"/>
                    </a:cubicBezTo>
                    <a:cubicBezTo>
                      <a:pt x="129133" y="298409"/>
                      <a:pt x="129133" y="298409"/>
                      <a:pt x="129133" y="297694"/>
                    </a:cubicBezTo>
                    <a:cubicBezTo>
                      <a:pt x="129133" y="296978"/>
                      <a:pt x="129133" y="295548"/>
                      <a:pt x="128422" y="294117"/>
                    </a:cubicBezTo>
                    <a:cubicBezTo>
                      <a:pt x="128422" y="294117"/>
                      <a:pt x="128422" y="294117"/>
                      <a:pt x="128422" y="293402"/>
                    </a:cubicBezTo>
                    <a:cubicBezTo>
                      <a:pt x="128422" y="290541"/>
                      <a:pt x="127711" y="287679"/>
                      <a:pt x="127711" y="284818"/>
                    </a:cubicBezTo>
                    <a:cubicBezTo>
                      <a:pt x="127711" y="284818"/>
                      <a:pt x="127711" y="284818"/>
                      <a:pt x="127711" y="284103"/>
                    </a:cubicBezTo>
                    <a:cubicBezTo>
                      <a:pt x="127000" y="281242"/>
                      <a:pt x="127000" y="278381"/>
                      <a:pt x="127000" y="274804"/>
                    </a:cubicBezTo>
                    <a:cubicBezTo>
                      <a:pt x="127000" y="267651"/>
                      <a:pt x="127711" y="260498"/>
                      <a:pt x="129133" y="253345"/>
                    </a:cubicBezTo>
                    <a:cubicBezTo>
                      <a:pt x="129844" y="249053"/>
                      <a:pt x="130555" y="245477"/>
                      <a:pt x="131266" y="241900"/>
                    </a:cubicBezTo>
                    <a:cubicBezTo>
                      <a:pt x="137664" y="218295"/>
                      <a:pt x="150460" y="197552"/>
                      <a:pt x="166811" y="181815"/>
                    </a:cubicBezTo>
                    <a:cubicBezTo>
                      <a:pt x="172498" y="176093"/>
                      <a:pt x="178896" y="171086"/>
                      <a:pt x="185294" y="166794"/>
                    </a:cubicBezTo>
                    <a:cubicBezTo>
                      <a:pt x="189560" y="163933"/>
                      <a:pt x="194536" y="161787"/>
                      <a:pt x="198801" y="158926"/>
                    </a:cubicBezTo>
                    <a:cubicBezTo>
                      <a:pt x="203778" y="156780"/>
                      <a:pt x="208754" y="154634"/>
                      <a:pt x="213019" y="153203"/>
                    </a:cubicBezTo>
                    <a:cubicBezTo>
                      <a:pt x="215152" y="152488"/>
                      <a:pt x="217996" y="151057"/>
                      <a:pt x="220839" y="150342"/>
                    </a:cubicBezTo>
                    <a:cubicBezTo>
                      <a:pt x="223683" y="149627"/>
                      <a:pt x="225816" y="148911"/>
                      <a:pt x="228659" y="148911"/>
                    </a:cubicBezTo>
                    <a:cubicBezTo>
                      <a:pt x="237190" y="146765"/>
                      <a:pt x="245721" y="146050"/>
                      <a:pt x="254252" y="146050"/>
                    </a:cubicBezTo>
                    <a:close/>
                    <a:moveTo>
                      <a:pt x="393128" y="31750"/>
                    </a:moveTo>
                    <a:cubicBezTo>
                      <a:pt x="383844" y="32464"/>
                      <a:pt x="375273" y="36036"/>
                      <a:pt x="367417" y="41750"/>
                    </a:cubicBezTo>
                    <a:cubicBezTo>
                      <a:pt x="365989" y="42464"/>
                      <a:pt x="365275" y="43893"/>
                      <a:pt x="363847" y="44607"/>
                    </a:cubicBezTo>
                    <a:cubicBezTo>
                      <a:pt x="363132" y="46036"/>
                      <a:pt x="361704" y="46750"/>
                      <a:pt x="360990" y="48178"/>
                    </a:cubicBezTo>
                    <a:cubicBezTo>
                      <a:pt x="356705" y="52464"/>
                      <a:pt x="353848" y="57464"/>
                      <a:pt x="351705" y="63178"/>
                    </a:cubicBezTo>
                    <a:cubicBezTo>
                      <a:pt x="351705" y="65321"/>
                      <a:pt x="350991" y="66750"/>
                      <a:pt x="350991" y="68178"/>
                    </a:cubicBezTo>
                    <a:cubicBezTo>
                      <a:pt x="350277" y="70321"/>
                      <a:pt x="350277" y="71750"/>
                      <a:pt x="349563" y="73892"/>
                    </a:cubicBezTo>
                    <a:cubicBezTo>
                      <a:pt x="348134" y="73178"/>
                      <a:pt x="345992" y="72464"/>
                      <a:pt x="344564" y="71750"/>
                    </a:cubicBezTo>
                    <a:cubicBezTo>
                      <a:pt x="318139" y="60321"/>
                      <a:pt x="290285" y="53893"/>
                      <a:pt x="261718" y="53178"/>
                    </a:cubicBezTo>
                    <a:cubicBezTo>
                      <a:pt x="259575" y="53178"/>
                      <a:pt x="257433" y="53178"/>
                      <a:pt x="255290" y="53178"/>
                    </a:cubicBezTo>
                    <a:cubicBezTo>
                      <a:pt x="243863" y="53178"/>
                      <a:pt x="232436" y="53893"/>
                      <a:pt x="221724" y="56036"/>
                    </a:cubicBezTo>
                    <a:cubicBezTo>
                      <a:pt x="211725" y="57464"/>
                      <a:pt x="201726" y="59607"/>
                      <a:pt x="192442" y="62464"/>
                    </a:cubicBezTo>
                    <a:cubicBezTo>
                      <a:pt x="186729" y="63893"/>
                      <a:pt x="181015" y="66035"/>
                      <a:pt x="176016" y="68178"/>
                    </a:cubicBezTo>
                    <a:cubicBezTo>
                      <a:pt x="173159" y="68892"/>
                      <a:pt x="171016" y="69607"/>
                      <a:pt x="168874" y="71035"/>
                    </a:cubicBezTo>
                    <a:cubicBezTo>
                      <a:pt x="161732" y="73892"/>
                      <a:pt x="153876" y="77464"/>
                      <a:pt x="147448" y="81035"/>
                    </a:cubicBezTo>
                    <a:cubicBezTo>
                      <a:pt x="126023" y="93178"/>
                      <a:pt x="107454" y="108178"/>
                      <a:pt x="91028" y="126035"/>
                    </a:cubicBezTo>
                    <a:cubicBezTo>
                      <a:pt x="85314" y="131749"/>
                      <a:pt x="80315" y="138892"/>
                      <a:pt x="75316" y="145320"/>
                    </a:cubicBezTo>
                    <a:cubicBezTo>
                      <a:pt x="61746" y="163891"/>
                      <a:pt x="51033" y="184605"/>
                      <a:pt x="43891" y="206748"/>
                    </a:cubicBezTo>
                    <a:cubicBezTo>
                      <a:pt x="43177" y="208891"/>
                      <a:pt x="42463" y="211748"/>
                      <a:pt x="41035" y="214605"/>
                    </a:cubicBezTo>
                    <a:cubicBezTo>
                      <a:pt x="37464" y="226747"/>
                      <a:pt x="35321" y="240319"/>
                      <a:pt x="33893" y="253176"/>
                    </a:cubicBezTo>
                    <a:cubicBezTo>
                      <a:pt x="33179" y="261033"/>
                      <a:pt x="32464" y="268175"/>
                      <a:pt x="32464" y="276033"/>
                    </a:cubicBezTo>
                    <a:cubicBezTo>
                      <a:pt x="32464" y="278890"/>
                      <a:pt x="32464" y="281747"/>
                      <a:pt x="32464" y="284604"/>
                    </a:cubicBezTo>
                    <a:cubicBezTo>
                      <a:pt x="33179" y="286032"/>
                      <a:pt x="33179" y="288175"/>
                      <a:pt x="33179" y="289604"/>
                    </a:cubicBezTo>
                    <a:cubicBezTo>
                      <a:pt x="33179" y="291032"/>
                      <a:pt x="33179" y="291747"/>
                      <a:pt x="33179" y="292461"/>
                    </a:cubicBezTo>
                    <a:cubicBezTo>
                      <a:pt x="33179" y="293889"/>
                      <a:pt x="33179" y="296032"/>
                      <a:pt x="33893" y="297461"/>
                    </a:cubicBezTo>
                    <a:cubicBezTo>
                      <a:pt x="33893" y="298889"/>
                      <a:pt x="33893" y="299604"/>
                      <a:pt x="33893" y="300318"/>
                    </a:cubicBezTo>
                    <a:cubicBezTo>
                      <a:pt x="33893" y="302461"/>
                      <a:pt x="34607" y="303889"/>
                      <a:pt x="34607" y="305318"/>
                    </a:cubicBezTo>
                    <a:cubicBezTo>
                      <a:pt x="34607" y="306032"/>
                      <a:pt x="34607" y="307461"/>
                      <a:pt x="35321" y="308889"/>
                    </a:cubicBezTo>
                    <a:cubicBezTo>
                      <a:pt x="35321" y="311032"/>
                      <a:pt x="36035" y="313175"/>
                      <a:pt x="36035" y="315318"/>
                    </a:cubicBezTo>
                    <a:cubicBezTo>
                      <a:pt x="36035" y="315318"/>
                      <a:pt x="36035" y="316032"/>
                      <a:pt x="36035" y="316746"/>
                    </a:cubicBezTo>
                    <a:cubicBezTo>
                      <a:pt x="49605" y="387460"/>
                      <a:pt x="97455" y="448887"/>
                      <a:pt x="163875" y="478887"/>
                    </a:cubicBezTo>
                    <a:cubicBezTo>
                      <a:pt x="160304" y="490315"/>
                      <a:pt x="157447" y="502458"/>
                      <a:pt x="154590" y="514601"/>
                    </a:cubicBezTo>
                    <a:cubicBezTo>
                      <a:pt x="146734" y="549600"/>
                      <a:pt x="142449" y="585314"/>
                      <a:pt x="142449" y="621028"/>
                    </a:cubicBezTo>
                    <a:cubicBezTo>
                      <a:pt x="142449" y="624599"/>
                      <a:pt x="142449" y="627456"/>
                      <a:pt x="142449" y="630313"/>
                    </a:cubicBezTo>
                    <a:cubicBezTo>
                      <a:pt x="143163" y="654599"/>
                      <a:pt x="145306" y="678170"/>
                      <a:pt x="149591" y="701741"/>
                    </a:cubicBezTo>
                    <a:cubicBezTo>
                      <a:pt x="149591" y="705312"/>
                      <a:pt x="150305" y="708884"/>
                      <a:pt x="151019" y="711741"/>
                    </a:cubicBezTo>
                    <a:cubicBezTo>
                      <a:pt x="153162" y="721026"/>
                      <a:pt x="154590" y="729598"/>
                      <a:pt x="156733" y="738169"/>
                    </a:cubicBezTo>
                    <a:cubicBezTo>
                      <a:pt x="158875" y="747455"/>
                      <a:pt x="161732" y="756026"/>
                      <a:pt x="164589" y="764597"/>
                    </a:cubicBezTo>
                    <a:cubicBezTo>
                      <a:pt x="165303" y="767454"/>
                      <a:pt x="166017" y="770312"/>
                      <a:pt x="166731" y="773169"/>
                    </a:cubicBezTo>
                    <a:cubicBezTo>
                      <a:pt x="168874" y="778883"/>
                      <a:pt x="171016" y="784597"/>
                      <a:pt x="173159" y="790311"/>
                    </a:cubicBezTo>
                    <a:cubicBezTo>
                      <a:pt x="175302" y="796025"/>
                      <a:pt x="177444" y="801025"/>
                      <a:pt x="179587" y="806740"/>
                    </a:cubicBezTo>
                    <a:cubicBezTo>
                      <a:pt x="182443" y="812454"/>
                      <a:pt x="184586" y="818168"/>
                      <a:pt x="187443" y="823168"/>
                    </a:cubicBezTo>
                    <a:cubicBezTo>
                      <a:pt x="191014" y="831025"/>
                      <a:pt x="195299" y="838882"/>
                      <a:pt x="199584" y="846739"/>
                    </a:cubicBezTo>
                    <a:cubicBezTo>
                      <a:pt x="201012" y="849596"/>
                      <a:pt x="202441" y="852453"/>
                      <a:pt x="203869" y="855310"/>
                    </a:cubicBezTo>
                    <a:cubicBezTo>
                      <a:pt x="205297" y="858167"/>
                      <a:pt x="207440" y="861739"/>
                      <a:pt x="209582" y="864596"/>
                    </a:cubicBezTo>
                    <a:cubicBezTo>
                      <a:pt x="212439" y="869596"/>
                      <a:pt x="215296" y="874596"/>
                      <a:pt x="218153" y="879596"/>
                    </a:cubicBezTo>
                    <a:cubicBezTo>
                      <a:pt x="221009" y="883881"/>
                      <a:pt x="224580" y="888881"/>
                      <a:pt x="228151" y="893881"/>
                    </a:cubicBezTo>
                    <a:cubicBezTo>
                      <a:pt x="230294" y="897453"/>
                      <a:pt x="233865" y="901738"/>
                      <a:pt x="236721" y="905310"/>
                    </a:cubicBezTo>
                    <a:cubicBezTo>
                      <a:pt x="265289" y="944595"/>
                      <a:pt x="298856" y="978166"/>
                      <a:pt x="336707" y="1006737"/>
                    </a:cubicBezTo>
                    <a:cubicBezTo>
                      <a:pt x="336707" y="1006737"/>
                      <a:pt x="336707" y="1006737"/>
                      <a:pt x="78886" y="1006737"/>
                    </a:cubicBezTo>
                    <a:cubicBezTo>
                      <a:pt x="76030" y="1006737"/>
                      <a:pt x="72459" y="1006737"/>
                      <a:pt x="69602" y="1007451"/>
                    </a:cubicBezTo>
                    <a:cubicBezTo>
                      <a:pt x="66745" y="1008165"/>
                      <a:pt x="64603" y="1008880"/>
                      <a:pt x="61746" y="1009594"/>
                    </a:cubicBezTo>
                    <a:cubicBezTo>
                      <a:pt x="44606" y="1016737"/>
                      <a:pt x="31750" y="1033879"/>
                      <a:pt x="31750" y="1053879"/>
                    </a:cubicBezTo>
                    <a:cubicBezTo>
                      <a:pt x="31750" y="1073879"/>
                      <a:pt x="44606" y="1090307"/>
                      <a:pt x="61746" y="1097450"/>
                    </a:cubicBezTo>
                    <a:cubicBezTo>
                      <a:pt x="64603" y="1098878"/>
                      <a:pt x="66745" y="1099593"/>
                      <a:pt x="69602" y="1099593"/>
                    </a:cubicBezTo>
                    <a:cubicBezTo>
                      <a:pt x="72459" y="1100307"/>
                      <a:pt x="76030" y="1101021"/>
                      <a:pt x="78886" y="1101021"/>
                    </a:cubicBezTo>
                    <a:cubicBezTo>
                      <a:pt x="78886" y="1101021"/>
                      <a:pt x="78886" y="1101021"/>
                      <a:pt x="1075890" y="1101021"/>
                    </a:cubicBezTo>
                    <a:cubicBezTo>
                      <a:pt x="1063748" y="1119592"/>
                      <a:pt x="1066605" y="1145306"/>
                      <a:pt x="1083746" y="1161020"/>
                    </a:cubicBezTo>
                    <a:cubicBezTo>
                      <a:pt x="1091602" y="1168163"/>
                      <a:pt x="1100886" y="1171735"/>
                      <a:pt x="1110885" y="1173163"/>
                    </a:cubicBezTo>
                    <a:cubicBezTo>
                      <a:pt x="1112313" y="1173163"/>
                      <a:pt x="1113741" y="1173163"/>
                      <a:pt x="1115170" y="1173163"/>
                    </a:cubicBezTo>
                    <a:cubicBezTo>
                      <a:pt x="1118026" y="1173163"/>
                      <a:pt x="1120169" y="1173163"/>
                      <a:pt x="1122312" y="1172449"/>
                    </a:cubicBezTo>
                    <a:cubicBezTo>
                      <a:pt x="1124454" y="1172449"/>
                      <a:pt x="1126597" y="1171735"/>
                      <a:pt x="1128739" y="1171020"/>
                    </a:cubicBezTo>
                    <a:cubicBezTo>
                      <a:pt x="1136595" y="1168878"/>
                      <a:pt x="1144451" y="1164592"/>
                      <a:pt x="1150165" y="1158163"/>
                    </a:cubicBezTo>
                    <a:cubicBezTo>
                      <a:pt x="1150165" y="1158163"/>
                      <a:pt x="1150165" y="1158163"/>
                      <a:pt x="1216584" y="1085307"/>
                    </a:cubicBezTo>
                    <a:cubicBezTo>
                      <a:pt x="1216584" y="1085307"/>
                      <a:pt x="1216584" y="1085307"/>
                      <a:pt x="1218012" y="1083879"/>
                    </a:cubicBezTo>
                    <a:cubicBezTo>
                      <a:pt x="1218012" y="1083879"/>
                      <a:pt x="1218012" y="1083879"/>
                      <a:pt x="1218012" y="1083164"/>
                    </a:cubicBezTo>
                    <a:cubicBezTo>
                      <a:pt x="1218012" y="1083164"/>
                      <a:pt x="1218012" y="1083164"/>
                      <a:pt x="1218727" y="1083164"/>
                    </a:cubicBezTo>
                    <a:cubicBezTo>
                      <a:pt x="1218727" y="1082450"/>
                      <a:pt x="1218727" y="1082450"/>
                      <a:pt x="1218727" y="1082450"/>
                    </a:cubicBezTo>
                    <a:cubicBezTo>
                      <a:pt x="1218727" y="1082450"/>
                      <a:pt x="1218727" y="1081736"/>
                      <a:pt x="1219441" y="1081736"/>
                    </a:cubicBezTo>
                    <a:cubicBezTo>
                      <a:pt x="1219441" y="1081736"/>
                      <a:pt x="1219441" y="1081736"/>
                      <a:pt x="1219441" y="1081022"/>
                    </a:cubicBezTo>
                    <a:cubicBezTo>
                      <a:pt x="1219441" y="1081022"/>
                      <a:pt x="1219441" y="1081022"/>
                      <a:pt x="1220155" y="1081022"/>
                    </a:cubicBezTo>
                    <a:cubicBezTo>
                      <a:pt x="1220155" y="1080307"/>
                      <a:pt x="1220869" y="1078879"/>
                      <a:pt x="1221583" y="1078164"/>
                    </a:cubicBezTo>
                    <a:cubicBezTo>
                      <a:pt x="1221583" y="1077450"/>
                      <a:pt x="1222298" y="1077450"/>
                      <a:pt x="1222298" y="1077450"/>
                    </a:cubicBezTo>
                    <a:cubicBezTo>
                      <a:pt x="1223012" y="1076022"/>
                      <a:pt x="1223012" y="1075307"/>
                      <a:pt x="1223726" y="1073879"/>
                    </a:cubicBezTo>
                    <a:cubicBezTo>
                      <a:pt x="1223726" y="1073879"/>
                      <a:pt x="1223726" y="1073879"/>
                      <a:pt x="1224440" y="1073879"/>
                    </a:cubicBezTo>
                    <a:cubicBezTo>
                      <a:pt x="1224440" y="1073879"/>
                      <a:pt x="1224440" y="1073879"/>
                      <a:pt x="1224440" y="1073165"/>
                    </a:cubicBezTo>
                    <a:cubicBezTo>
                      <a:pt x="1224440" y="1072450"/>
                      <a:pt x="1225154" y="1071736"/>
                      <a:pt x="1225154" y="1071022"/>
                    </a:cubicBezTo>
                    <a:cubicBezTo>
                      <a:pt x="1225154" y="1071022"/>
                      <a:pt x="1225154" y="1070307"/>
                      <a:pt x="1225868" y="1070307"/>
                    </a:cubicBezTo>
                    <a:cubicBezTo>
                      <a:pt x="1225868" y="1070307"/>
                      <a:pt x="1225868" y="1070307"/>
                      <a:pt x="1225868" y="1068879"/>
                    </a:cubicBezTo>
                    <a:cubicBezTo>
                      <a:pt x="1226583" y="1067450"/>
                      <a:pt x="1226583" y="1066736"/>
                      <a:pt x="1227297" y="1065307"/>
                    </a:cubicBezTo>
                    <a:cubicBezTo>
                      <a:pt x="1227297" y="1065307"/>
                      <a:pt x="1227297" y="1065307"/>
                      <a:pt x="1227297" y="1064593"/>
                    </a:cubicBezTo>
                    <a:cubicBezTo>
                      <a:pt x="1227297" y="1063165"/>
                      <a:pt x="1228011" y="1062450"/>
                      <a:pt x="1228011" y="1061022"/>
                    </a:cubicBezTo>
                    <a:cubicBezTo>
                      <a:pt x="1228011" y="1060308"/>
                      <a:pt x="1228011" y="1060308"/>
                      <a:pt x="1228011" y="1059593"/>
                    </a:cubicBezTo>
                    <a:cubicBezTo>
                      <a:pt x="1228011" y="1059593"/>
                      <a:pt x="1228011" y="1059593"/>
                      <a:pt x="1228011" y="1058879"/>
                    </a:cubicBezTo>
                    <a:cubicBezTo>
                      <a:pt x="1228011" y="1058165"/>
                      <a:pt x="1228725" y="1057450"/>
                      <a:pt x="1228725" y="1056736"/>
                    </a:cubicBezTo>
                    <a:cubicBezTo>
                      <a:pt x="1228725" y="1056022"/>
                      <a:pt x="1228725" y="1056022"/>
                      <a:pt x="1228725" y="1056022"/>
                    </a:cubicBezTo>
                    <a:cubicBezTo>
                      <a:pt x="1228725" y="1055308"/>
                      <a:pt x="1228725" y="1054593"/>
                      <a:pt x="1228725" y="1053879"/>
                    </a:cubicBezTo>
                    <a:cubicBezTo>
                      <a:pt x="1228725" y="1053165"/>
                      <a:pt x="1228725" y="1052451"/>
                      <a:pt x="1228725" y="1051736"/>
                    </a:cubicBezTo>
                    <a:cubicBezTo>
                      <a:pt x="1228725" y="1051022"/>
                      <a:pt x="1228725" y="1051022"/>
                      <a:pt x="1228725" y="1051022"/>
                    </a:cubicBezTo>
                    <a:cubicBezTo>
                      <a:pt x="1228011" y="1049593"/>
                      <a:pt x="1228011" y="1048879"/>
                      <a:pt x="1228011" y="1047451"/>
                    </a:cubicBezTo>
                    <a:cubicBezTo>
                      <a:pt x="1228011" y="1046736"/>
                      <a:pt x="1228011" y="1046736"/>
                      <a:pt x="1228011" y="1046022"/>
                    </a:cubicBezTo>
                    <a:cubicBezTo>
                      <a:pt x="1228011" y="1046022"/>
                      <a:pt x="1228011" y="1045308"/>
                      <a:pt x="1227297" y="1044593"/>
                    </a:cubicBezTo>
                    <a:cubicBezTo>
                      <a:pt x="1227297" y="1043879"/>
                      <a:pt x="1227297" y="1043165"/>
                      <a:pt x="1227297" y="1043165"/>
                    </a:cubicBezTo>
                    <a:cubicBezTo>
                      <a:pt x="1227297" y="1043165"/>
                      <a:pt x="1227297" y="1043165"/>
                      <a:pt x="1227297" y="1041736"/>
                    </a:cubicBezTo>
                    <a:cubicBezTo>
                      <a:pt x="1226583" y="1040308"/>
                      <a:pt x="1226583" y="1039594"/>
                      <a:pt x="1225868" y="1038165"/>
                    </a:cubicBezTo>
                    <a:cubicBezTo>
                      <a:pt x="1225868" y="1038165"/>
                      <a:pt x="1225868" y="1038165"/>
                      <a:pt x="1225868" y="1037451"/>
                    </a:cubicBezTo>
                    <a:cubicBezTo>
                      <a:pt x="1225154" y="1036022"/>
                      <a:pt x="1225154" y="1035308"/>
                      <a:pt x="1224440" y="1034594"/>
                    </a:cubicBezTo>
                    <a:cubicBezTo>
                      <a:pt x="1224440" y="1033879"/>
                      <a:pt x="1223726" y="1033879"/>
                      <a:pt x="1223726" y="1033165"/>
                    </a:cubicBezTo>
                    <a:cubicBezTo>
                      <a:pt x="1223012" y="1032451"/>
                      <a:pt x="1223012" y="1031022"/>
                      <a:pt x="1222298" y="1030308"/>
                    </a:cubicBezTo>
                    <a:cubicBezTo>
                      <a:pt x="1222298" y="1029594"/>
                      <a:pt x="1221583" y="1029594"/>
                      <a:pt x="1221583" y="1028879"/>
                    </a:cubicBezTo>
                    <a:cubicBezTo>
                      <a:pt x="1220869" y="1028165"/>
                      <a:pt x="1220155" y="1027451"/>
                      <a:pt x="1219441" y="1026022"/>
                    </a:cubicBezTo>
                    <a:cubicBezTo>
                      <a:pt x="1219441" y="1026022"/>
                      <a:pt x="1219441" y="1026022"/>
                      <a:pt x="1218727" y="1025308"/>
                    </a:cubicBezTo>
                    <a:cubicBezTo>
                      <a:pt x="1218727" y="1025308"/>
                      <a:pt x="1218727" y="1025308"/>
                      <a:pt x="1218727" y="1024594"/>
                    </a:cubicBezTo>
                    <a:cubicBezTo>
                      <a:pt x="1218727" y="1024594"/>
                      <a:pt x="1218727" y="1024594"/>
                      <a:pt x="1218012" y="1023879"/>
                    </a:cubicBezTo>
                    <a:cubicBezTo>
                      <a:pt x="1218012" y="1023879"/>
                      <a:pt x="1218012" y="1023879"/>
                      <a:pt x="1216584" y="1022451"/>
                    </a:cubicBezTo>
                    <a:cubicBezTo>
                      <a:pt x="1216584" y="1022451"/>
                      <a:pt x="1216584" y="1022451"/>
                      <a:pt x="1216584" y="1021737"/>
                    </a:cubicBezTo>
                    <a:cubicBezTo>
                      <a:pt x="1216584" y="1021737"/>
                      <a:pt x="1216584" y="1021737"/>
                      <a:pt x="1150165" y="949595"/>
                    </a:cubicBezTo>
                    <a:cubicBezTo>
                      <a:pt x="1148022" y="946738"/>
                      <a:pt x="1145880" y="944595"/>
                      <a:pt x="1143023" y="943166"/>
                    </a:cubicBezTo>
                    <a:cubicBezTo>
                      <a:pt x="1140880" y="941738"/>
                      <a:pt x="1139452" y="940309"/>
                      <a:pt x="1137309" y="939595"/>
                    </a:cubicBezTo>
                    <a:cubicBezTo>
                      <a:pt x="1136595" y="938881"/>
                      <a:pt x="1135167" y="938881"/>
                      <a:pt x="1134453" y="938166"/>
                    </a:cubicBezTo>
                    <a:cubicBezTo>
                      <a:pt x="1133739" y="937452"/>
                      <a:pt x="1132310" y="937452"/>
                      <a:pt x="1131596" y="936738"/>
                    </a:cubicBezTo>
                    <a:cubicBezTo>
                      <a:pt x="1126597" y="935309"/>
                      <a:pt x="1120883" y="933881"/>
                      <a:pt x="1115170" y="933881"/>
                    </a:cubicBezTo>
                    <a:cubicBezTo>
                      <a:pt x="1105171" y="933881"/>
                      <a:pt x="1095172" y="937452"/>
                      <a:pt x="1087316" y="943881"/>
                    </a:cubicBezTo>
                    <a:cubicBezTo>
                      <a:pt x="1085888" y="944595"/>
                      <a:pt x="1084460" y="945309"/>
                      <a:pt x="1083746" y="946023"/>
                    </a:cubicBezTo>
                    <a:cubicBezTo>
                      <a:pt x="1082317" y="947452"/>
                      <a:pt x="1081603" y="948166"/>
                      <a:pt x="1080175" y="949595"/>
                    </a:cubicBezTo>
                    <a:cubicBezTo>
                      <a:pt x="1080175" y="950309"/>
                      <a:pt x="1079460" y="950309"/>
                      <a:pt x="1079460" y="951023"/>
                    </a:cubicBezTo>
                    <a:cubicBezTo>
                      <a:pt x="1078746" y="951738"/>
                      <a:pt x="1078032" y="952452"/>
                      <a:pt x="1078032" y="953166"/>
                    </a:cubicBezTo>
                    <a:cubicBezTo>
                      <a:pt x="1077318" y="953880"/>
                      <a:pt x="1076604" y="953880"/>
                      <a:pt x="1076604" y="954595"/>
                    </a:cubicBezTo>
                    <a:cubicBezTo>
                      <a:pt x="1075890" y="955309"/>
                      <a:pt x="1075890" y="956023"/>
                      <a:pt x="1075175" y="956738"/>
                    </a:cubicBezTo>
                    <a:cubicBezTo>
                      <a:pt x="1075175" y="957452"/>
                      <a:pt x="1074461" y="958166"/>
                      <a:pt x="1073747" y="958880"/>
                    </a:cubicBezTo>
                    <a:cubicBezTo>
                      <a:pt x="1073747" y="959595"/>
                      <a:pt x="1073747" y="959595"/>
                      <a:pt x="1073033" y="960309"/>
                    </a:cubicBezTo>
                    <a:cubicBezTo>
                      <a:pt x="1073033" y="961023"/>
                      <a:pt x="1072319" y="961737"/>
                      <a:pt x="1072319" y="962452"/>
                    </a:cubicBezTo>
                    <a:cubicBezTo>
                      <a:pt x="1071604" y="963166"/>
                      <a:pt x="1071604" y="963880"/>
                      <a:pt x="1071604" y="963880"/>
                    </a:cubicBezTo>
                    <a:cubicBezTo>
                      <a:pt x="1070890" y="964595"/>
                      <a:pt x="1070890" y="966023"/>
                      <a:pt x="1070890" y="966737"/>
                    </a:cubicBezTo>
                    <a:cubicBezTo>
                      <a:pt x="1070176" y="967452"/>
                      <a:pt x="1070176" y="967452"/>
                      <a:pt x="1070176" y="968166"/>
                    </a:cubicBezTo>
                    <a:cubicBezTo>
                      <a:pt x="1070176" y="968880"/>
                      <a:pt x="1069462" y="969595"/>
                      <a:pt x="1069462" y="971023"/>
                    </a:cubicBezTo>
                    <a:cubicBezTo>
                      <a:pt x="1069462" y="971023"/>
                      <a:pt x="1069462" y="971023"/>
                      <a:pt x="1069462" y="971737"/>
                    </a:cubicBezTo>
                    <a:cubicBezTo>
                      <a:pt x="1068748" y="973166"/>
                      <a:pt x="1068748" y="973880"/>
                      <a:pt x="1068748" y="975309"/>
                    </a:cubicBezTo>
                    <a:cubicBezTo>
                      <a:pt x="1068748" y="975309"/>
                      <a:pt x="1068748" y="975309"/>
                      <a:pt x="1068748" y="976023"/>
                    </a:cubicBezTo>
                    <a:cubicBezTo>
                      <a:pt x="1068748" y="976737"/>
                      <a:pt x="1068748" y="978166"/>
                      <a:pt x="1068033" y="978880"/>
                    </a:cubicBezTo>
                    <a:cubicBezTo>
                      <a:pt x="1068033" y="979594"/>
                      <a:pt x="1068033" y="981023"/>
                      <a:pt x="1068033" y="981737"/>
                    </a:cubicBezTo>
                    <a:cubicBezTo>
                      <a:pt x="1068033" y="982451"/>
                      <a:pt x="1068033" y="983166"/>
                      <a:pt x="1068748" y="983880"/>
                    </a:cubicBezTo>
                    <a:cubicBezTo>
                      <a:pt x="1068748" y="985309"/>
                      <a:pt x="1068748" y="986023"/>
                      <a:pt x="1068748" y="987451"/>
                    </a:cubicBezTo>
                    <a:cubicBezTo>
                      <a:pt x="1068748" y="988880"/>
                      <a:pt x="1069462" y="990309"/>
                      <a:pt x="1069462" y="991023"/>
                    </a:cubicBezTo>
                    <a:cubicBezTo>
                      <a:pt x="1069462" y="991023"/>
                      <a:pt x="1069462" y="991023"/>
                      <a:pt x="1069462" y="991737"/>
                    </a:cubicBezTo>
                    <a:cubicBezTo>
                      <a:pt x="1069462" y="992451"/>
                      <a:pt x="1070176" y="993880"/>
                      <a:pt x="1070176" y="995308"/>
                    </a:cubicBezTo>
                    <a:cubicBezTo>
                      <a:pt x="1070890" y="996737"/>
                      <a:pt x="1071604" y="997451"/>
                      <a:pt x="1071604" y="998880"/>
                    </a:cubicBezTo>
                    <a:cubicBezTo>
                      <a:pt x="1071604" y="998880"/>
                      <a:pt x="1071604" y="998880"/>
                      <a:pt x="1071604" y="999594"/>
                    </a:cubicBezTo>
                    <a:cubicBezTo>
                      <a:pt x="1072319" y="1000308"/>
                      <a:pt x="1073033" y="1001737"/>
                      <a:pt x="1073747" y="1002451"/>
                    </a:cubicBezTo>
                    <a:cubicBezTo>
                      <a:pt x="1073747" y="1003165"/>
                      <a:pt x="1073747" y="1003165"/>
                      <a:pt x="1073747" y="1003165"/>
                    </a:cubicBezTo>
                    <a:cubicBezTo>
                      <a:pt x="1074461" y="1003880"/>
                      <a:pt x="1075175" y="1005308"/>
                      <a:pt x="1075890" y="1006737"/>
                    </a:cubicBezTo>
                    <a:cubicBezTo>
                      <a:pt x="1075890" y="1006737"/>
                      <a:pt x="1075890" y="1006737"/>
                      <a:pt x="908056" y="1006737"/>
                    </a:cubicBezTo>
                    <a:cubicBezTo>
                      <a:pt x="948764" y="976023"/>
                      <a:pt x="985188" y="939595"/>
                      <a:pt x="1014470" y="897453"/>
                    </a:cubicBezTo>
                    <a:cubicBezTo>
                      <a:pt x="1015898" y="896024"/>
                      <a:pt x="1016612" y="894596"/>
                      <a:pt x="1017326" y="893881"/>
                    </a:cubicBezTo>
                    <a:cubicBezTo>
                      <a:pt x="1019469" y="891024"/>
                      <a:pt x="1020897" y="888881"/>
                      <a:pt x="1022326" y="886024"/>
                    </a:cubicBezTo>
                    <a:cubicBezTo>
                      <a:pt x="1075175" y="808168"/>
                      <a:pt x="1102314" y="716741"/>
                      <a:pt x="1102314" y="621028"/>
                    </a:cubicBezTo>
                    <a:cubicBezTo>
                      <a:pt x="1102314" y="617456"/>
                      <a:pt x="1102314" y="613171"/>
                      <a:pt x="1102314" y="608885"/>
                    </a:cubicBezTo>
                    <a:cubicBezTo>
                      <a:pt x="1102314" y="604599"/>
                      <a:pt x="1102314" y="600314"/>
                      <a:pt x="1102314" y="596742"/>
                    </a:cubicBezTo>
                    <a:cubicBezTo>
                      <a:pt x="1101600" y="596028"/>
                      <a:pt x="1101600" y="596028"/>
                      <a:pt x="1101600" y="596028"/>
                    </a:cubicBezTo>
                    <a:cubicBezTo>
                      <a:pt x="1101600" y="591743"/>
                      <a:pt x="1101600" y="588171"/>
                      <a:pt x="1100886" y="584600"/>
                    </a:cubicBezTo>
                    <a:cubicBezTo>
                      <a:pt x="1100886" y="580314"/>
                      <a:pt x="1100886" y="576743"/>
                      <a:pt x="1100172" y="573171"/>
                    </a:cubicBezTo>
                    <a:cubicBezTo>
                      <a:pt x="1100172" y="572457"/>
                      <a:pt x="1100172" y="572457"/>
                      <a:pt x="1100172" y="571743"/>
                    </a:cubicBezTo>
                    <a:cubicBezTo>
                      <a:pt x="1099458" y="568171"/>
                      <a:pt x="1099458" y="564600"/>
                      <a:pt x="1098743" y="561029"/>
                    </a:cubicBezTo>
                    <a:cubicBezTo>
                      <a:pt x="1098029" y="556743"/>
                      <a:pt x="1097315" y="551743"/>
                      <a:pt x="1096601" y="547457"/>
                    </a:cubicBezTo>
                    <a:cubicBezTo>
                      <a:pt x="1096601" y="545315"/>
                      <a:pt x="1096601" y="543886"/>
                      <a:pt x="1095887" y="541743"/>
                    </a:cubicBezTo>
                    <a:cubicBezTo>
                      <a:pt x="1095887" y="538886"/>
                      <a:pt x="1095172" y="536743"/>
                      <a:pt x="1094458" y="533886"/>
                    </a:cubicBezTo>
                    <a:cubicBezTo>
                      <a:pt x="1093744" y="529600"/>
                      <a:pt x="1093030" y="525315"/>
                      <a:pt x="1092316" y="521029"/>
                    </a:cubicBezTo>
                    <a:cubicBezTo>
                      <a:pt x="1091602" y="519601"/>
                      <a:pt x="1091602" y="518886"/>
                      <a:pt x="1091602" y="517458"/>
                    </a:cubicBezTo>
                    <a:cubicBezTo>
                      <a:pt x="1090887" y="513886"/>
                      <a:pt x="1089459" y="511029"/>
                      <a:pt x="1088745" y="507458"/>
                    </a:cubicBezTo>
                    <a:cubicBezTo>
                      <a:pt x="1083031" y="482458"/>
                      <a:pt x="1075175" y="458173"/>
                      <a:pt x="1065177" y="434602"/>
                    </a:cubicBezTo>
                    <a:cubicBezTo>
                      <a:pt x="1040894" y="377460"/>
                      <a:pt x="1005899" y="326746"/>
                      <a:pt x="962334" y="282461"/>
                    </a:cubicBezTo>
                    <a:cubicBezTo>
                      <a:pt x="918054" y="238176"/>
                      <a:pt x="866633" y="203891"/>
                      <a:pt x="809498" y="179605"/>
                    </a:cubicBezTo>
                    <a:cubicBezTo>
                      <a:pt x="753792" y="156034"/>
                      <a:pt x="695229" y="143891"/>
                      <a:pt x="634523" y="141749"/>
                    </a:cubicBezTo>
                    <a:cubicBezTo>
                      <a:pt x="631666" y="141749"/>
                      <a:pt x="629524" y="141749"/>
                      <a:pt x="626667" y="141749"/>
                    </a:cubicBezTo>
                    <a:cubicBezTo>
                      <a:pt x="625238" y="141749"/>
                      <a:pt x="623810" y="141749"/>
                      <a:pt x="622382" y="141749"/>
                    </a:cubicBezTo>
                    <a:cubicBezTo>
                      <a:pt x="563104" y="141749"/>
                      <a:pt x="505255" y="152463"/>
                      <a:pt x="450977" y="173891"/>
                    </a:cubicBezTo>
                    <a:cubicBezTo>
                      <a:pt x="450977" y="173891"/>
                      <a:pt x="450977" y="173891"/>
                      <a:pt x="443835" y="75321"/>
                    </a:cubicBezTo>
                    <a:cubicBezTo>
                      <a:pt x="441693" y="51036"/>
                      <a:pt x="420981" y="31750"/>
                      <a:pt x="396699" y="31750"/>
                    </a:cubicBezTo>
                    <a:cubicBezTo>
                      <a:pt x="395985" y="31750"/>
                      <a:pt x="395985" y="31750"/>
                      <a:pt x="395271" y="31750"/>
                    </a:cubicBezTo>
                    <a:cubicBezTo>
                      <a:pt x="394556" y="31750"/>
                      <a:pt x="393842" y="31750"/>
                      <a:pt x="393128" y="31750"/>
                    </a:cubicBezTo>
                    <a:close/>
                    <a:moveTo>
                      <a:pt x="390862" y="0"/>
                    </a:moveTo>
                    <a:cubicBezTo>
                      <a:pt x="393005" y="0"/>
                      <a:pt x="394435" y="0"/>
                      <a:pt x="396578" y="0"/>
                    </a:cubicBezTo>
                    <a:cubicBezTo>
                      <a:pt x="437308" y="0"/>
                      <a:pt x="471607" y="32160"/>
                      <a:pt x="475179" y="72895"/>
                    </a:cubicBezTo>
                    <a:cubicBezTo>
                      <a:pt x="475179" y="72895"/>
                      <a:pt x="475179" y="72895"/>
                      <a:pt x="479467" y="130783"/>
                    </a:cubicBezTo>
                    <a:cubicBezTo>
                      <a:pt x="525198" y="117204"/>
                      <a:pt x="573788" y="110057"/>
                      <a:pt x="622378" y="110057"/>
                    </a:cubicBezTo>
                    <a:cubicBezTo>
                      <a:pt x="904627" y="110057"/>
                      <a:pt x="1133999" y="340177"/>
                      <a:pt x="1133999" y="621038"/>
                    </a:cubicBezTo>
                    <a:cubicBezTo>
                      <a:pt x="1133999" y="726092"/>
                      <a:pt x="1102559" y="826859"/>
                      <a:pt x="1043251" y="911903"/>
                    </a:cubicBezTo>
                    <a:cubicBezTo>
                      <a:pt x="1027530" y="934058"/>
                      <a:pt x="1010381" y="955498"/>
                      <a:pt x="991803" y="975508"/>
                    </a:cubicBezTo>
                    <a:cubicBezTo>
                      <a:pt x="991803" y="975508"/>
                      <a:pt x="991803" y="975508"/>
                      <a:pt x="1037534" y="975508"/>
                    </a:cubicBezTo>
                    <a:cubicBezTo>
                      <a:pt x="1038963" y="956212"/>
                      <a:pt x="1047538" y="936916"/>
                      <a:pt x="1062543" y="923338"/>
                    </a:cubicBezTo>
                    <a:cubicBezTo>
                      <a:pt x="1077549" y="909759"/>
                      <a:pt x="1096128" y="902613"/>
                      <a:pt x="1115421" y="902613"/>
                    </a:cubicBezTo>
                    <a:cubicBezTo>
                      <a:pt x="1137572" y="902613"/>
                      <a:pt x="1159008" y="911903"/>
                      <a:pt x="1174014" y="928341"/>
                    </a:cubicBezTo>
                    <a:cubicBezTo>
                      <a:pt x="1174014" y="928341"/>
                      <a:pt x="1174014" y="928341"/>
                      <a:pt x="1240468" y="1001236"/>
                    </a:cubicBezTo>
                    <a:cubicBezTo>
                      <a:pt x="1240468" y="1001236"/>
                      <a:pt x="1240468" y="1001236"/>
                      <a:pt x="1240468" y="1001950"/>
                    </a:cubicBezTo>
                    <a:cubicBezTo>
                      <a:pt x="1240468" y="1001950"/>
                      <a:pt x="1240468" y="1001950"/>
                      <a:pt x="1241897" y="1003380"/>
                    </a:cubicBezTo>
                    <a:cubicBezTo>
                      <a:pt x="1241897" y="1003380"/>
                      <a:pt x="1241897" y="1003380"/>
                      <a:pt x="1243326" y="1004809"/>
                    </a:cubicBezTo>
                    <a:cubicBezTo>
                      <a:pt x="1243326" y="1004809"/>
                      <a:pt x="1243326" y="1004809"/>
                      <a:pt x="1244040" y="1006238"/>
                    </a:cubicBezTo>
                    <a:cubicBezTo>
                      <a:pt x="1244040" y="1006238"/>
                      <a:pt x="1244040" y="1006238"/>
                      <a:pt x="1244755" y="1006953"/>
                    </a:cubicBezTo>
                    <a:cubicBezTo>
                      <a:pt x="1244755" y="1006953"/>
                      <a:pt x="1245470" y="1007668"/>
                      <a:pt x="1245470" y="1008382"/>
                    </a:cubicBezTo>
                    <a:cubicBezTo>
                      <a:pt x="1246899" y="1009812"/>
                      <a:pt x="1247613" y="1011241"/>
                      <a:pt x="1248328" y="1012670"/>
                    </a:cubicBezTo>
                    <a:cubicBezTo>
                      <a:pt x="1249042" y="1013385"/>
                      <a:pt x="1249757" y="1014100"/>
                      <a:pt x="1249757" y="1014814"/>
                    </a:cubicBezTo>
                    <a:cubicBezTo>
                      <a:pt x="1250471" y="1016244"/>
                      <a:pt x="1251901" y="1017673"/>
                      <a:pt x="1252615" y="1019817"/>
                    </a:cubicBezTo>
                    <a:cubicBezTo>
                      <a:pt x="1252615" y="1020531"/>
                      <a:pt x="1253330" y="1021246"/>
                      <a:pt x="1253330" y="1021961"/>
                    </a:cubicBezTo>
                    <a:cubicBezTo>
                      <a:pt x="1254044" y="1023390"/>
                      <a:pt x="1254759" y="1024819"/>
                      <a:pt x="1255473" y="1026963"/>
                    </a:cubicBezTo>
                    <a:cubicBezTo>
                      <a:pt x="1255473" y="1026963"/>
                      <a:pt x="1256188" y="1027678"/>
                      <a:pt x="1256188" y="1028393"/>
                    </a:cubicBezTo>
                    <a:cubicBezTo>
                      <a:pt x="1256902" y="1030537"/>
                      <a:pt x="1257617" y="1032681"/>
                      <a:pt x="1257617" y="1034110"/>
                    </a:cubicBezTo>
                    <a:cubicBezTo>
                      <a:pt x="1257617" y="1034110"/>
                      <a:pt x="1257617" y="1034110"/>
                      <a:pt x="1257617" y="1034825"/>
                    </a:cubicBezTo>
                    <a:cubicBezTo>
                      <a:pt x="1257617" y="1034825"/>
                      <a:pt x="1257617" y="1034825"/>
                      <a:pt x="1258332" y="1035539"/>
                    </a:cubicBezTo>
                    <a:cubicBezTo>
                      <a:pt x="1258332" y="1035539"/>
                      <a:pt x="1258332" y="1035539"/>
                      <a:pt x="1258332" y="1036254"/>
                    </a:cubicBezTo>
                    <a:cubicBezTo>
                      <a:pt x="1258332" y="1037683"/>
                      <a:pt x="1259046" y="1039827"/>
                      <a:pt x="1259046" y="1041257"/>
                    </a:cubicBezTo>
                    <a:cubicBezTo>
                      <a:pt x="1259761" y="1042686"/>
                      <a:pt x="1259761" y="1043401"/>
                      <a:pt x="1259761" y="1044115"/>
                    </a:cubicBezTo>
                    <a:cubicBezTo>
                      <a:pt x="1259761" y="1045544"/>
                      <a:pt x="1259761" y="1047688"/>
                      <a:pt x="1260475" y="1049118"/>
                    </a:cubicBezTo>
                    <a:cubicBezTo>
                      <a:pt x="1260475" y="1049118"/>
                      <a:pt x="1260475" y="1049118"/>
                      <a:pt x="1260475" y="1049832"/>
                    </a:cubicBezTo>
                    <a:cubicBezTo>
                      <a:pt x="1260475" y="1051262"/>
                      <a:pt x="1260475" y="1052691"/>
                      <a:pt x="1260475" y="1054120"/>
                    </a:cubicBezTo>
                    <a:cubicBezTo>
                      <a:pt x="1260475" y="1055550"/>
                      <a:pt x="1260475" y="1056979"/>
                      <a:pt x="1260475" y="1058408"/>
                    </a:cubicBezTo>
                    <a:cubicBezTo>
                      <a:pt x="1259761" y="1060552"/>
                      <a:pt x="1259761" y="1062696"/>
                      <a:pt x="1259761" y="1064126"/>
                    </a:cubicBezTo>
                    <a:cubicBezTo>
                      <a:pt x="1259761" y="1064126"/>
                      <a:pt x="1259761" y="1064126"/>
                      <a:pt x="1259761" y="1064840"/>
                    </a:cubicBezTo>
                    <a:cubicBezTo>
                      <a:pt x="1259761" y="1064840"/>
                      <a:pt x="1259761" y="1064840"/>
                      <a:pt x="1259046" y="1065555"/>
                    </a:cubicBezTo>
                    <a:cubicBezTo>
                      <a:pt x="1259046" y="1065555"/>
                      <a:pt x="1259046" y="1065555"/>
                      <a:pt x="1259046" y="1066270"/>
                    </a:cubicBezTo>
                    <a:cubicBezTo>
                      <a:pt x="1259046" y="1068414"/>
                      <a:pt x="1258332" y="1069843"/>
                      <a:pt x="1258332" y="1071987"/>
                    </a:cubicBezTo>
                    <a:cubicBezTo>
                      <a:pt x="1258332" y="1071987"/>
                      <a:pt x="1258332" y="1071987"/>
                      <a:pt x="1257617" y="1073416"/>
                    </a:cubicBezTo>
                    <a:cubicBezTo>
                      <a:pt x="1257617" y="1075560"/>
                      <a:pt x="1256902" y="1077704"/>
                      <a:pt x="1256188" y="1079133"/>
                    </a:cubicBezTo>
                    <a:cubicBezTo>
                      <a:pt x="1256188" y="1079133"/>
                      <a:pt x="1256188" y="1079133"/>
                      <a:pt x="1256188" y="1079848"/>
                    </a:cubicBezTo>
                    <a:cubicBezTo>
                      <a:pt x="1256188" y="1079848"/>
                      <a:pt x="1256188" y="1079848"/>
                      <a:pt x="1255473" y="1080563"/>
                    </a:cubicBezTo>
                    <a:cubicBezTo>
                      <a:pt x="1255473" y="1080563"/>
                      <a:pt x="1255473" y="1080563"/>
                      <a:pt x="1255473" y="1081277"/>
                    </a:cubicBezTo>
                    <a:cubicBezTo>
                      <a:pt x="1254759" y="1082707"/>
                      <a:pt x="1254044" y="1084851"/>
                      <a:pt x="1253330" y="1086280"/>
                    </a:cubicBezTo>
                    <a:cubicBezTo>
                      <a:pt x="1253330" y="1086280"/>
                      <a:pt x="1253330" y="1086280"/>
                      <a:pt x="1253330" y="1086995"/>
                    </a:cubicBezTo>
                    <a:cubicBezTo>
                      <a:pt x="1253330" y="1086995"/>
                      <a:pt x="1253330" y="1086995"/>
                      <a:pt x="1252615" y="1086995"/>
                    </a:cubicBezTo>
                    <a:cubicBezTo>
                      <a:pt x="1252615" y="1086995"/>
                      <a:pt x="1252615" y="1086995"/>
                      <a:pt x="1252615" y="1087709"/>
                    </a:cubicBezTo>
                    <a:cubicBezTo>
                      <a:pt x="1252615" y="1087709"/>
                      <a:pt x="1252615" y="1087709"/>
                      <a:pt x="1252615" y="1088424"/>
                    </a:cubicBezTo>
                    <a:cubicBezTo>
                      <a:pt x="1251901" y="1089853"/>
                      <a:pt x="1250471" y="1091997"/>
                      <a:pt x="1249757" y="1093427"/>
                    </a:cubicBezTo>
                    <a:cubicBezTo>
                      <a:pt x="1249757" y="1093427"/>
                      <a:pt x="1249757" y="1093427"/>
                      <a:pt x="1249042" y="1094856"/>
                    </a:cubicBezTo>
                    <a:cubicBezTo>
                      <a:pt x="1247613" y="1096285"/>
                      <a:pt x="1246899" y="1097715"/>
                      <a:pt x="1246184" y="1099144"/>
                    </a:cubicBezTo>
                    <a:cubicBezTo>
                      <a:pt x="1246184" y="1099144"/>
                      <a:pt x="1246184" y="1099144"/>
                      <a:pt x="1245470" y="1099144"/>
                    </a:cubicBezTo>
                    <a:cubicBezTo>
                      <a:pt x="1245470" y="1099144"/>
                      <a:pt x="1245470" y="1099144"/>
                      <a:pt x="1245470" y="1099858"/>
                    </a:cubicBezTo>
                    <a:cubicBezTo>
                      <a:pt x="1245470" y="1099858"/>
                      <a:pt x="1245470" y="1099858"/>
                      <a:pt x="1244755" y="1100573"/>
                    </a:cubicBezTo>
                    <a:cubicBezTo>
                      <a:pt x="1244755" y="1100573"/>
                      <a:pt x="1244755" y="1100573"/>
                      <a:pt x="1244040" y="1101288"/>
                    </a:cubicBezTo>
                    <a:cubicBezTo>
                      <a:pt x="1244040" y="1101288"/>
                      <a:pt x="1244040" y="1101288"/>
                      <a:pt x="1243326" y="1102717"/>
                    </a:cubicBezTo>
                    <a:cubicBezTo>
                      <a:pt x="1243326" y="1102717"/>
                      <a:pt x="1243326" y="1102717"/>
                      <a:pt x="1241897" y="1104146"/>
                    </a:cubicBezTo>
                    <a:cubicBezTo>
                      <a:pt x="1241897" y="1104146"/>
                      <a:pt x="1241897" y="1104146"/>
                      <a:pt x="1240468" y="1106290"/>
                    </a:cubicBezTo>
                    <a:cubicBezTo>
                      <a:pt x="1240468" y="1106290"/>
                      <a:pt x="1240468" y="1106290"/>
                      <a:pt x="1239753" y="1106290"/>
                    </a:cubicBezTo>
                    <a:cubicBezTo>
                      <a:pt x="1239753" y="1106290"/>
                      <a:pt x="1239753" y="1106290"/>
                      <a:pt x="1239753" y="1107005"/>
                    </a:cubicBezTo>
                    <a:cubicBezTo>
                      <a:pt x="1239753" y="1107005"/>
                      <a:pt x="1239753" y="1107005"/>
                      <a:pt x="1174014" y="1179186"/>
                    </a:cubicBezTo>
                    <a:cubicBezTo>
                      <a:pt x="1159008" y="1195623"/>
                      <a:pt x="1137572" y="1204913"/>
                      <a:pt x="1115421" y="1204913"/>
                    </a:cubicBezTo>
                    <a:cubicBezTo>
                      <a:pt x="1096128" y="1204913"/>
                      <a:pt x="1077549" y="1197767"/>
                      <a:pt x="1062543" y="1184903"/>
                    </a:cubicBezTo>
                    <a:cubicBezTo>
                      <a:pt x="1047538" y="1170610"/>
                      <a:pt x="1038963" y="1152029"/>
                      <a:pt x="1037534" y="1132733"/>
                    </a:cubicBezTo>
                    <a:cubicBezTo>
                      <a:pt x="1037534" y="1132733"/>
                      <a:pt x="1037534" y="1132733"/>
                      <a:pt x="78601" y="1132733"/>
                    </a:cubicBezTo>
                    <a:cubicBezTo>
                      <a:pt x="35728" y="1132733"/>
                      <a:pt x="0" y="1097000"/>
                      <a:pt x="0" y="1054120"/>
                    </a:cubicBezTo>
                    <a:cubicBezTo>
                      <a:pt x="0" y="1010526"/>
                      <a:pt x="35728" y="975508"/>
                      <a:pt x="78601" y="975508"/>
                    </a:cubicBezTo>
                    <a:cubicBezTo>
                      <a:pt x="78601" y="975508"/>
                      <a:pt x="78601" y="975508"/>
                      <a:pt x="253667" y="975508"/>
                    </a:cubicBezTo>
                    <a:cubicBezTo>
                      <a:pt x="235089" y="955498"/>
                      <a:pt x="217225" y="934058"/>
                      <a:pt x="201505" y="911903"/>
                    </a:cubicBezTo>
                    <a:cubicBezTo>
                      <a:pt x="142197" y="826859"/>
                      <a:pt x="110756" y="726092"/>
                      <a:pt x="110756" y="621038"/>
                    </a:cubicBezTo>
                    <a:cubicBezTo>
                      <a:pt x="110756" y="578158"/>
                      <a:pt x="116473" y="535993"/>
                      <a:pt x="126476" y="494543"/>
                    </a:cubicBezTo>
                    <a:cubicBezTo>
                      <a:pt x="92892" y="475248"/>
                      <a:pt x="64310" y="447376"/>
                      <a:pt x="42159" y="413787"/>
                    </a:cubicBezTo>
                    <a:cubicBezTo>
                      <a:pt x="15006" y="373051"/>
                      <a:pt x="715" y="325169"/>
                      <a:pt x="715" y="275858"/>
                    </a:cubicBezTo>
                    <a:cubicBezTo>
                      <a:pt x="715" y="135785"/>
                      <a:pt x="115044" y="21440"/>
                      <a:pt x="255096" y="21440"/>
                    </a:cubicBezTo>
                    <a:cubicBezTo>
                      <a:pt x="281535" y="21440"/>
                      <a:pt x="307259" y="25013"/>
                      <a:pt x="332268" y="32874"/>
                    </a:cubicBezTo>
                    <a:cubicBezTo>
                      <a:pt x="333697" y="30730"/>
                      <a:pt x="335127" y="29301"/>
                      <a:pt x="337270" y="27157"/>
                    </a:cubicBezTo>
                    <a:cubicBezTo>
                      <a:pt x="350847" y="11435"/>
                      <a:pt x="370140" y="1429"/>
                      <a:pt x="390862" y="0"/>
                    </a:cubicBezTo>
                    <a:close/>
                  </a:path>
                </a:pathLst>
              </a:custGeom>
              <a:solidFill>
                <a:srgbClr val="000A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 name="Group 3">
            <a:extLst>
              <a:ext uri="{FF2B5EF4-FFF2-40B4-BE49-F238E27FC236}">
                <a16:creationId xmlns:a16="http://schemas.microsoft.com/office/drawing/2014/main" id="{7646BC13-D417-4978-9E91-91FC6AF87BA0}"/>
              </a:ext>
            </a:extLst>
          </p:cNvPr>
          <p:cNvGrpSpPr/>
          <p:nvPr/>
        </p:nvGrpSpPr>
        <p:grpSpPr>
          <a:xfrm>
            <a:off x="5255549" y="4635996"/>
            <a:ext cx="1288832" cy="1289695"/>
            <a:chOff x="5255549" y="1081518"/>
            <a:chExt cx="1288832" cy="1289695"/>
          </a:xfrm>
        </p:grpSpPr>
        <p:sp>
          <p:nvSpPr>
            <p:cNvPr id="16" name="Oval 15">
              <a:extLst>
                <a:ext uri="{FF2B5EF4-FFF2-40B4-BE49-F238E27FC236}">
                  <a16:creationId xmlns:a16="http://schemas.microsoft.com/office/drawing/2014/main" id="{7DD6D8C4-1B02-4E55-B7A7-EC1FB3E7FD2B}"/>
                </a:ext>
              </a:extLst>
            </p:cNvPr>
            <p:cNvSpPr>
              <a:spLocks noChangeAspect="1"/>
            </p:cNvSpPr>
            <p:nvPr/>
          </p:nvSpPr>
          <p:spPr>
            <a:xfrm>
              <a:off x="5255549" y="1081518"/>
              <a:ext cx="1288832" cy="1289695"/>
            </a:xfrm>
            <a:prstGeom prst="ellipse">
              <a:avLst/>
            </a:prstGeom>
            <a:solidFill>
              <a:srgbClr val="FFFFFF"/>
            </a:solidFill>
            <a:ln w="25400" cap="rnd">
              <a:solidFill>
                <a:srgbClr val="005778"/>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ts val="1400"/>
              </a:pPr>
              <a:endParaRPr lang="en-US" sz="1200" dirty="0">
                <a:solidFill>
                  <a:srgbClr val="005778"/>
                </a:solidFill>
                <a:latin typeface="Arial" panose="020B06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id="{F8291E28-C01F-489C-A7EB-F75237F729E6}"/>
                </a:ext>
              </a:extLst>
            </p:cNvPr>
            <p:cNvGrpSpPr>
              <a:grpSpLocks noChangeAspect="1"/>
            </p:cNvGrpSpPr>
            <p:nvPr/>
          </p:nvGrpSpPr>
          <p:grpSpPr>
            <a:xfrm>
              <a:off x="5441826" y="1239251"/>
              <a:ext cx="943732" cy="942822"/>
              <a:chOff x="6464300" y="2606675"/>
              <a:chExt cx="1646238" cy="1644650"/>
            </a:xfrm>
          </p:grpSpPr>
          <p:sp>
            <p:nvSpPr>
              <p:cNvPr id="27" name="AutoShape 3">
                <a:extLst>
                  <a:ext uri="{FF2B5EF4-FFF2-40B4-BE49-F238E27FC236}">
                    <a16:creationId xmlns:a16="http://schemas.microsoft.com/office/drawing/2014/main" id="{99B74E68-769A-4285-87E2-0603147F9B46}"/>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2" name="Group 31">
                <a:extLst>
                  <a:ext uri="{FF2B5EF4-FFF2-40B4-BE49-F238E27FC236}">
                    <a16:creationId xmlns:a16="http://schemas.microsoft.com/office/drawing/2014/main" id="{6253D626-AF39-4C4A-B3C9-106093025AB6}"/>
                  </a:ext>
                </a:extLst>
              </p:cNvPr>
              <p:cNvGrpSpPr/>
              <p:nvPr/>
            </p:nvGrpSpPr>
            <p:grpSpPr>
              <a:xfrm>
                <a:off x="6634163" y="2962275"/>
                <a:ext cx="1304925" cy="931863"/>
                <a:chOff x="6634163" y="2962275"/>
                <a:chExt cx="1304925" cy="931863"/>
              </a:xfrm>
            </p:grpSpPr>
            <p:sp>
              <p:nvSpPr>
                <p:cNvPr id="33" name="Freeform 10">
                  <a:extLst>
                    <a:ext uri="{FF2B5EF4-FFF2-40B4-BE49-F238E27FC236}">
                      <a16:creationId xmlns:a16="http://schemas.microsoft.com/office/drawing/2014/main" id="{28CEC626-3212-43B6-A4B3-98584051ADB0}"/>
                    </a:ext>
                  </a:extLst>
                </p:cNvPr>
                <p:cNvSpPr>
                  <a:spLocks/>
                </p:cNvSpPr>
                <p:nvPr/>
              </p:nvSpPr>
              <p:spPr bwMode="auto">
                <a:xfrm>
                  <a:off x="6634163" y="2962275"/>
                  <a:ext cx="1304925" cy="931863"/>
                </a:xfrm>
                <a:custGeom>
                  <a:avLst/>
                  <a:gdLst>
                    <a:gd name="connsiteX0" fmla="*/ 844550 w 1304925"/>
                    <a:gd name="connsiteY0" fmla="*/ 827088 h 931863"/>
                    <a:gd name="connsiteX1" fmla="*/ 876300 w 1304925"/>
                    <a:gd name="connsiteY1" fmla="*/ 827088 h 931863"/>
                    <a:gd name="connsiteX2" fmla="*/ 876300 w 1304925"/>
                    <a:gd name="connsiteY2" fmla="*/ 855766 h 931863"/>
                    <a:gd name="connsiteX3" fmla="*/ 860425 w 1304925"/>
                    <a:gd name="connsiteY3" fmla="*/ 871538 h 931863"/>
                    <a:gd name="connsiteX4" fmla="*/ 844550 w 1304925"/>
                    <a:gd name="connsiteY4" fmla="*/ 855766 h 931863"/>
                    <a:gd name="connsiteX5" fmla="*/ 844550 w 1304925"/>
                    <a:gd name="connsiteY5" fmla="*/ 827088 h 931863"/>
                    <a:gd name="connsiteX6" fmla="*/ 636587 w 1304925"/>
                    <a:gd name="connsiteY6" fmla="*/ 827088 h 931863"/>
                    <a:gd name="connsiteX7" fmla="*/ 668337 w 1304925"/>
                    <a:gd name="connsiteY7" fmla="*/ 827088 h 931863"/>
                    <a:gd name="connsiteX8" fmla="*/ 668337 w 1304925"/>
                    <a:gd name="connsiteY8" fmla="*/ 855766 h 931863"/>
                    <a:gd name="connsiteX9" fmla="*/ 652462 w 1304925"/>
                    <a:gd name="connsiteY9" fmla="*/ 871538 h 931863"/>
                    <a:gd name="connsiteX10" fmla="*/ 636587 w 1304925"/>
                    <a:gd name="connsiteY10" fmla="*/ 855766 h 931863"/>
                    <a:gd name="connsiteX11" fmla="*/ 636587 w 1304925"/>
                    <a:gd name="connsiteY11" fmla="*/ 827088 h 931863"/>
                    <a:gd name="connsiteX12" fmla="*/ 430212 w 1304925"/>
                    <a:gd name="connsiteY12" fmla="*/ 827088 h 931863"/>
                    <a:gd name="connsiteX13" fmla="*/ 460375 w 1304925"/>
                    <a:gd name="connsiteY13" fmla="*/ 827088 h 931863"/>
                    <a:gd name="connsiteX14" fmla="*/ 460375 w 1304925"/>
                    <a:gd name="connsiteY14" fmla="*/ 855766 h 931863"/>
                    <a:gd name="connsiteX15" fmla="*/ 445294 w 1304925"/>
                    <a:gd name="connsiteY15" fmla="*/ 871538 h 931863"/>
                    <a:gd name="connsiteX16" fmla="*/ 430212 w 1304925"/>
                    <a:gd name="connsiteY16" fmla="*/ 855766 h 931863"/>
                    <a:gd name="connsiteX17" fmla="*/ 430212 w 1304925"/>
                    <a:gd name="connsiteY17" fmla="*/ 827088 h 931863"/>
                    <a:gd name="connsiteX18" fmla="*/ 844550 w 1304925"/>
                    <a:gd name="connsiteY18" fmla="*/ 636588 h 931863"/>
                    <a:gd name="connsiteX19" fmla="*/ 876300 w 1304925"/>
                    <a:gd name="connsiteY19" fmla="*/ 636588 h 931863"/>
                    <a:gd name="connsiteX20" fmla="*/ 876300 w 1304925"/>
                    <a:gd name="connsiteY20" fmla="*/ 684213 h 931863"/>
                    <a:gd name="connsiteX21" fmla="*/ 844550 w 1304925"/>
                    <a:gd name="connsiteY21" fmla="*/ 684213 h 931863"/>
                    <a:gd name="connsiteX22" fmla="*/ 636587 w 1304925"/>
                    <a:gd name="connsiteY22" fmla="*/ 636588 h 931863"/>
                    <a:gd name="connsiteX23" fmla="*/ 668337 w 1304925"/>
                    <a:gd name="connsiteY23" fmla="*/ 636588 h 931863"/>
                    <a:gd name="connsiteX24" fmla="*/ 668337 w 1304925"/>
                    <a:gd name="connsiteY24" fmla="*/ 684213 h 931863"/>
                    <a:gd name="connsiteX25" fmla="*/ 636587 w 1304925"/>
                    <a:gd name="connsiteY25" fmla="*/ 684213 h 931863"/>
                    <a:gd name="connsiteX26" fmla="*/ 636587 w 1304925"/>
                    <a:gd name="connsiteY26" fmla="*/ 449263 h 931863"/>
                    <a:gd name="connsiteX27" fmla="*/ 668337 w 1304925"/>
                    <a:gd name="connsiteY27" fmla="*/ 449263 h 931863"/>
                    <a:gd name="connsiteX28" fmla="*/ 668337 w 1304925"/>
                    <a:gd name="connsiteY28" fmla="*/ 495301 h 931863"/>
                    <a:gd name="connsiteX29" fmla="*/ 636587 w 1304925"/>
                    <a:gd name="connsiteY29" fmla="*/ 495301 h 931863"/>
                    <a:gd name="connsiteX30" fmla="*/ 430212 w 1304925"/>
                    <a:gd name="connsiteY30" fmla="*/ 449263 h 931863"/>
                    <a:gd name="connsiteX31" fmla="*/ 460375 w 1304925"/>
                    <a:gd name="connsiteY31" fmla="*/ 449263 h 931863"/>
                    <a:gd name="connsiteX32" fmla="*/ 460375 w 1304925"/>
                    <a:gd name="connsiteY32" fmla="*/ 684213 h 931863"/>
                    <a:gd name="connsiteX33" fmla="*/ 430212 w 1304925"/>
                    <a:gd name="connsiteY33" fmla="*/ 684213 h 931863"/>
                    <a:gd name="connsiteX34" fmla="*/ 222250 w 1304925"/>
                    <a:gd name="connsiteY34" fmla="*/ 449263 h 931863"/>
                    <a:gd name="connsiteX35" fmla="*/ 254000 w 1304925"/>
                    <a:gd name="connsiteY35" fmla="*/ 449263 h 931863"/>
                    <a:gd name="connsiteX36" fmla="*/ 254000 w 1304925"/>
                    <a:gd name="connsiteY36" fmla="*/ 855819 h 931863"/>
                    <a:gd name="connsiteX37" fmla="*/ 238125 w 1304925"/>
                    <a:gd name="connsiteY37" fmla="*/ 871538 h 931863"/>
                    <a:gd name="connsiteX38" fmla="*/ 222250 w 1304925"/>
                    <a:gd name="connsiteY38" fmla="*/ 855819 h 931863"/>
                    <a:gd name="connsiteX39" fmla="*/ 222250 w 1304925"/>
                    <a:gd name="connsiteY39" fmla="*/ 449263 h 931863"/>
                    <a:gd name="connsiteX40" fmla="*/ 430212 w 1304925"/>
                    <a:gd name="connsiteY40" fmla="*/ 258763 h 931863"/>
                    <a:gd name="connsiteX41" fmla="*/ 460375 w 1304925"/>
                    <a:gd name="connsiteY41" fmla="*/ 258763 h 931863"/>
                    <a:gd name="connsiteX42" fmla="*/ 460375 w 1304925"/>
                    <a:gd name="connsiteY42" fmla="*/ 306388 h 931863"/>
                    <a:gd name="connsiteX43" fmla="*/ 430212 w 1304925"/>
                    <a:gd name="connsiteY43" fmla="*/ 306388 h 931863"/>
                    <a:gd name="connsiteX44" fmla="*/ 222250 w 1304925"/>
                    <a:gd name="connsiteY44" fmla="*/ 258763 h 931863"/>
                    <a:gd name="connsiteX45" fmla="*/ 254000 w 1304925"/>
                    <a:gd name="connsiteY45" fmla="*/ 258763 h 931863"/>
                    <a:gd name="connsiteX46" fmla="*/ 254000 w 1304925"/>
                    <a:gd name="connsiteY46" fmla="*/ 306388 h 931863"/>
                    <a:gd name="connsiteX47" fmla="*/ 222250 w 1304925"/>
                    <a:gd name="connsiteY47" fmla="*/ 306388 h 931863"/>
                    <a:gd name="connsiteX48" fmla="*/ 1066800 w 1304925"/>
                    <a:gd name="connsiteY48" fmla="*/ 61913 h 931863"/>
                    <a:gd name="connsiteX49" fmla="*/ 1082675 w 1304925"/>
                    <a:gd name="connsiteY49" fmla="*/ 77620 h 931863"/>
                    <a:gd name="connsiteX50" fmla="*/ 1082675 w 1304925"/>
                    <a:gd name="connsiteY50" fmla="*/ 855831 h 931863"/>
                    <a:gd name="connsiteX51" fmla="*/ 1066800 w 1304925"/>
                    <a:gd name="connsiteY51" fmla="*/ 871538 h 931863"/>
                    <a:gd name="connsiteX52" fmla="*/ 1050925 w 1304925"/>
                    <a:gd name="connsiteY52" fmla="*/ 855831 h 931863"/>
                    <a:gd name="connsiteX53" fmla="*/ 1050925 w 1304925"/>
                    <a:gd name="connsiteY53" fmla="*/ 77620 h 931863"/>
                    <a:gd name="connsiteX54" fmla="*/ 1066800 w 1304925"/>
                    <a:gd name="connsiteY54" fmla="*/ 61913 h 931863"/>
                    <a:gd name="connsiteX55" fmla="*/ 860425 w 1304925"/>
                    <a:gd name="connsiteY55" fmla="*/ 61913 h 931863"/>
                    <a:gd name="connsiteX56" fmla="*/ 876300 w 1304925"/>
                    <a:gd name="connsiteY56" fmla="*/ 77595 h 931863"/>
                    <a:gd name="connsiteX57" fmla="*/ 876300 w 1304925"/>
                    <a:gd name="connsiteY57" fmla="*/ 495301 h 931863"/>
                    <a:gd name="connsiteX58" fmla="*/ 844550 w 1304925"/>
                    <a:gd name="connsiteY58" fmla="*/ 495301 h 931863"/>
                    <a:gd name="connsiteX59" fmla="*/ 844550 w 1304925"/>
                    <a:gd name="connsiteY59" fmla="*/ 77595 h 931863"/>
                    <a:gd name="connsiteX60" fmla="*/ 860425 w 1304925"/>
                    <a:gd name="connsiteY60" fmla="*/ 61913 h 931863"/>
                    <a:gd name="connsiteX61" fmla="*/ 652462 w 1304925"/>
                    <a:gd name="connsiteY61" fmla="*/ 61913 h 931863"/>
                    <a:gd name="connsiteX62" fmla="*/ 668337 w 1304925"/>
                    <a:gd name="connsiteY62" fmla="*/ 77548 h 931863"/>
                    <a:gd name="connsiteX63" fmla="*/ 668337 w 1304925"/>
                    <a:gd name="connsiteY63" fmla="*/ 306388 h 931863"/>
                    <a:gd name="connsiteX64" fmla="*/ 636587 w 1304925"/>
                    <a:gd name="connsiteY64" fmla="*/ 306388 h 931863"/>
                    <a:gd name="connsiteX65" fmla="*/ 636587 w 1304925"/>
                    <a:gd name="connsiteY65" fmla="*/ 77548 h 931863"/>
                    <a:gd name="connsiteX66" fmla="*/ 652462 w 1304925"/>
                    <a:gd name="connsiteY66" fmla="*/ 61913 h 931863"/>
                    <a:gd name="connsiteX67" fmla="*/ 445294 w 1304925"/>
                    <a:gd name="connsiteY67" fmla="*/ 61913 h 931863"/>
                    <a:gd name="connsiteX68" fmla="*/ 460375 w 1304925"/>
                    <a:gd name="connsiteY68" fmla="*/ 77335 h 931863"/>
                    <a:gd name="connsiteX69" fmla="*/ 460375 w 1304925"/>
                    <a:gd name="connsiteY69" fmla="*/ 115888 h 931863"/>
                    <a:gd name="connsiteX70" fmla="*/ 430212 w 1304925"/>
                    <a:gd name="connsiteY70" fmla="*/ 115888 h 931863"/>
                    <a:gd name="connsiteX71" fmla="*/ 430212 w 1304925"/>
                    <a:gd name="connsiteY71" fmla="*/ 77335 h 931863"/>
                    <a:gd name="connsiteX72" fmla="*/ 445294 w 1304925"/>
                    <a:gd name="connsiteY72" fmla="*/ 61913 h 931863"/>
                    <a:gd name="connsiteX73" fmla="*/ 238125 w 1304925"/>
                    <a:gd name="connsiteY73" fmla="*/ 61913 h 931863"/>
                    <a:gd name="connsiteX74" fmla="*/ 254000 w 1304925"/>
                    <a:gd name="connsiteY74" fmla="*/ 77335 h 931863"/>
                    <a:gd name="connsiteX75" fmla="*/ 254000 w 1304925"/>
                    <a:gd name="connsiteY75" fmla="*/ 115888 h 931863"/>
                    <a:gd name="connsiteX76" fmla="*/ 222250 w 1304925"/>
                    <a:gd name="connsiteY76" fmla="*/ 115888 h 931863"/>
                    <a:gd name="connsiteX77" fmla="*/ 222250 w 1304925"/>
                    <a:gd name="connsiteY77" fmla="*/ 77335 h 931863"/>
                    <a:gd name="connsiteX78" fmla="*/ 238125 w 1304925"/>
                    <a:gd name="connsiteY78" fmla="*/ 61913 h 931863"/>
                    <a:gd name="connsiteX79" fmla="*/ 31750 w 1304925"/>
                    <a:gd name="connsiteY79" fmla="*/ 31750 h 931863"/>
                    <a:gd name="connsiteX80" fmla="*/ 31750 w 1304925"/>
                    <a:gd name="connsiteY80" fmla="*/ 900113 h 931863"/>
                    <a:gd name="connsiteX81" fmla="*/ 1274763 w 1304925"/>
                    <a:gd name="connsiteY81" fmla="*/ 900113 h 931863"/>
                    <a:gd name="connsiteX82" fmla="*/ 1274763 w 1304925"/>
                    <a:gd name="connsiteY82" fmla="*/ 31750 h 931863"/>
                    <a:gd name="connsiteX83" fmla="*/ 31750 w 1304925"/>
                    <a:gd name="connsiteY83" fmla="*/ 31750 h 931863"/>
                    <a:gd name="connsiteX84" fmla="*/ 15705 w 1304925"/>
                    <a:gd name="connsiteY84" fmla="*/ 0 h 931863"/>
                    <a:gd name="connsiteX85" fmla="*/ 1289220 w 1304925"/>
                    <a:gd name="connsiteY85" fmla="*/ 0 h 931863"/>
                    <a:gd name="connsiteX86" fmla="*/ 1304925 w 1304925"/>
                    <a:gd name="connsiteY86" fmla="*/ 15698 h 931863"/>
                    <a:gd name="connsiteX87" fmla="*/ 1304925 w 1304925"/>
                    <a:gd name="connsiteY87" fmla="*/ 916166 h 931863"/>
                    <a:gd name="connsiteX88" fmla="*/ 1289220 w 1304925"/>
                    <a:gd name="connsiteY88" fmla="*/ 931863 h 931863"/>
                    <a:gd name="connsiteX89" fmla="*/ 15705 w 1304925"/>
                    <a:gd name="connsiteY89" fmla="*/ 931863 h 931863"/>
                    <a:gd name="connsiteX90" fmla="*/ 0 w 1304925"/>
                    <a:gd name="connsiteY90" fmla="*/ 916166 h 931863"/>
                    <a:gd name="connsiteX91" fmla="*/ 0 w 1304925"/>
                    <a:gd name="connsiteY91" fmla="*/ 15698 h 931863"/>
                    <a:gd name="connsiteX92" fmla="*/ 15705 w 1304925"/>
                    <a:gd name="connsiteY9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04925" h="931863">
                      <a:moveTo>
                        <a:pt x="844550" y="827088"/>
                      </a:moveTo>
                      <a:cubicBezTo>
                        <a:pt x="844550" y="827088"/>
                        <a:pt x="844550" y="827088"/>
                        <a:pt x="876300" y="827088"/>
                      </a:cubicBezTo>
                      <a:cubicBezTo>
                        <a:pt x="876300" y="827088"/>
                        <a:pt x="876300" y="827088"/>
                        <a:pt x="876300" y="855766"/>
                      </a:cubicBezTo>
                      <a:cubicBezTo>
                        <a:pt x="876300" y="865086"/>
                        <a:pt x="869084" y="871538"/>
                        <a:pt x="860425" y="871538"/>
                      </a:cubicBezTo>
                      <a:cubicBezTo>
                        <a:pt x="851766" y="871538"/>
                        <a:pt x="844550" y="865086"/>
                        <a:pt x="844550" y="855766"/>
                      </a:cubicBezTo>
                      <a:cubicBezTo>
                        <a:pt x="844550" y="855766"/>
                        <a:pt x="844550" y="855766"/>
                        <a:pt x="844550" y="827088"/>
                      </a:cubicBezTo>
                      <a:close/>
                      <a:moveTo>
                        <a:pt x="636587" y="827088"/>
                      </a:moveTo>
                      <a:cubicBezTo>
                        <a:pt x="636587" y="827088"/>
                        <a:pt x="636587" y="827088"/>
                        <a:pt x="668337" y="827088"/>
                      </a:cubicBezTo>
                      <a:cubicBezTo>
                        <a:pt x="668337" y="827088"/>
                        <a:pt x="668337" y="827088"/>
                        <a:pt x="668337" y="855766"/>
                      </a:cubicBezTo>
                      <a:cubicBezTo>
                        <a:pt x="668337" y="865086"/>
                        <a:pt x="661121" y="871538"/>
                        <a:pt x="652462" y="871538"/>
                      </a:cubicBezTo>
                      <a:cubicBezTo>
                        <a:pt x="643803" y="871538"/>
                        <a:pt x="636587" y="865086"/>
                        <a:pt x="636587" y="855766"/>
                      </a:cubicBezTo>
                      <a:cubicBezTo>
                        <a:pt x="636587" y="855766"/>
                        <a:pt x="636587" y="855766"/>
                        <a:pt x="636587" y="827088"/>
                      </a:cubicBezTo>
                      <a:close/>
                      <a:moveTo>
                        <a:pt x="430212" y="827088"/>
                      </a:moveTo>
                      <a:cubicBezTo>
                        <a:pt x="430212" y="827088"/>
                        <a:pt x="430212" y="827088"/>
                        <a:pt x="460375" y="827088"/>
                      </a:cubicBezTo>
                      <a:cubicBezTo>
                        <a:pt x="460375" y="827088"/>
                        <a:pt x="460375" y="827088"/>
                        <a:pt x="460375" y="855766"/>
                      </a:cubicBezTo>
                      <a:cubicBezTo>
                        <a:pt x="460375" y="865086"/>
                        <a:pt x="453520" y="871538"/>
                        <a:pt x="445294" y="871538"/>
                      </a:cubicBezTo>
                      <a:cubicBezTo>
                        <a:pt x="437067" y="871538"/>
                        <a:pt x="430212" y="865086"/>
                        <a:pt x="430212" y="855766"/>
                      </a:cubicBezTo>
                      <a:cubicBezTo>
                        <a:pt x="430212" y="855766"/>
                        <a:pt x="430212" y="855766"/>
                        <a:pt x="430212" y="827088"/>
                      </a:cubicBezTo>
                      <a:close/>
                      <a:moveTo>
                        <a:pt x="844550" y="636588"/>
                      </a:moveTo>
                      <a:lnTo>
                        <a:pt x="876300" y="636588"/>
                      </a:lnTo>
                      <a:lnTo>
                        <a:pt x="876300" y="684213"/>
                      </a:lnTo>
                      <a:lnTo>
                        <a:pt x="844550" y="684213"/>
                      </a:lnTo>
                      <a:close/>
                      <a:moveTo>
                        <a:pt x="636587" y="636588"/>
                      </a:moveTo>
                      <a:lnTo>
                        <a:pt x="668337" y="636588"/>
                      </a:lnTo>
                      <a:lnTo>
                        <a:pt x="668337" y="684213"/>
                      </a:lnTo>
                      <a:lnTo>
                        <a:pt x="636587" y="684213"/>
                      </a:lnTo>
                      <a:close/>
                      <a:moveTo>
                        <a:pt x="636587" y="449263"/>
                      </a:moveTo>
                      <a:lnTo>
                        <a:pt x="668337" y="449263"/>
                      </a:lnTo>
                      <a:lnTo>
                        <a:pt x="668337" y="495301"/>
                      </a:lnTo>
                      <a:lnTo>
                        <a:pt x="636587" y="495301"/>
                      </a:lnTo>
                      <a:close/>
                      <a:moveTo>
                        <a:pt x="430212" y="449263"/>
                      </a:moveTo>
                      <a:lnTo>
                        <a:pt x="460375" y="449263"/>
                      </a:lnTo>
                      <a:lnTo>
                        <a:pt x="460375" y="684213"/>
                      </a:lnTo>
                      <a:lnTo>
                        <a:pt x="430212" y="684213"/>
                      </a:lnTo>
                      <a:close/>
                      <a:moveTo>
                        <a:pt x="222250" y="449263"/>
                      </a:moveTo>
                      <a:cubicBezTo>
                        <a:pt x="222250" y="449263"/>
                        <a:pt x="222250" y="449263"/>
                        <a:pt x="254000" y="449263"/>
                      </a:cubicBezTo>
                      <a:cubicBezTo>
                        <a:pt x="254000" y="449263"/>
                        <a:pt x="254000" y="449263"/>
                        <a:pt x="254000" y="855819"/>
                      </a:cubicBezTo>
                      <a:cubicBezTo>
                        <a:pt x="254000" y="865108"/>
                        <a:pt x="246784" y="871538"/>
                        <a:pt x="238125" y="871538"/>
                      </a:cubicBezTo>
                      <a:cubicBezTo>
                        <a:pt x="229466" y="871538"/>
                        <a:pt x="222250" y="865108"/>
                        <a:pt x="222250" y="855819"/>
                      </a:cubicBezTo>
                      <a:cubicBezTo>
                        <a:pt x="222250" y="855819"/>
                        <a:pt x="222250" y="855819"/>
                        <a:pt x="222250" y="449263"/>
                      </a:cubicBezTo>
                      <a:close/>
                      <a:moveTo>
                        <a:pt x="430212" y="258763"/>
                      </a:moveTo>
                      <a:lnTo>
                        <a:pt x="460375" y="258763"/>
                      </a:lnTo>
                      <a:lnTo>
                        <a:pt x="460375" y="306388"/>
                      </a:lnTo>
                      <a:lnTo>
                        <a:pt x="430212" y="306388"/>
                      </a:lnTo>
                      <a:close/>
                      <a:moveTo>
                        <a:pt x="222250" y="258763"/>
                      </a:moveTo>
                      <a:lnTo>
                        <a:pt x="254000" y="258763"/>
                      </a:lnTo>
                      <a:lnTo>
                        <a:pt x="254000" y="306388"/>
                      </a:lnTo>
                      <a:lnTo>
                        <a:pt x="222250" y="306388"/>
                      </a:lnTo>
                      <a:close/>
                      <a:moveTo>
                        <a:pt x="1066800" y="61913"/>
                      </a:moveTo>
                      <a:cubicBezTo>
                        <a:pt x="1075459" y="61913"/>
                        <a:pt x="1082675" y="68339"/>
                        <a:pt x="1082675" y="77620"/>
                      </a:cubicBezTo>
                      <a:cubicBezTo>
                        <a:pt x="1082675" y="77620"/>
                        <a:pt x="1082675" y="77620"/>
                        <a:pt x="1082675" y="855831"/>
                      </a:cubicBezTo>
                      <a:cubicBezTo>
                        <a:pt x="1082675" y="865113"/>
                        <a:pt x="1075459" y="871538"/>
                        <a:pt x="1066800" y="871538"/>
                      </a:cubicBezTo>
                      <a:cubicBezTo>
                        <a:pt x="1058141" y="871538"/>
                        <a:pt x="1050925" y="865113"/>
                        <a:pt x="1050925" y="855831"/>
                      </a:cubicBezTo>
                      <a:cubicBezTo>
                        <a:pt x="1050925" y="855831"/>
                        <a:pt x="1050925" y="855831"/>
                        <a:pt x="1050925" y="77620"/>
                      </a:cubicBezTo>
                      <a:cubicBezTo>
                        <a:pt x="1050925" y="68339"/>
                        <a:pt x="1058141" y="61913"/>
                        <a:pt x="1066800" y="61913"/>
                      </a:cubicBezTo>
                      <a:close/>
                      <a:moveTo>
                        <a:pt x="860425" y="61913"/>
                      </a:moveTo>
                      <a:cubicBezTo>
                        <a:pt x="869084" y="61913"/>
                        <a:pt x="876300" y="68328"/>
                        <a:pt x="876300" y="77595"/>
                      </a:cubicBezTo>
                      <a:lnTo>
                        <a:pt x="876300" y="495301"/>
                      </a:lnTo>
                      <a:cubicBezTo>
                        <a:pt x="876300" y="495301"/>
                        <a:pt x="876300" y="495301"/>
                        <a:pt x="844550" y="495301"/>
                      </a:cubicBezTo>
                      <a:cubicBezTo>
                        <a:pt x="844550" y="495301"/>
                        <a:pt x="844550" y="495301"/>
                        <a:pt x="844550" y="77595"/>
                      </a:cubicBezTo>
                      <a:cubicBezTo>
                        <a:pt x="844550" y="68328"/>
                        <a:pt x="851766" y="61913"/>
                        <a:pt x="860425" y="61913"/>
                      </a:cubicBezTo>
                      <a:close/>
                      <a:moveTo>
                        <a:pt x="652462" y="61913"/>
                      </a:moveTo>
                      <a:cubicBezTo>
                        <a:pt x="661121" y="61913"/>
                        <a:pt x="668337" y="68309"/>
                        <a:pt x="668337" y="77548"/>
                      </a:cubicBezTo>
                      <a:lnTo>
                        <a:pt x="668337" y="306388"/>
                      </a:lnTo>
                      <a:cubicBezTo>
                        <a:pt x="668337" y="306388"/>
                        <a:pt x="668337" y="306388"/>
                        <a:pt x="636587" y="306388"/>
                      </a:cubicBezTo>
                      <a:cubicBezTo>
                        <a:pt x="636587" y="306388"/>
                        <a:pt x="636587" y="306388"/>
                        <a:pt x="636587" y="77548"/>
                      </a:cubicBezTo>
                      <a:cubicBezTo>
                        <a:pt x="636587" y="68309"/>
                        <a:pt x="643803" y="61913"/>
                        <a:pt x="652462" y="61913"/>
                      </a:cubicBezTo>
                      <a:close/>
                      <a:moveTo>
                        <a:pt x="445294" y="61913"/>
                      </a:moveTo>
                      <a:cubicBezTo>
                        <a:pt x="453520" y="61913"/>
                        <a:pt x="460375" y="68222"/>
                        <a:pt x="460375" y="77335"/>
                      </a:cubicBezTo>
                      <a:lnTo>
                        <a:pt x="460375" y="115888"/>
                      </a:lnTo>
                      <a:cubicBezTo>
                        <a:pt x="460375" y="115888"/>
                        <a:pt x="460375" y="115888"/>
                        <a:pt x="430212" y="115888"/>
                      </a:cubicBezTo>
                      <a:cubicBezTo>
                        <a:pt x="430212" y="115888"/>
                        <a:pt x="430212" y="115888"/>
                        <a:pt x="430212" y="77335"/>
                      </a:cubicBezTo>
                      <a:cubicBezTo>
                        <a:pt x="430212" y="68222"/>
                        <a:pt x="437067" y="61913"/>
                        <a:pt x="445294" y="61913"/>
                      </a:cubicBezTo>
                      <a:close/>
                      <a:moveTo>
                        <a:pt x="238125" y="61913"/>
                      </a:moveTo>
                      <a:cubicBezTo>
                        <a:pt x="246784" y="61913"/>
                        <a:pt x="254000" y="68222"/>
                        <a:pt x="254000" y="77335"/>
                      </a:cubicBezTo>
                      <a:lnTo>
                        <a:pt x="254000" y="115888"/>
                      </a:lnTo>
                      <a:cubicBezTo>
                        <a:pt x="254000" y="115888"/>
                        <a:pt x="254000" y="115888"/>
                        <a:pt x="222250" y="115888"/>
                      </a:cubicBezTo>
                      <a:cubicBezTo>
                        <a:pt x="222250" y="115888"/>
                        <a:pt x="222250" y="115888"/>
                        <a:pt x="222250" y="77335"/>
                      </a:cubicBezTo>
                      <a:cubicBezTo>
                        <a:pt x="222250" y="68222"/>
                        <a:pt x="229466" y="61913"/>
                        <a:pt x="238125" y="6191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000A46"/>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4" name="Freeform 11">
                  <a:extLst>
                    <a:ext uri="{FF2B5EF4-FFF2-40B4-BE49-F238E27FC236}">
                      <a16:creationId xmlns:a16="http://schemas.microsoft.com/office/drawing/2014/main" id="{5B8B2A54-3027-4AF5-B3D0-A20677BC9492}"/>
                    </a:ext>
                  </a:extLst>
                </p:cNvPr>
                <p:cNvSpPr>
                  <a:spLocks/>
                </p:cNvSpPr>
                <p:nvPr/>
              </p:nvSpPr>
              <p:spPr bwMode="auto">
                <a:xfrm>
                  <a:off x="6791325" y="3109912"/>
                  <a:ext cx="806451" cy="647700"/>
                </a:xfrm>
                <a:custGeom>
                  <a:avLst/>
                  <a:gdLst>
                    <a:gd name="connsiteX0" fmla="*/ 225269 w 806451"/>
                    <a:gd name="connsiteY0" fmla="*/ 568325 h 647700"/>
                    <a:gd name="connsiteX1" fmla="*/ 272424 w 806451"/>
                    <a:gd name="connsiteY1" fmla="*/ 568325 h 647700"/>
                    <a:gd name="connsiteX2" fmla="*/ 303861 w 806451"/>
                    <a:gd name="connsiteY2" fmla="*/ 568325 h 647700"/>
                    <a:gd name="connsiteX3" fmla="*/ 479621 w 806451"/>
                    <a:gd name="connsiteY3" fmla="*/ 568325 h 647700"/>
                    <a:gd name="connsiteX4" fmla="*/ 511058 w 806451"/>
                    <a:gd name="connsiteY4" fmla="*/ 568325 h 647700"/>
                    <a:gd name="connsiteX5" fmla="*/ 686819 w 806451"/>
                    <a:gd name="connsiteY5" fmla="*/ 568325 h 647700"/>
                    <a:gd name="connsiteX6" fmla="*/ 718255 w 806451"/>
                    <a:gd name="connsiteY6" fmla="*/ 568325 h 647700"/>
                    <a:gd name="connsiteX7" fmla="*/ 773270 w 806451"/>
                    <a:gd name="connsiteY7" fmla="*/ 568325 h 647700"/>
                    <a:gd name="connsiteX8" fmla="*/ 788988 w 806451"/>
                    <a:gd name="connsiteY8" fmla="*/ 584057 h 647700"/>
                    <a:gd name="connsiteX9" fmla="*/ 788988 w 806451"/>
                    <a:gd name="connsiteY9" fmla="*/ 631968 h 647700"/>
                    <a:gd name="connsiteX10" fmla="*/ 773270 w 806451"/>
                    <a:gd name="connsiteY10" fmla="*/ 647700 h 647700"/>
                    <a:gd name="connsiteX11" fmla="*/ 718255 w 806451"/>
                    <a:gd name="connsiteY11" fmla="*/ 647700 h 647700"/>
                    <a:gd name="connsiteX12" fmla="*/ 686819 w 806451"/>
                    <a:gd name="connsiteY12" fmla="*/ 647700 h 647700"/>
                    <a:gd name="connsiteX13" fmla="*/ 511058 w 806451"/>
                    <a:gd name="connsiteY13" fmla="*/ 647700 h 647700"/>
                    <a:gd name="connsiteX14" fmla="*/ 479621 w 806451"/>
                    <a:gd name="connsiteY14" fmla="*/ 647700 h 647700"/>
                    <a:gd name="connsiteX15" fmla="*/ 303861 w 806451"/>
                    <a:gd name="connsiteY15" fmla="*/ 647700 h 647700"/>
                    <a:gd name="connsiteX16" fmla="*/ 272424 w 806451"/>
                    <a:gd name="connsiteY16" fmla="*/ 647700 h 647700"/>
                    <a:gd name="connsiteX17" fmla="*/ 225269 w 806451"/>
                    <a:gd name="connsiteY17" fmla="*/ 647700 h 647700"/>
                    <a:gd name="connsiteX18" fmla="*/ 209550 w 806451"/>
                    <a:gd name="connsiteY18" fmla="*/ 631968 h 647700"/>
                    <a:gd name="connsiteX19" fmla="*/ 209550 w 806451"/>
                    <a:gd name="connsiteY19" fmla="*/ 584057 h 647700"/>
                    <a:gd name="connsiteX20" fmla="*/ 225269 w 806451"/>
                    <a:gd name="connsiteY20" fmla="*/ 568325 h 647700"/>
                    <a:gd name="connsiteX21" fmla="*/ 395150 w 806451"/>
                    <a:gd name="connsiteY21" fmla="*/ 379412 h 647700"/>
                    <a:gd name="connsiteX22" fmla="*/ 479556 w 806451"/>
                    <a:gd name="connsiteY22" fmla="*/ 379412 h 647700"/>
                    <a:gd name="connsiteX23" fmla="*/ 511030 w 806451"/>
                    <a:gd name="connsiteY23" fmla="*/ 379412 h 647700"/>
                    <a:gd name="connsiteX24" fmla="*/ 686995 w 806451"/>
                    <a:gd name="connsiteY24" fmla="*/ 379412 h 647700"/>
                    <a:gd name="connsiteX25" fmla="*/ 718469 w 806451"/>
                    <a:gd name="connsiteY25" fmla="*/ 379412 h 647700"/>
                    <a:gd name="connsiteX26" fmla="*/ 790714 w 806451"/>
                    <a:gd name="connsiteY26" fmla="*/ 379412 h 647700"/>
                    <a:gd name="connsiteX27" fmla="*/ 806451 w 806451"/>
                    <a:gd name="connsiteY27" fmla="*/ 395144 h 647700"/>
                    <a:gd name="connsiteX28" fmla="*/ 806451 w 806451"/>
                    <a:gd name="connsiteY28" fmla="*/ 443055 h 647700"/>
                    <a:gd name="connsiteX29" fmla="*/ 790714 w 806451"/>
                    <a:gd name="connsiteY29" fmla="*/ 458787 h 647700"/>
                    <a:gd name="connsiteX30" fmla="*/ 718469 w 806451"/>
                    <a:gd name="connsiteY30" fmla="*/ 458787 h 647700"/>
                    <a:gd name="connsiteX31" fmla="*/ 686995 w 806451"/>
                    <a:gd name="connsiteY31" fmla="*/ 458787 h 647700"/>
                    <a:gd name="connsiteX32" fmla="*/ 511030 w 806451"/>
                    <a:gd name="connsiteY32" fmla="*/ 458787 h 647700"/>
                    <a:gd name="connsiteX33" fmla="*/ 479556 w 806451"/>
                    <a:gd name="connsiteY33" fmla="*/ 458787 h 647700"/>
                    <a:gd name="connsiteX34" fmla="*/ 395150 w 806451"/>
                    <a:gd name="connsiteY34" fmla="*/ 458787 h 647700"/>
                    <a:gd name="connsiteX35" fmla="*/ 379413 w 806451"/>
                    <a:gd name="connsiteY35" fmla="*/ 443055 h 647700"/>
                    <a:gd name="connsiteX36" fmla="*/ 379413 w 806451"/>
                    <a:gd name="connsiteY36" fmla="*/ 395144 h 647700"/>
                    <a:gd name="connsiteX37" fmla="*/ 395150 w 806451"/>
                    <a:gd name="connsiteY37" fmla="*/ 379412 h 647700"/>
                    <a:gd name="connsiteX38" fmla="*/ 58602 w 806451"/>
                    <a:gd name="connsiteY38" fmla="*/ 190500 h 647700"/>
                    <a:gd name="connsiteX39" fmla="*/ 65041 w 806451"/>
                    <a:gd name="connsiteY39" fmla="*/ 190500 h 647700"/>
                    <a:gd name="connsiteX40" fmla="*/ 96518 w 806451"/>
                    <a:gd name="connsiteY40" fmla="*/ 190500 h 647700"/>
                    <a:gd name="connsiteX41" fmla="*/ 272506 w 806451"/>
                    <a:gd name="connsiteY41" fmla="*/ 190500 h 647700"/>
                    <a:gd name="connsiteX42" fmla="*/ 303983 w 806451"/>
                    <a:gd name="connsiteY42" fmla="*/ 190500 h 647700"/>
                    <a:gd name="connsiteX43" fmla="*/ 479971 w 806451"/>
                    <a:gd name="connsiteY43" fmla="*/ 190500 h 647700"/>
                    <a:gd name="connsiteX44" fmla="*/ 511449 w 806451"/>
                    <a:gd name="connsiteY44" fmla="*/ 190500 h 647700"/>
                    <a:gd name="connsiteX45" fmla="*/ 527187 w 806451"/>
                    <a:gd name="connsiteY45" fmla="*/ 190500 h 647700"/>
                    <a:gd name="connsiteX46" fmla="*/ 542926 w 806451"/>
                    <a:gd name="connsiteY46" fmla="*/ 206232 h 647700"/>
                    <a:gd name="connsiteX47" fmla="*/ 542926 w 806451"/>
                    <a:gd name="connsiteY47" fmla="*/ 254143 h 647700"/>
                    <a:gd name="connsiteX48" fmla="*/ 527187 w 806451"/>
                    <a:gd name="connsiteY48" fmla="*/ 269875 h 647700"/>
                    <a:gd name="connsiteX49" fmla="*/ 511449 w 806451"/>
                    <a:gd name="connsiteY49" fmla="*/ 269875 h 647700"/>
                    <a:gd name="connsiteX50" fmla="*/ 479971 w 806451"/>
                    <a:gd name="connsiteY50" fmla="*/ 269875 h 647700"/>
                    <a:gd name="connsiteX51" fmla="*/ 303983 w 806451"/>
                    <a:gd name="connsiteY51" fmla="*/ 269875 h 647700"/>
                    <a:gd name="connsiteX52" fmla="*/ 272506 w 806451"/>
                    <a:gd name="connsiteY52" fmla="*/ 269875 h 647700"/>
                    <a:gd name="connsiteX53" fmla="*/ 96518 w 806451"/>
                    <a:gd name="connsiteY53" fmla="*/ 269875 h 647700"/>
                    <a:gd name="connsiteX54" fmla="*/ 65041 w 806451"/>
                    <a:gd name="connsiteY54" fmla="*/ 269875 h 647700"/>
                    <a:gd name="connsiteX55" fmla="*/ 58602 w 806451"/>
                    <a:gd name="connsiteY55" fmla="*/ 269875 h 647700"/>
                    <a:gd name="connsiteX56" fmla="*/ 42863 w 806451"/>
                    <a:gd name="connsiteY56" fmla="*/ 254143 h 647700"/>
                    <a:gd name="connsiteX57" fmla="*/ 42863 w 806451"/>
                    <a:gd name="connsiteY57" fmla="*/ 206232 h 647700"/>
                    <a:gd name="connsiteX58" fmla="*/ 58602 w 806451"/>
                    <a:gd name="connsiteY58" fmla="*/ 190500 h 647700"/>
                    <a:gd name="connsiteX59" fmla="*/ 15716 w 806451"/>
                    <a:gd name="connsiteY59" fmla="*/ 0 h 647700"/>
                    <a:gd name="connsiteX60" fmla="*/ 65008 w 806451"/>
                    <a:gd name="connsiteY60" fmla="*/ 0 h 647700"/>
                    <a:gd name="connsiteX61" fmla="*/ 96441 w 806451"/>
                    <a:gd name="connsiteY61" fmla="*/ 0 h 647700"/>
                    <a:gd name="connsiteX62" fmla="*/ 272177 w 806451"/>
                    <a:gd name="connsiteY62" fmla="*/ 0 h 647700"/>
                    <a:gd name="connsiteX63" fmla="*/ 303610 w 806451"/>
                    <a:gd name="connsiteY63" fmla="*/ 0 h 647700"/>
                    <a:gd name="connsiteX64" fmla="*/ 355759 w 806451"/>
                    <a:gd name="connsiteY64" fmla="*/ 0 h 647700"/>
                    <a:gd name="connsiteX65" fmla="*/ 371475 w 806451"/>
                    <a:gd name="connsiteY65" fmla="*/ 15732 h 647700"/>
                    <a:gd name="connsiteX66" fmla="*/ 371475 w 806451"/>
                    <a:gd name="connsiteY66" fmla="*/ 63643 h 647700"/>
                    <a:gd name="connsiteX67" fmla="*/ 355759 w 806451"/>
                    <a:gd name="connsiteY67" fmla="*/ 79375 h 647700"/>
                    <a:gd name="connsiteX68" fmla="*/ 303610 w 806451"/>
                    <a:gd name="connsiteY68" fmla="*/ 79375 h 647700"/>
                    <a:gd name="connsiteX69" fmla="*/ 272177 w 806451"/>
                    <a:gd name="connsiteY69" fmla="*/ 79375 h 647700"/>
                    <a:gd name="connsiteX70" fmla="*/ 96441 w 806451"/>
                    <a:gd name="connsiteY70" fmla="*/ 79375 h 647700"/>
                    <a:gd name="connsiteX71" fmla="*/ 65008 w 806451"/>
                    <a:gd name="connsiteY71" fmla="*/ 79375 h 647700"/>
                    <a:gd name="connsiteX72" fmla="*/ 15716 w 806451"/>
                    <a:gd name="connsiteY72" fmla="*/ 79375 h 647700"/>
                    <a:gd name="connsiteX73" fmla="*/ 0 w 806451"/>
                    <a:gd name="connsiteY73" fmla="*/ 63643 h 647700"/>
                    <a:gd name="connsiteX74" fmla="*/ 0 w 806451"/>
                    <a:gd name="connsiteY74" fmla="*/ 15732 h 647700"/>
                    <a:gd name="connsiteX75" fmla="*/ 15716 w 806451"/>
                    <a:gd name="connsiteY7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06451" h="647700">
                      <a:moveTo>
                        <a:pt x="225269" y="568325"/>
                      </a:moveTo>
                      <a:cubicBezTo>
                        <a:pt x="225269" y="568325"/>
                        <a:pt x="225269" y="568325"/>
                        <a:pt x="272424" y="568325"/>
                      </a:cubicBezTo>
                      <a:cubicBezTo>
                        <a:pt x="272424" y="568325"/>
                        <a:pt x="272424" y="568325"/>
                        <a:pt x="303861" y="568325"/>
                      </a:cubicBezTo>
                      <a:cubicBezTo>
                        <a:pt x="303861" y="568325"/>
                        <a:pt x="303861" y="568325"/>
                        <a:pt x="479621" y="568325"/>
                      </a:cubicBezTo>
                      <a:cubicBezTo>
                        <a:pt x="479621" y="568325"/>
                        <a:pt x="479621" y="568325"/>
                        <a:pt x="511058" y="568325"/>
                      </a:cubicBezTo>
                      <a:cubicBezTo>
                        <a:pt x="511058" y="568325"/>
                        <a:pt x="511058" y="568325"/>
                        <a:pt x="686819" y="568325"/>
                      </a:cubicBezTo>
                      <a:cubicBezTo>
                        <a:pt x="686819" y="568325"/>
                        <a:pt x="686819" y="568325"/>
                        <a:pt x="718255" y="568325"/>
                      </a:cubicBezTo>
                      <a:cubicBezTo>
                        <a:pt x="718255" y="568325"/>
                        <a:pt x="718255" y="568325"/>
                        <a:pt x="773270" y="568325"/>
                      </a:cubicBezTo>
                      <a:cubicBezTo>
                        <a:pt x="781843" y="568325"/>
                        <a:pt x="788988" y="575476"/>
                        <a:pt x="788988" y="584057"/>
                      </a:cubicBezTo>
                      <a:cubicBezTo>
                        <a:pt x="788988" y="584057"/>
                        <a:pt x="788988" y="584057"/>
                        <a:pt x="788988" y="631968"/>
                      </a:cubicBezTo>
                      <a:cubicBezTo>
                        <a:pt x="788988" y="640549"/>
                        <a:pt x="781843" y="647700"/>
                        <a:pt x="773270" y="647700"/>
                      </a:cubicBezTo>
                      <a:cubicBezTo>
                        <a:pt x="773270" y="647700"/>
                        <a:pt x="773270" y="647700"/>
                        <a:pt x="718255" y="647700"/>
                      </a:cubicBezTo>
                      <a:cubicBezTo>
                        <a:pt x="718255" y="647700"/>
                        <a:pt x="718255" y="647700"/>
                        <a:pt x="686819" y="647700"/>
                      </a:cubicBezTo>
                      <a:cubicBezTo>
                        <a:pt x="686819" y="647700"/>
                        <a:pt x="686819" y="647700"/>
                        <a:pt x="511058" y="647700"/>
                      </a:cubicBezTo>
                      <a:cubicBezTo>
                        <a:pt x="511058" y="647700"/>
                        <a:pt x="511058" y="647700"/>
                        <a:pt x="479621" y="647700"/>
                      </a:cubicBezTo>
                      <a:cubicBezTo>
                        <a:pt x="479621" y="647700"/>
                        <a:pt x="479621" y="647700"/>
                        <a:pt x="303861" y="647700"/>
                      </a:cubicBezTo>
                      <a:cubicBezTo>
                        <a:pt x="303861" y="647700"/>
                        <a:pt x="303861" y="647700"/>
                        <a:pt x="272424" y="647700"/>
                      </a:cubicBezTo>
                      <a:cubicBezTo>
                        <a:pt x="272424" y="647700"/>
                        <a:pt x="272424" y="647700"/>
                        <a:pt x="225269" y="647700"/>
                      </a:cubicBezTo>
                      <a:cubicBezTo>
                        <a:pt x="216695" y="647700"/>
                        <a:pt x="209550" y="640549"/>
                        <a:pt x="209550" y="631968"/>
                      </a:cubicBezTo>
                      <a:cubicBezTo>
                        <a:pt x="209550" y="631968"/>
                        <a:pt x="209550" y="631968"/>
                        <a:pt x="209550" y="584057"/>
                      </a:cubicBezTo>
                      <a:cubicBezTo>
                        <a:pt x="209550" y="575476"/>
                        <a:pt x="216695" y="568325"/>
                        <a:pt x="225269" y="568325"/>
                      </a:cubicBezTo>
                      <a:close/>
                      <a:moveTo>
                        <a:pt x="395150" y="379412"/>
                      </a:moveTo>
                      <a:cubicBezTo>
                        <a:pt x="395150" y="379412"/>
                        <a:pt x="395150" y="379412"/>
                        <a:pt x="479556" y="379412"/>
                      </a:cubicBezTo>
                      <a:cubicBezTo>
                        <a:pt x="479556" y="379412"/>
                        <a:pt x="479556" y="379412"/>
                        <a:pt x="511030" y="379412"/>
                      </a:cubicBezTo>
                      <a:cubicBezTo>
                        <a:pt x="511030" y="379412"/>
                        <a:pt x="511030" y="379412"/>
                        <a:pt x="686995" y="379412"/>
                      </a:cubicBezTo>
                      <a:cubicBezTo>
                        <a:pt x="686995" y="379412"/>
                        <a:pt x="686995" y="379412"/>
                        <a:pt x="718469" y="379412"/>
                      </a:cubicBezTo>
                      <a:cubicBezTo>
                        <a:pt x="718469" y="379412"/>
                        <a:pt x="718469" y="379412"/>
                        <a:pt x="790714" y="379412"/>
                      </a:cubicBezTo>
                      <a:cubicBezTo>
                        <a:pt x="799298" y="379412"/>
                        <a:pt x="806451" y="386563"/>
                        <a:pt x="806451" y="395144"/>
                      </a:cubicBezTo>
                      <a:cubicBezTo>
                        <a:pt x="806451" y="395144"/>
                        <a:pt x="806451" y="395144"/>
                        <a:pt x="806451" y="443055"/>
                      </a:cubicBezTo>
                      <a:cubicBezTo>
                        <a:pt x="806451" y="452351"/>
                        <a:pt x="799298" y="458787"/>
                        <a:pt x="790714" y="458787"/>
                      </a:cubicBezTo>
                      <a:cubicBezTo>
                        <a:pt x="790714" y="458787"/>
                        <a:pt x="790714" y="458787"/>
                        <a:pt x="718469" y="458787"/>
                      </a:cubicBezTo>
                      <a:cubicBezTo>
                        <a:pt x="718469" y="458787"/>
                        <a:pt x="718469" y="458787"/>
                        <a:pt x="686995" y="458787"/>
                      </a:cubicBezTo>
                      <a:cubicBezTo>
                        <a:pt x="686995" y="458787"/>
                        <a:pt x="686995" y="458787"/>
                        <a:pt x="511030" y="458787"/>
                      </a:cubicBezTo>
                      <a:cubicBezTo>
                        <a:pt x="511030" y="458787"/>
                        <a:pt x="511030" y="458787"/>
                        <a:pt x="479556" y="458787"/>
                      </a:cubicBezTo>
                      <a:cubicBezTo>
                        <a:pt x="479556" y="458787"/>
                        <a:pt x="479556" y="458787"/>
                        <a:pt x="395150" y="458787"/>
                      </a:cubicBezTo>
                      <a:cubicBezTo>
                        <a:pt x="385851" y="458787"/>
                        <a:pt x="379413" y="452351"/>
                        <a:pt x="379413" y="443055"/>
                      </a:cubicBezTo>
                      <a:cubicBezTo>
                        <a:pt x="379413" y="443055"/>
                        <a:pt x="379413" y="443055"/>
                        <a:pt x="379413" y="395144"/>
                      </a:cubicBezTo>
                      <a:cubicBezTo>
                        <a:pt x="379413" y="386563"/>
                        <a:pt x="385851" y="379412"/>
                        <a:pt x="395150" y="379412"/>
                      </a:cubicBezTo>
                      <a:close/>
                      <a:moveTo>
                        <a:pt x="58602" y="190500"/>
                      </a:moveTo>
                      <a:cubicBezTo>
                        <a:pt x="58602" y="190500"/>
                        <a:pt x="58602" y="190500"/>
                        <a:pt x="65041" y="190500"/>
                      </a:cubicBezTo>
                      <a:cubicBezTo>
                        <a:pt x="65041" y="190500"/>
                        <a:pt x="65041" y="190500"/>
                        <a:pt x="96518" y="190500"/>
                      </a:cubicBezTo>
                      <a:cubicBezTo>
                        <a:pt x="96518" y="190500"/>
                        <a:pt x="96518" y="190500"/>
                        <a:pt x="272506" y="190500"/>
                      </a:cubicBezTo>
                      <a:cubicBezTo>
                        <a:pt x="272506" y="190500"/>
                        <a:pt x="272506" y="190500"/>
                        <a:pt x="303983" y="190500"/>
                      </a:cubicBezTo>
                      <a:cubicBezTo>
                        <a:pt x="303983" y="190500"/>
                        <a:pt x="303983" y="190500"/>
                        <a:pt x="479971" y="190500"/>
                      </a:cubicBezTo>
                      <a:cubicBezTo>
                        <a:pt x="479971" y="190500"/>
                        <a:pt x="479971" y="190500"/>
                        <a:pt x="511449" y="190500"/>
                      </a:cubicBezTo>
                      <a:cubicBezTo>
                        <a:pt x="511449" y="190500"/>
                        <a:pt x="511449" y="190500"/>
                        <a:pt x="527187" y="190500"/>
                      </a:cubicBezTo>
                      <a:cubicBezTo>
                        <a:pt x="536488" y="190500"/>
                        <a:pt x="542926" y="197651"/>
                        <a:pt x="542926" y="206232"/>
                      </a:cubicBezTo>
                      <a:cubicBezTo>
                        <a:pt x="542926" y="206232"/>
                        <a:pt x="542926" y="206232"/>
                        <a:pt x="542926" y="254143"/>
                      </a:cubicBezTo>
                      <a:cubicBezTo>
                        <a:pt x="542926" y="262724"/>
                        <a:pt x="536488" y="269875"/>
                        <a:pt x="527187" y="269875"/>
                      </a:cubicBezTo>
                      <a:cubicBezTo>
                        <a:pt x="527187" y="269875"/>
                        <a:pt x="527187" y="269875"/>
                        <a:pt x="511449" y="269875"/>
                      </a:cubicBezTo>
                      <a:cubicBezTo>
                        <a:pt x="511449" y="269875"/>
                        <a:pt x="511449" y="269875"/>
                        <a:pt x="479971" y="269875"/>
                      </a:cubicBezTo>
                      <a:cubicBezTo>
                        <a:pt x="479971" y="269875"/>
                        <a:pt x="479971" y="269875"/>
                        <a:pt x="303983" y="269875"/>
                      </a:cubicBezTo>
                      <a:lnTo>
                        <a:pt x="272506" y="269875"/>
                      </a:lnTo>
                      <a:cubicBezTo>
                        <a:pt x="272506" y="269875"/>
                        <a:pt x="272506" y="269875"/>
                        <a:pt x="96518" y="269875"/>
                      </a:cubicBezTo>
                      <a:cubicBezTo>
                        <a:pt x="96518" y="269875"/>
                        <a:pt x="96518" y="269875"/>
                        <a:pt x="65041" y="269875"/>
                      </a:cubicBezTo>
                      <a:cubicBezTo>
                        <a:pt x="65041" y="269875"/>
                        <a:pt x="65041" y="269875"/>
                        <a:pt x="58602" y="269875"/>
                      </a:cubicBezTo>
                      <a:cubicBezTo>
                        <a:pt x="49302" y="269875"/>
                        <a:pt x="42863" y="262724"/>
                        <a:pt x="42863" y="254143"/>
                      </a:cubicBezTo>
                      <a:cubicBezTo>
                        <a:pt x="42863" y="254143"/>
                        <a:pt x="42863" y="254143"/>
                        <a:pt x="42863" y="206232"/>
                      </a:cubicBezTo>
                      <a:cubicBezTo>
                        <a:pt x="42863" y="197651"/>
                        <a:pt x="49302" y="190500"/>
                        <a:pt x="58602" y="190500"/>
                      </a:cubicBezTo>
                      <a:close/>
                      <a:moveTo>
                        <a:pt x="15716" y="0"/>
                      </a:moveTo>
                      <a:cubicBezTo>
                        <a:pt x="15716" y="0"/>
                        <a:pt x="15716" y="0"/>
                        <a:pt x="65008" y="0"/>
                      </a:cubicBezTo>
                      <a:cubicBezTo>
                        <a:pt x="65008" y="0"/>
                        <a:pt x="65008" y="0"/>
                        <a:pt x="96441" y="0"/>
                      </a:cubicBezTo>
                      <a:cubicBezTo>
                        <a:pt x="96441" y="0"/>
                        <a:pt x="96441" y="0"/>
                        <a:pt x="272177" y="0"/>
                      </a:cubicBezTo>
                      <a:cubicBezTo>
                        <a:pt x="272177" y="0"/>
                        <a:pt x="272177" y="0"/>
                        <a:pt x="303610" y="0"/>
                      </a:cubicBezTo>
                      <a:cubicBezTo>
                        <a:pt x="303610" y="0"/>
                        <a:pt x="303610" y="0"/>
                        <a:pt x="355759" y="0"/>
                      </a:cubicBezTo>
                      <a:cubicBezTo>
                        <a:pt x="364331" y="0"/>
                        <a:pt x="371475" y="7151"/>
                        <a:pt x="371475" y="15732"/>
                      </a:cubicBezTo>
                      <a:cubicBezTo>
                        <a:pt x="371475" y="15732"/>
                        <a:pt x="371475" y="15732"/>
                        <a:pt x="371475" y="63643"/>
                      </a:cubicBezTo>
                      <a:cubicBezTo>
                        <a:pt x="371475" y="72224"/>
                        <a:pt x="364331" y="79375"/>
                        <a:pt x="355759" y="79375"/>
                      </a:cubicBezTo>
                      <a:cubicBezTo>
                        <a:pt x="355759" y="79375"/>
                        <a:pt x="355759" y="79375"/>
                        <a:pt x="303610" y="79375"/>
                      </a:cubicBezTo>
                      <a:cubicBezTo>
                        <a:pt x="303610" y="79375"/>
                        <a:pt x="303610" y="79375"/>
                        <a:pt x="272177" y="79375"/>
                      </a:cubicBezTo>
                      <a:cubicBezTo>
                        <a:pt x="272177" y="79375"/>
                        <a:pt x="272177" y="79375"/>
                        <a:pt x="96441" y="79375"/>
                      </a:cubicBezTo>
                      <a:lnTo>
                        <a:pt x="65008" y="79375"/>
                      </a:lnTo>
                      <a:cubicBezTo>
                        <a:pt x="65008" y="79375"/>
                        <a:pt x="65008" y="79375"/>
                        <a:pt x="15716" y="79375"/>
                      </a:cubicBezTo>
                      <a:cubicBezTo>
                        <a:pt x="7144" y="79375"/>
                        <a:pt x="0" y="72224"/>
                        <a:pt x="0" y="63643"/>
                      </a:cubicBezTo>
                      <a:cubicBezTo>
                        <a:pt x="0" y="63643"/>
                        <a:pt x="0" y="63643"/>
                        <a:pt x="0" y="15732"/>
                      </a:cubicBezTo>
                      <a:cubicBezTo>
                        <a:pt x="0" y="7151"/>
                        <a:pt x="7144" y="0"/>
                        <a:pt x="15716"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sp>
        <p:nvSpPr>
          <p:cNvPr id="46" name="NavigationTriangle">
            <a:extLst>
              <a:ext uri="{FF2B5EF4-FFF2-40B4-BE49-F238E27FC236}">
                <a16:creationId xmlns:a16="http://schemas.microsoft.com/office/drawing/2014/main" id="{BFC52AED-DBFA-4097-AA79-651ABF799CF5}"/>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NavigationIcon">
            <a:extLst>
              <a:ext uri="{FF2B5EF4-FFF2-40B4-BE49-F238E27FC236}">
                <a16:creationId xmlns:a16="http://schemas.microsoft.com/office/drawing/2014/main" id="{5C35A3BA-9065-4218-B447-FB21CFF74DFF}"/>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7</a:t>
            </a:r>
          </a:p>
        </p:txBody>
      </p:sp>
    </p:spTree>
    <p:custDataLst>
      <p:tags r:id="rId2"/>
    </p:custDataLst>
    <p:extLst>
      <p:ext uri="{BB962C8B-B14F-4D97-AF65-F5344CB8AC3E}">
        <p14:creationId xmlns:p14="http://schemas.microsoft.com/office/powerpoint/2010/main" val="1210647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6" name="think-cell Slide" r:id="rId10" imgW="381" imgH="381" progId="TCLayout.ActiveDocument.1">
                  <p:embed/>
                </p:oleObj>
              </mc:Choice>
              <mc:Fallback>
                <p:oleObj name="think-cell Slide" r:id="rId10"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4DCB9DB-2D92-4A7E-931C-31D9856BF7A4}"/>
              </a:ext>
            </a:extLst>
          </p:cNvPr>
          <p:cNvSpPr/>
          <p:nvPr/>
        </p:nvSpPr>
        <p:spPr>
          <a:xfrm>
            <a:off x="5101781" y="4076710"/>
            <a:ext cx="1838949" cy="1766742"/>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6" name="Title 1">
            <a:extLst>
              <a:ext uri="{FF2B5EF4-FFF2-40B4-BE49-F238E27FC236}">
                <a16:creationId xmlns:a16="http://schemas.microsoft.com/office/drawing/2014/main" id="{D4D06D73-436A-B54D-ADCC-F07AC0830793}"/>
              </a:ext>
            </a:extLst>
          </p:cNvPr>
          <p:cNvSpPr>
            <a:spLocks noGrp="1"/>
          </p:cNvSpPr>
          <p:nvPr>
            <p:ph type="title"/>
          </p:nvPr>
        </p:nvSpPr>
        <p:spPr>
          <a:xfrm>
            <a:off x="630000" y="622800"/>
            <a:ext cx="10933350" cy="775597"/>
          </a:xfrm>
        </p:spPr>
        <p:txBody>
          <a:bodyPr vert="horz" wrap="square">
            <a:spAutoFit/>
          </a:bodyPr>
          <a:lstStyle/>
          <a:p>
            <a:pPr>
              <a:buSzPts val="2800"/>
            </a:pPr>
            <a:r>
              <a:rPr lang="en-US" dirty="0"/>
              <a:t>Preliminary: how to get started on scaled digital product model – detailed ramp-up and engagement plan to be defined</a:t>
            </a:r>
          </a:p>
        </p:txBody>
      </p:sp>
      <p:sp>
        <p:nvSpPr>
          <p:cNvPr id="12" name="TextBox 11">
            <a:extLst>
              <a:ext uri="{FF2B5EF4-FFF2-40B4-BE49-F238E27FC236}">
                <a16:creationId xmlns:a16="http://schemas.microsoft.com/office/drawing/2014/main" id="{DCC74CAB-9005-BC47-AF5A-810CADEE670A}"/>
              </a:ext>
            </a:extLst>
          </p:cNvPr>
          <p:cNvSpPr txBox="1"/>
          <p:nvPr/>
        </p:nvSpPr>
        <p:spPr>
          <a:xfrm>
            <a:off x="13026887" y="3684104"/>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latin typeface="+mj-lt"/>
            </a:endParaRPr>
          </a:p>
        </p:txBody>
      </p:sp>
      <p:sp>
        <p:nvSpPr>
          <p:cNvPr id="15" name="ValueChainStarter">
            <a:extLst>
              <a:ext uri="{FF2B5EF4-FFF2-40B4-BE49-F238E27FC236}">
                <a16:creationId xmlns:a16="http://schemas.microsoft.com/office/drawing/2014/main" id="{140AF259-DB1A-445C-BF4D-D6EFE68AF88C}"/>
              </a:ext>
            </a:extLst>
          </p:cNvPr>
          <p:cNvSpPr>
            <a:spLocks noChangeArrowheads="1"/>
          </p:cNvSpPr>
          <p:nvPr>
            <p:custDataLst>
              <p:tags r:id="rId3"/>
            </p:custDataLst>
          </p:nvPr>
        </p:nvSpPr>
        <p:spPr bwMode="gray">
          <a:xfrm>
            <a:off x="636383" y="1707217"/>
            <a:ext cx="2229394" cy="873778"/>
          </a:xfrm>
          <a:prstGeom prst="homePlate">
            <a:avLst>
              <a:gd name="adj" fmla="val 12004"/>
            </a:avLst>
          </a:prstGeom>
          <a:solidFill>
            <a:srgbClr val="00148C"/>
          </a:solidFill>
          <a:ln w="38100" cap="rnd" algn="ctr">
            <a:noFill/>
            <a:round/>
            <a:headEnd/>
            <a:tailEnd/>
          </a:ln>
        </p:spPr>
        <p:txBody>
          <a:bodyPr lIns="0" tIns="0" rIns="0" bIns="0" anchor="ctr" anchorCtr="0"/>
          <a:lstStyle/>
          <a:p>
            <a:pPr algn="ctr" eaLnBrk="0" hangingPunct="0"/>
            <a:r>
              <a:rPr lang="en-US" sz="1600" dirty="0">
                <a:solidFill>
                  <a:srgbClr val="FFFFFF"/>
                </a:solidFill>
                <a:latin typeface="+mj-lt"/>
                <a:sym typeface="Trebuchet MS" panose="020B0603020202020204" pitchFamily="34" charset="0"/>
              </a:rPr>
              <a:t>Engage with CIOs / TL to evaluate current state and roadmap</a:t>
            </a:r>
          </a:p>
        </p:txBody>
      </p:sp>
      <p:sp>
        <p:nvSpPr>
          <p:cNvPr id="16" name="ValueChainHeader">
            <a:extLst>
              <a:ext uri="{FF2B5EF4-FFF2-40B4-BE49-F238E27FC236}">
                <a16:creationId xmlns:a16="http://schemas.microsoft.com/office/drawing/2014/main" id="{EF713075-5F9A-4C98-A303-DB099BC96DB0}"/>
              </a:ext>
            </a:extLst>
          </p:cNvPr>
          <p:cNvSpPr>
            <a:spLocks noChangeArrowheads="1"/>
          </p:cNvSpPr>
          <p:nvPr>
            <p:custDataLst>
              <p:tags r:id="rId4"/>
            </p:custDataLst>
          </p:nvPr>
        </p:nvSpPr>
        <p:spPr bwMode="gray">
          <a:xfrm>
            <a:off x="2881097" y="1707217"/>
            <a:ext cx="2229394" cy="873778"/>
          </a:xfrm>
          <a:prstGeom prst="chevron">
            <a:avLst>
              <a:gd name="adj" fmla="val 12004"/>
            </a:avLst>
          </a:prstGeom>
          <a:solidFill>
            <a:srgbClr val="00148C"/>
          </a:solidFill>
          <a:ln w="38100" cap="rnd" algn="ctr">
            <a:noFill/>
            <a:round/>
            <a:headEnd/>
            <a:tailEnd/>
          </a:ln>
        </p:spPr>
        <p:txBody>
          <a:bodyPr lIns="0" tIns="0" rIns="0" bIns="0" anchor="ctr" anchorCtr="0"/>
          <a:lstStyle/>
          <a:p>
            <a:pPr algn="ctr" eaLnBrk="0" hangingPunct="0"/>
            <a:r>
              <a:rPr lang="en-US" sz="1600" dirty="0">
                <a:solidFill>
                  <a:srgbClr val="FFFFFF"/>
                </a:solidFill>
                <a:latin typeface="+mj-lt"/>
                <a:sym typeface="Trebuchet MS" panose="020B0603020202020204" pitchFamily="34" charset="0"/>
              </a:rPr>
              <a:t>Define your</a:t>
            </a:r>
          </a:p>
          <a:p>
            <a:pPr algn="ctr" eaLnBrk="0" hangingPunct="0"/>
            <a:r>
              <a:rPr lang="en-US" sz="1600" dirty="0">
                <a:solidFill>
                  <a:srgbClr val="FFFFFF"/>
                </a:solidFill>
                <a:latin typeface="+mj-lt"/>
                <a:sym typeface="Trebuchet MS" panose="020B0603020202020204" pitchFamily="34" charset="0"/>
              </a:rPr>
              <a:t>product blueprint</a:t>
            </a:r>
          </a:p>
        </p:txBody>
      </p:sp>
      <p:sp>
        <p:nvSpPr>
          <p:cNvPr id="17" name="ValueChainHeader">
            <a:extLst>
              <a:ext uri="{FF2B5EF4-FFF2-40B4-BE49-F238E27FC236}">
                <a16:creationId xmlns:a16="http://schemas.microsoft.com/office/drawing/2014/main" id="{009C7BA8-1687-4F46-9CCD-D012EB680EB6}"/>
              </a:ext>
            </a:extLst>
          </p:cNvPr>
          <p:cNvSpPr>
            <a:spLocks noChangeArrowheads="1"/>
          </p:cNvSpPr>
          <p:nvPr>
            <p:custDataLst>
              <p:tags r:id="rId5"/>
            </p:custDataLst>
          </p:nvPr>
        </p:nvSpPr>
        <p:spPr bwMode="gray">
          <a:xfrm>
            <a:off x="5125810" y="1707217"/>
            <a:ext cx="2229394" cy="873778"/>
          </a:xfrm>
          <a:prstGeom prst="chevron">
            <a:avLst>
              <a:gd name="adj" fmla="val 12004"/>
            </a:avLst>
          </a:prstGeom>
          <a:solidFill>
            <a:srgbClr val="00148C"/>
          </a:solidFill>
          <a:ln w="38100" cap="rnd" algn="ctr">
            <a:noFill/>
            <a:round/>
            <a:headEnd/>
            <a:tailEnd/>
          </a:ln>
        </p:spPr>
        <p:txBody>
          <a:bodyPr lIns="0" tIns="0" rIns="0" bIns="0" anchor="ctr" anchorCtr="0"/>
          <a:lstStyle/>
          <a:p>
            <a:pPr algn="ctr" eaLnBrk="0" hangingPunct="0"/>
            <a:r>
              <a:rPr lang="en-US" sz="1600" dirty="0">
                <a:solidFill>
                  <a:srgbClr val="FFFFFF"/>
                </a:solidFill>
                <a:latin typeface="+mj-lt"/>
                <a:sym typeface="Trebuchet MS" panose="020B0603020202020204" pitchFamily="34" charset="0"/>
              </a:rPr>
              <a:t>Prioritize products for near-term launch</a:t>
            </a:r>
          </a:p>
        </p:txBody>
      </p:sp>
      <p:sp>
        <p:nvSpPr>
          <p:cNvPr id="18" name="ValueChainHeader">
            <a:extLst>
              <a:ext uri="{FF2B5EF4-FFF2-40B4-BE49-F238E27FC236}">
                <a16:creationId xmlns:a16="http://schemas.microsoft.com/office/drawing/2014/main" id="{234FF0D4-EEB7-4C4F-B9B3-1EF1D641FE79}"/>
              </a:ext>
            </a:extLst>
          </p:cNvPr>
          <p:cNvSpPr>
            <a:spLocks noChangeArrowheads="1"/>
          </p:cNvSpPr>
          <p:nvPr>
            <p:custDataLst>
              <p:tags r:id="rId6"/>
            </p:custDataLst>
          </p:nvPr>
        </p:nvSpPr>
        <p:spPr bwMode="gray">
          <a:xfrm>
            <a:off x="7370525" y="1707217"/>
            <a:ext cx="2229394" cy="873778"/>
          </a:xfrm>
          <a:prstGeom prst="chevron">
            <a:avLst>
              <a:gd name="adj" fmla="val 12004"/>
            </a:avLst>
          </a:prstGeom>
          <a:solidFill>
            <a:srgbClr val="00148C"/>
          </a:solidFill>
          <a:ln w="38100" cap="rnd" algn="ctr">
            <a:noFill/>
            <a:round/>
            <a:headEnd/>
            <a:tailEnd/>
          </a:ln>
        </p:spPr>
        <p:txBody>
          <a:bodyPr lIns="0" tIns="0" rIns="0" bIns="0" anchor="ctr" anchorCtr="0"/>
          <a:lstStyle/>
          <a:p>
            <a:pPr algn="ctr" eaLnBrk="0" hangingPunct="0"/>
            <a:r>
              <a:rPr lang="en-US" sz="1600" dirty="0">
                <a:solidFill>
                  <a:srgbClr val="FFFFFF"/>
                </a:solidFill>
                <a:latin typeface="+mj-lt"/>
                <a:sym typeface="Trebuchet MS" panose="020B0603020202020204" pitchFamily="34" charset="0"/>
              </a:rPr>
              <a:t>Structure and</a:t>
            </a:r>
          </a:p>
          <a:p>
            <a:pPr algn="ctr" eaLnBrk="0" hangingPunct="0"/>
            <a:r>
              <a:rPr lang="en-US" sz="1600" dirty="0">
                <a:solidFill>
                  <a:srgbClr val="FFFFFF"/>
                </a:solidFill>
                <a:latin typeface="+mj-lt"/>
                <a:sym typeface="Trebuchet MS" panose="020B0603020202020204" pitchFamily="34" charset="0"/>
              </a:rPr>
              <a:t>staff team</a:t>
            </a:r>
          </a:p>
        </p:txBody>
      </p:sp>
      <p:sp>
        <p:nvSpPr>
          <p:cNvPr id="19" name="ValueChainHeader">
            <a:extLst>
              <a:ext uri="{FF2B5EF4-FFF2-40B4-BE49-F238E27FC236}">
                <a16:creationId xmlns:a16="http://schemas.microsoft.com/office/drawing/2014/main" id="{DEE7E751-7978-47F2-956A-0D7A34794634}"/>
              </a:ext>
            </a:extLst>
          </p:cNvPr>
          <p:cNvSpPr>
            <a:spLocks noChangeArrowheads="1"/>
          </p:cNvSpPr>
          <p:nvPr>
            <p:custDataLst>
              <p:tags r:id="rId7"/>
            </p:custDataLst>
          </p:nvPr>
        </p:nvSpPr>
        <p:spPr bwMode="gray">
          <a:xfrm>
            <a:off x="9615236" y="1707217"/>
            <a:ext cx="2229394" cy="873778"/>
          </a:xfrm>
          <a:prstGeom prst="chevron">
            <a:avLst>
              <a:gd name="adj" fmla="val 12004"/>
            </a:avLst>
          </a:prstGeom>
          <a:solidFill>
            <a:srgbClr val="55555A"/>
          </a:solidFill>
          <a:ln w="38100" cap="rnd" algn="ctr">
            <a:noFill/>
            <a:round/>
            <a:headEnd/>
            <a:tailEnd/>
          </a:ln>
        </p:spPr>
        <p:txBody>
          <a:bodyPr lIns="0" tIns="0" rIns="0" bIns="0" anchor="ctr" anchorCtr="0"/>
          <a:lstStyle/>
          <a:p>
            <a:pPr algn="ctr" eaLnBrk="0" hangingPunct="0"/>
            <a:r>
              <a:rPr lang="en-US" sz="1600" dirty="0">
                <a:solidFill>
                  <a:srgbClr val="FFFFFF"/>
                </a:solidFill>
                <a:latin typeface="+mj-lt"/>
                <a:sym typeface="Trebuchet MS" panose="020B0603020202020204" pitchFamily="34" charset="0"/>
              </a:rPr>
              <a:t>Ongoing coaching and enablement</a:t>
            </a:r>
          </a:p>
        </p:txBody>
      </p:sp>
      <p:sp>
        <p:nvSpPr>
          <p:cNvPr id="20" name="ee4pContent1">
            <a:extLst>
              <a:ext uri="{FF2B5EF4-FFF2-40B4-BE49-F238E27FC236}">
                <a16:creationId xmlns:a16="http://schemas.microsoft.com/office/drawing/2014/main" id="{4CA44394-E60E-4F4F-BC2C-AFC208C94F54}"/>
              </a:ext>
            </a:extLst>
          </p:cNvPr>
          <p:cNvSpPr txBox="1"/>
          <p:nvPr/>
        </p:nvSpPr>
        <p:spPr>
          <a:xfrm>
            <a:off x="2881097" y="2702849"/>
            <a:ext cx="1941730" cy="26105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r>
              <a:rPr lang="en-US" sz="1100" b="1" dirty="0">
                <a:solidFill>
                  <a:srgbClr val="7F7F7F"/>
                </a:solidFill>
                <a:latin typeface="+mj-lt"/>
              </a:rPr>
              <a:t>Participate in Value-Stream-Mapping workshop </a:t>
            </a:r>
          </a:p>
          <a:p>
            <a:pPr marL="297000" lvl="1" indent="-198000"/>
            <a:r>
              <a:rPr lang="en-US" sz="1100" dirty="0">
                <a:solidFill>
                  <a:srgbClr val="7F7F7F"/>
                </a:solidFill>
                <a:latin typeface="+mj-lt"/>
              </a:rPr>
              <a:t>Break down work based on customer journey and design principles into products and product lines</a:t>
            </a:r>
          </a:p>
          <a:p>
            <a:pPr marL="297000" lvl="1" indent="-198000"/>
            <a:r>
              <a:rPr lang="en-US" sz="1100" dirty="0">
                <a:solidFill>
                  <a:srgbClr val="7F7F7F"/>
                </a:solidFill>
                <a:latin typeface="+mj-lt"/>
              </a:rPr>
              <a:t>Define outcomes / </a:t>
            </a:r>
            <a:r>
              <a:rPr lang="en-US" sz="1100" dirty="0" err="1">
                <a:solidFill>
                  <a:srgbClr val="7F7F7F"/>
                </a:solidFill>
                <a:latin typeface="+mj-lt"/>
              </a:rPr>
              <a:t>OKRs</a:t>
            </a:r>
            <a:r>
              <a:rPr lang="en-US" sz="1100" dirty="0">
                <a:solidFill>
                  <a:srgbClr val="7F7F7F"/>
                </a:solidFill>
                <a:latin typeface="+mj-lt"/>
              </a:rPr>
              <a:t> for each product</a:t>
            </a:r>
          </a:p>
          <a:p>
            <a:pPr marL="297000" lvl="1" indent="-198000"/>
            <a:r>
              <a:rPr lang="en-US" sz="1100" dirty="0">
                <a:solidFill>
                  <a:srgbClr val="7F7F7F"/>
                </a:solidFill>
                <a:latin typeface="+mj-lt"/>
              </a:rPr>
              <a:t>Can apply to all ongoing and planned products &amp; programs</a:t>
            </a:r>
          </a:p>
          <a:p>
            <a:pPr>
              <a:buFont typeface="Trebuchet MS" panose="020B0603020202020204" pitchFamily="34" charset="0"/>
              <a:buChar char="​"/>
            </a:pPr>
            <a:endParaRPr lang="en-US" sz="1100" dirty="0">
              <a:solidFill>
                <a:srgbClr val="7F7F7F"/>
              </a:solidFill>
              <a:latin typeface="Arial" panose="020B0604020202020204" pitchFamily="34" charset="0"/>
            </a:endParaRPr>
          </a:p>
          <a:p>
            <a:pPr>
              <a:buFont typeface="Trebuchet MS" panose="020B0603020202020204" pitchFamily="34" charset="0"/>
              <a:buChar char="​"/>
            </a:pPr>
            <a:r>
              <a:rPr lang="en-US" sz="1100" b="1" dirty="0">
                <a:solidFill>
                  <a:srgbClr val="7F7F7F"/>
                </a:solidFill>
                <a:latin typeface="Arial" panose="020B0604020202020204" pitchFamily="34" charset="0"/>
              </a:rPr>
              <a:t>Build out roadmap of product launches to understand overall timeline / business needs</a:t>
            </a:r>
          </a:p>
          <a:p>
            <a:pPr marL="297000" lvl="1" indent="-198000"/>
            <a:endParaRPr lang="en-US" sz="1100" dirty="0">
              <a:solidFill>
                <a:srgbClr val="7F7F7F"/>
              </a:solidFill>
              <a:latin typeface="+mj-lt"/>
            </a:endParaRPr>
          </a:p>
        </p:txBody>
      </p:sp>
      <p:sp>
        <p:nvSpPr>
          <p:cNvPr id="21" name="ee4pContent2">
            <a:extLst>
              <a:ext uri="{FF2B5EF4-FFF2-40B4-BE49-F238E27FC236}">
                <a16:creationId xmlns:a16="http://schemas.microsoft.com/office/drawing/2014/main" id="{2486F904-1A9D-4048-A400-C1CC0C7F2D8A}"/>
              </a:ext>
            </a:extLst>
          </p:cNvPr>
          <p:cNvSpPr txBox="1"/>
          <p:nvPr/>
        </p:nvSpPr>
        <p:spPr>
          <a:xfrm>
            <a:off x="5125810" y="2702849"/>
            <a:ext cx="2006510" cy="26105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r>
              <a:rPr lang="en-US" sz="1100" b="1" dirty="0">
                <a:solidFill>
                  <a:srgbClr val="7F7F7F"/>
                </a:solidFill>
                <a:latin typeface="+mj-lt"/>
              </a:rPr>
              <a:t>Identify best opportunities for conversion to digital</a:t>
            </a:r>
          </a:p>
          <a:p>
            <a:pPr marL="297000" lvl="1" indent="-198000"/>
            <a:r>
              <a:rPr lang="en-US" sz="1100" dirty="0">
                <a:solidFill>
                  <a:srgbClr val="7F7F7F"/>
                </a:solidFill>
                <a:latin typeface="+mj-lt"/>
              </a:rPr>
              <a:t>High value delivery</a:t>
            </a:r>
          </a:p>
          <a:p>
            <a:pPr marL="297000" lvl="1" indent="-198000"/>
            <a:r>
              <a:rPr lang="en-US" sz="1100" dirty="0">
                <a:solidFill>
                  <a:srgbClr val="7F7F7F"/>
                </a:solidFill>
                <a:latin typeface="+mj-lt"/>
              </a:rPr>
              <a:t>Limited interdependencies</a:t>
            </a:r>
          </a:p>
          <a:p>
            <a:pPr marL="297000" lvl="1" indent="-198000"/>
            <a:r>
              <a:rPr lang="en-US" sz="1100" dirty="0">
                <a:solidFill>
                  <a:srgbClr val="7F7F7F"/>
                </a:solidFill>
                <a:latin typeface="+mj-lt"/>
              </a:rPr>
              <a:t>Fewer resource gaps</a:t>
            </a:r>
          </a:p>
          <a:p>
            <a:endParaRPr lang="en-US" sz="1100" dirty="0">
              <a:solidFill>
                <a:srgbClr val="7F7F7F"/>
              </a:solidFill>
              <a:latin typeface="+mj-lt"/>
            </a:endParaRPr>
          </a:p>
          <a:p>
            <a:r>
              <a:rPr lang="en-US" sz="1100" b="1" dirty="0">
                <a:solidFill>
                  <a:srgbClr val="7F7F7F"/>
                </a:solidFill>
                <a:latin typeface="+mj-lt"/>
              </a:rPr>
              <a:t>Pressure test to ensure product/s meet digital test</a:t>
            </a:r>
          </a:p>
          <a:p>
            <a:pPr marL="114300" marR="356870" indent="-114300">
              <a:spcBef>
                <a:spcPts val="300"/>
              </a:spcBef>
              <a:spcAft>
                <a:spcPts val="300"/>
              </a:spcAft>
              <a:buFont typeface="Wingdings" pitchFamily="2" charset="2"/>
              <a:buChar char="ü"/>
            </a:pPr>
            <a:r>
              <a:rPr lang="en-US" sz="1000" dirty="0">
                <a:solidFill>
                  <a:srgbClr val="7F7F7F"/>
                </a:solidFill>
                <a:latin typeface="+mj-lt"/>
                <a:cs typeface="Calibri" panose="020F0502020204030204" pitchFamily="34" charset="0"/>
              </a:rPr>
              <a:t>Re-imagines </a:t>
            </a:r>
            <a:r>
              <a:rPr lang="en-US" sz="1000" b="1" dirty="0">
                <a:solidFill>
                  <a:srgbClr val="7F7F7F"/>
                </a:solidFill>
                <a:latin typeface="+mj-lt"/>
                <a:cs typeface="Calibri" panose="020F0502020204030204" pitchFamily="34" charset="0"/>
              </a:rPr>
              <a:t>operations and processes</a:t>
            </a:r>
            <a:r>
              <a:rPr lang="en-US" sz="1000" dirty="0">
                <a:solidFill>
                  <a:srgbClr val="7F7F7F"/>
                </a:solidFill>
                <a:latin typeface="+mj-lt"/>
                <a:cs typeface="Calibri" panose="020F0502020204030204" pitchFamily="34" charset="0"/>
              </a:rPr>
              <a:t> to evolve features and deliver </a:t>
            </a:r>
            <a:r>
              <a:rPr lang="en-US" sz="1000" b="1" dirty="0">
                <a:solidFill>
                  <a:srgbClr val="7F7F7F"/>
                </a:solidFill>
                <a:latin typeface="+mj-lt"/>
                <a:cs typeface="Calibri" panose="020F0502020204030204" pitchFamily="34" charset="0"/>
              </a:rPr>
              <a:t>continuous</a:t>
            </a:r>
            <a:r>
              <a:rPr lang="en-US" sz="1000" dirty="0">
                <a:solidFill>
                  <a:srgbClr val="7F7F7F"/>
                </a:solidFill>
                <a:latin typeface="+mj-lt"/>
                <a:cs typeface="Calibri" panose="020F0502020204030204" pitchFamily="34" charset="0"/>
              </a:rPr>
              <a:t> value</a:t>
            </a:r>
          </a:p>
          <a:p>
            <a:pPr marL="114300" marR="356870" indent="-114300">
              <a:spcBef>
                <a:spcPts val="300"/>
              </a:spcBef>
              <a:spcAft>
                <a:spcPts val="300"/>
              </a:spcAft>
              <a:buFont typeface="Wingdings" pitchFamily="2" charset="2"/>
              <a:buChar char="ü"/>
            </a:pPr>
            <a:r>
              <a:rPr lang="en-US" sz="1000" b="1" dirty="0">
                <a:solidFill>
                  <a:srgbClr val="7F7F7F"/>
                </a:solidFill>
                <a:latin typeface="+mj-lt"/>
                <a:cs typeface="Calibri" panose="020F0502020204030204" pitchFamily="34" charset="0"/>
              </a:rPr>
              <a:t>Enabled by technology </a:t>
            </a:r>
            <a:r>
              <a:rPr lang="en-US" sz="1000" dirty="0">
                <a:solidFill>
                  <a:srgbClr val="7F7F7F"/>
                </a:solidFill>
                <a:latin typeface="+mj-lt"/>
                <a:cs typeface="Calibri" panose="020F0502020204030204" pitchFamily="34" charset="0"/>
              </a:rPr>
              <a:t>to </a:t>
            </a:r>
            <a:r>
              <a:rPr lang="en-US" sz="1000" b="1" dirty="0">
                <a:solidFill>
                  <a:srgbClr val="7F7F7F"/>
                </a:solidFill>
                <a:latin typeface="+mj-lt"/>
                <a:cs typeface="Calibri" panose="020F0502020204030204" pitchFamily="34" charset="0"/>
              </a:rPr>
              <a:t>address needs of stakeholders</a:t>
            </a:r>
            <a:r>
              <a:rPr lang="en-US" sz="1000" dirty="0">
                <a:solidFill>
                  <a:srgbClr val="7F7F7F"/>
                </a:solidFill>
                <a:latin typeface="+mj-lt"/>
                <a:cs typeface="Calibri" panose="020F0502020204030204" pitchFamily="34" charset="0"/>
              </a:rPr>
              <a:t> </a:t>
            </a:r>
            <a:r>
              <a:rPr lang="en-US" sz="1000" b="1" dirty="0">
                <a:solidFill>
                  <a:srgbClr val="7F7F7F"/>
                </a:solidFill>
                <a:latin typeface="+mj-lt"/>
                <a:cs typeface="Calibri" panose="020F0502020204030204" pitchFamily="34" charset="0"/>
              </a:rPr>
              <a:t>/ customers</a:t>
            </a:r>
          </a:p>
          <a:p>
            <a:pPr marL="114300" marR="356870" indent="-114300">
              <a:spcBef>
                <a:spcPts val="300"/>
              </a:spcBef>
              <a:spcAft>
                <a:spcPts val="300"/>
              </a:spcAft>
              <a:buFont typeface="Wingdings" pitchFamily="2" charset="2"/>
              <a:buChar char="ü"/>
            </a:pPr>
            <a:r>
              <a:rPr lang="en-US" sz="1000" dirty="0">
                <a:solidFill>
                  <a:srgbClr val="7F7F7F"/>
                </a:solidFill>
                <a:latin typeface="+mj-lt"/>
                <a:cs typeface="Calibri" panose="020F0502020204030204" pitchFamily="34" charset="0"/>
              </a:rPr>
              <a:t>Delivered using </a:t>
            </a:r>
            <a:r>
              <a:rPr lang="en-US" sz="1000" b="1" dirty="0">
                <a:solidFill>
                  <a:srgbClr val="7F7F7F"/>
                </a:solidFill>
                <a:latin typeface="+mj-lt"/>
                <a:cs typeface="Calibri" panose="020F0502020204030204" pitchFamily="34" charset="0"/>
              </a:rPr>
              <a:t>Digital Ways of working (Design thinking + Lean + Agile)</a:t>
            </a:r>
          </a:p>
        </p:txBody>
      </p:sp>
      <p:sp>
        <p:nvSpPr>
          <p:cNvPr id="22" name="ee4pContent3">
            <a:extLst>
              <a:ext uri="{FF2B5EF4-FFF2-40B4-BE49-F238E27FC236}">
                <a16:creationId xmlns:a16="http://schemas.microsoft.com/office/drawing/2014/main" id="{443EB7E5-632F-4514-B428-9DD786AD014B}"/>
              </a:ext>
            </a:extLst>
          </p:cNvPr>
          <p:cNvSpPr txBox="1"/>
          <p:nvPr/>
        </p:nvSpPr>
        <p:spPr>
          <a:xfrm>
            <a:off x="7355204" y="2702849"/>
            <a:ext cx="1941730" cy="26105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r>
              <a:rPr lang="en-US" sz="1100" b="1" dirty="0">
                <a:solidFill>
                  <a:srgbClr val="7F7F7F"/>
                </a:solidFill>
                <a:latin typeface="+mj-lt"/>
              </a:rPr>
              <a:t>Identify set of roles required for ensure team succeed</a:t>
            </a:r>
          </a:p>
          <a:p>
            <a:pPr lvl="1"/>
            <a:r>
              <a:rPr lang="en-US" sz="1100" dirty="0">
                <a:solidFill>
                  <a:srgbClr val="7F7F7F"/>
                </a:solidFill>
                <a:latin typeface="+mj-lt"/>
              </a:rPr>
              <a:t>Understand which roles are needed to get started</a:t>
            </a:r>
          </a:p>
          <a:p>
            <a:pPr>
              <a:buFont typeface="Trebuchet MS" panose="020B0603020202020204" pitchFamily="34" charset="0"/>
              <a:buChar char="​"/>
            </a:pPr>
            <a:endParaRPr lang="en-US" sz="1100" dirty="0">
              <a:solidFill>
                <a:srgbClr val="7F7F7F"/>
              </a:solidFill>
              <a:latin typeface="+mj-lt"/>
            </a:endParaRPr>
          </a:p>
          <a:p>
            <a:pPr>
              <a:buFont typeface="Trebuchet MS" panose="020B0603020202020204" pitchFamily="34" charset="0"/>
              <a:buChar char="​"/>
            </a:pPr>
            <a:r>
              <a:rPr lang="en-US" sz="1100" b="1" dirty="0">
                <a:solidFill>
                  <a:srgbClr val="7F7F7F"/>
                </a:solidFill>
                <a:latin typeface="+mj-lt"/>
              </a:rPr>
              <a:t>Compare needs against internal team members and identify gaps</a:t>
            </a:r>
          </a:p>
          <a:p>
            <a:pPr marL="297000" lvl="1" indent="-198000"/>
            <a:r>
              <a:rPr lang="en-US" sz="1100" dirty="0">
                <a:solidFill>
                  <a:srgbClr val="7F7F7F"/>
                </a:solidFill>
                <a:latin typeface="+mj-lt"/>
              </a:rPr>
              <a:t>Prepare upskilling and training approach for existing team members</a:t>
            </a:r>
          </a:p>
          <a:p>
            <a:pPr>
              <a:buFont typeface="Trebuchet MS" panose="020B0603020202020204" pitchFamily="34" charset="0"/>
              <a:buChar char="​"/>
            </a:pPr>
            <a:endParaRPr lang="en-US" sz="1100" dirty="0">
              <a:solidFill>
                <a:srgbClr val="7F7F7F"/>
              </a:solidFill>
              <a:latin typeface="+mj-lt"/>
            </a:endParaRPr>
          </a:p>
          <a:p>
            <a:pPr>
              <a:buFont typeface="Trebuchet MS" panose="020B0603020202020204" pitchFamily="34" charset="0"/>
              <a:buChar char="​"/>
            </a:pPr>
            <a:r>
              <a:rPr lang="en-US" sz="1100" b="1" dirty="0">
                <a:solidFill>
                  <a:srgbClr val="7F7F7F"/>
                </a:solidFill>
                <a:latin typeface="+mj-lt"/>
              </a:rPr>
              <a:t>Support recruiting efforts to close gaps </a:t>
            </a:r>
            <a:r>
              <a:rPr lang="en-US" sz="1100" dirty="0">
                <a:solidFill>
                  <a:srgbClr val="7F7F7F"/>
                </a:solidFill>
                <a:latin typeface="+mj-lt"/>
              </a:rPr>
              <a:t>(with support of Hub, described on later pages)</a:t>
            </a:r>
          </a:p>
        </p:txBody>
      </p:sp>
      <p:sp>
        <p:nvSpPr>
          <p:cNvPr id="23" name="ee4pContent4">
            <a:extLst>
              <a:ext uri="{FF2B5EF4-FFF2-40B4-BE49-F238E27FC236}">
                <a16:creationId xmlns:a16="http://schemas.microsoft.com/office/drawing/2014/main" id="{BB2F9061-2854-4400-ACDA-50DE938E3413}"/>
              </a:ext>
            </a:extLst>
          </p:cNvPr>
          <p:cNvSpPr txBox="1"/>
          <p:nvPr/>
        </p:nvSpPr>
        <p:spPr>
          <a:xfrm>
            <a:off x="9615236" y="2702849"/>
            <a:ext cx="1941730" cy="2610548"/>
          </a:xfrm>
          <a:prstGeom prst="rect">
            <a:avLst/>
          </a:prstGeom>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r>
              <a:rPr lang="en-US" sz="1100" b="1" dirty="0">
                <a:solidFill>
                  <a:srgbClr val="55555A"/>
                </a:solidFill>
                <a:latin typeface="+mj-lt"/>
              </a:rPr>
              <a:t>Initial workshops and training to launch squad</a:t>
            </a:r>
          </a:p>
          <a:p>
            <a:pPr>
              <a:buFont typeface="Trebuchet MS" panose="020B0603020202020204" pitchFamily="34" charset="0"/>
              <a:buChar char="​"/>
            </a:pPr>
            <a:endParaRPr lang="en-US" sz="1100" dirty="0">
              <a:solidFill>
                <a:srgbClr val="55555A"/>
              </a:solidFill>
              <a:latin typeface="+mj-lt"/>
            </a:endParaRPr>
          </a:p>
          <a:p>
            <a:pPr>
              <a:buFont typeface="Trebuchet MS" panose="020B0603020202020204" pitchFamily="34" charset="0"/>
              <a:buChar char="​"/>
            </a:pPr>
            <a:r>
              <a:rPr lang="en-US" sz="1100" b="1" dirty="0">
                <a:solidFill>
                  <a:srgbClr val="55555A"/>
                </a:solidFill>
                <a:latin typeface="+mj-lt"/>
              </a:rPr>
              <a:t>Define the specific concepts or solutions to be built through road mapping and/or Hack-a-Future</a:t>
            </a:r>
            <a:endParaRPr lang="en-US" sz="1100" b="1" dirty="0">
              <a:solidFill>
                <a:srgbClr val="55555A"/>
              </a:solidFill>
              <a:latin typeface="Arial" panose="020B0604020202020204" pitchFamily="34" charset="0"/>
            </a:endParaRPr>
          </a:p>
          <a:p>
            <a:pPr>
              <a:buFont typeface="Trebuchet MS" panose="020B0603020202020204" pitchFamily="34" charset="0"/>
              <a:buChar char="​"/>
            </a:pPr>
            <a:endParaRPr lang="en-US" sz="1100" b="1" dirty="0">
              <a:solidFill>
                <a:srgbClr val="55555A"/>
              </a:solidFill>
              <a:latin typeface="Arial" panose="020B0604020202020204" pitchFamily="34" charset="0"/>
            </a:endParaRPr>
          </a:p>
          <a:p>
            <a:pPr>
              <a:buFont typeface="Trebuchet MS" panose="020B0603020202020204" pitchFamily="34" charset="0"/>
              <a:buChar char="​"/>
            </a:pPr>
            <a:r>
              <a:rPr lang="en-US" sz="1100" b="1" dirty="0">
                <a:solidFill>
                  <a:srgbClr val="55555A"/>
                </a:solidFill>
                <a:latin typeface="Arial" panose="020B0604020202020204" pitchFamily="34" charset="0"/>
              </a:rPr>
              <a:t>Provide coaching and ongoing enablement </a:t>
            </a:r>
            <a:endParaRPr lang="en-US" sz="1100" b="1" dirty="0">
              <a:solidFill>
                <a:srgbClr val="55555A"/>
              </a:solidFill>
              <a:latin typeface="+mj-lt"/>
            </a:endParaRPr>
          </a:p>
        </p:txBody>
      </p:sp>
      <p:sp>
        <p:nvSpPr>
          <p:cNvPr id="26" name="ee4pContent1">
            <a:extLst>
              <a:ext uri="{FF2B5EF4-FFF2-40B4-BE49-F238E27FC236}">
                <a16:creationId xmlns:a16="http://schemas.microsoft.com/office/drawing/2014/main" id="{E26B8EBE-B807-49E3-B936-D003879C114E}"/>
              </a:ext>
            </a:extLst>
          </p:cNvPr>
          <p:cNvSpPr txBox="1"/>
          <p:nvPr/>
        </p:nvSpPr>
        <p:spPr>
          <a:xfrm>
            <a:off x="636383" y="2702849"/>
            <a:ext cx="1941730" cy="26105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r>
              <a:rPr lang="en-US" sz="1100" b="1" dirty="0">
                <a:solidFill>
                  <a:srgbClr val="7F7F7F"/>
                </a:solidFill>
                <a:latin typeface="+mj-lt"/>
              </a:rPr>
              <a:t>Gather current documentation on work today and future roadmap</a:t>
            </a:r>
          </a:p>
          <a:p>
            <a:endParaRPr lang="en-US" sz="1100" dirty="0">
              <a:solidFill>
                <a:srgbClr val="7F7F7F"/>
              </a:solidFill>
              <a:latin typeface="+mj-lt"/>
            </a:endParaRPr>
          </a:p>
          <a:p>
            <a:r>
              <a:rPr lang="en-US" sz="1100" b="1" dirty="0">
                <a:solidFill>
                  <a:srgbClr val="7F7F7F"/>
                </a:solidFill>
                <a:latin typeface="+mj-lt"/>
              </a:rPr>
              <a:t>Refine future vision and design principles to guide product blueprint</a:t>
            </a:r>
          </a:p>
          <a:p>
            <a:endParaRPr lang="en-US" sz="1100" dirty="0">
              <a:solidFill>
                <a:srgbClr val="7F7F7F"/>
              </a:solidFill>
              <a:latin typeface="+mj-lt"/>
            </a:endParaRPr>
          </a:p>
          <a:p>
            <a:r>
              <a:rPr lang="en-US" sz="1100" b="1" dirty="0">
                <a:solidFill>
                  <a:srgbClr val="7F7F7F"/>
                </a:solidFill>
                <a:latin typeface="+mj-lt"/>
              </a:rPr>
              <a:t>Review portfolio at high-level to understand different aspects of the work and expected timeline</a:t>
            </a:r>
          </a:p>
        </p:txBody>
      </p:sp>
      <p:sp>
        <p:nvSpPr>
          <p:cNvPr id="24" name="NavigationTriangle">
            <a:extLst>
              <a:ext uri="{FF2B5EF4-FFF2-40B4-BE49-F238E27FC236}">
                <a16:creationId xmlns:a16="http://schemas.microsoft.com/office/drawing/2014/main" id="{665D0369-4E48-4C92-9264-8A89A8186EAE}"/>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NavigationIcon">
            <a:extLst>
              <a:ext uri="{FF2B5EF4-FFF2-40B4-BE49-F238E27FC236}">
                <a16:creationId xmlns:a16="http://schemas.microsoft.com/office/drawing/2014/main" id="{5C19371C-26DD-4D12-8C8C-F9D26FD8EC0E}"/>
              </a:ext>
            </a:extLst>
          </p:cNvPr>
          <p:cNvSpPr>
            <a:spLocks noChangeAspect="1" noChangeArrowheads="1"/>
          </p:cNvSpPr>
          <p:nvPr>
            <p:custDataLst>
              <p:tags r:id="rId8"/>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7</a:t>
            </a:r>
          </a:p>
        </p:txBody>
      </p:sp>
    </p:spTree>
    <p:extLst>
      <p:ext uri="{BB962C8B-B14F-4D97-AF65-F5344CB8AC3E}">
        <p14:creationId xmlns:p14="http://schemas.microsoft.com/office/powerpoint/2010/main" val="3109001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7043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07660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A661C6-7BFA-4C70-AC1E-530602C82F04}"/>
              </a:ext>
            </a:extLst>
          </p:cNvPr>
          <p:cNvGraphicFramePr>
            <a:graphicFrameLocks noChangeAspect="1"/>
          </p:cNvGraphicFramePr>
          <p:nvPr>
            <p:custDataLst>
              <p:tags r:id="rId2"/>
            </p:custDataLst>
            <p:extLst>
              <p:ext uri="{D42A27DB-BD31-4B8C-83A1-F6EECF244321}">
                <p14:modId xmlns:p14="http://schemas.microsoft.com/office/powerpoint/2010/main" val="3776924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2" name="think-cell Slide" r:id="rId6" imgW="381" imgH="381" progId="TCLayout.ActiveDocument.1">
                  <p:embed/>
                </p:oleObj>
              </mc:Choice>
              <mc:Fallback>
                <p:oleObj name="think-cell Slide" r:id="rId6" imgW="381" imgH="381" progId="TCLayout.ActiveDocument.1">
                  <p:embed/>
                  <p:pic>
                    <p:nvPicPr>
                      <p:cNvPr id="2" name="Object 1" hidden="1">
                        <a:extLst>
                          <a:ext uri="{FF2B5EF4-FFF2-40B4-BE49-F238E27FC236}">
                            <a16:creationId xmlns:a16="http://schemas.microsoft.com/office/drawing/2014/main" id="{ECA661C6-7BFA-4C70-AC1E-530602C82F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t>Key decisions made for scaling digital</a:t>
            </a:r>
          </a:p>
        </p:txBody>
      </p:sp>
      <p:sp>
        <p:nvSpPr>
          <p:cNvPr id="5" name="ee4pContent1">
            <a:extLst>
              <a:ext uri="{FF2B5EF4-FFF2-40B4-BE49-F238E27FC236}">
                <a16:creationId xmlns:a16="http://schemas.microsoft.com/office/drawing/2014/main" id="{6115CA07-6E6F-41F7-9311-BDCD0BD290A8}"/>
              </a:ext>
            </a:extLst>
          </p:cNvPr>
          <p:cNvSpPr txBox="1"/>
          <p:nvPr/>
        </p:nvSpPr>
        <p:spPr>
          <a:xfrm>
            <a:off x="644422" y="1387501"/>
            <a:ext cx="10933200" cy="5283922"/>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spcBef>
                <a:spcPts val="1800"/>
              </a:spcBef>
              <a:buClr>
                <a:srgbClr val="1F497D"/>
              </a:buClr>
              <a:buSzPct val="100000"/>
              <a:buFont typeface="Calibri" panose="020F0502020204030204" pitchFamily="34" charset="0"/>
              <a:buChar char="•"/>
            </a:pPr>
            <a:r>
              <a:rPr lang="en-US" sz="1400" b="1" dirty="0">
                <a:solidFill>
                  <a:srgbClr val="005778"/>
                </a:solidFill>
                <a:latin typeface="+mj-lt"/>
              </a:rPr>
              <a:t>Digital products must re-imagine operations and processes</a:t>
            </a:r>
            <a:r>
              <a:rPr lang="en-US" sz="1400" dirty="0">
                <a:solidFill>
                  <a:srgbClr val="005778"/>
                </a:solidFill>
                <a:latin typeface="+mj-lt"/>
              </a:rPr>
              <a:t>, </a:t>
            </a:r>
            <a:r>
              <a:rPr lang="en-US" sz="1400" b="1" dirty="0">
                <a:solidFill>
                  <a:srgbClr val="005778"/>
                </a:solidFill>
                <a:latin typeface="+mj-lt"/>
              </a:rPr>
              <a:t>use digital technologies </a:t>
            </a:r>
            <a:r>
              <a:rPr lang="en-US" sz="1400" dirty="0">
                <a:solidFill>
                  <a:srgbClr val="005778"/>
                </a:solidFill>
                <a:latin typeface="+mj-lt"/>
              </a:rPr>
              <a:t>to unlock new business value, and be </a:t>
            </a:r>
            <a:r>
              <a:rPr lang="en-US" sz="1400" b="1" dirty="0">
                <a:solidFill>
                  <a:srgbClr val="005778"/>
                </a:solidFill>
                <a:latin typeface="+mj-lt"/>
              </a:rPr>
              <a:t>built &amp; maintained using Agile ways of working</a:t>
            </a:r>
          </a:p>
          <a:p>
            <a:pPr lvl="1">
              <a:spcBef>
                <a:spcPts val="1800"/>
              </a:spcBef>
              <a:buClr>
                <a:srgbClr val="1F497D"/>
              </a:buClr>
              <a:buSzPct val="100000"/>
              <a:buFont typeface="Calibri" panose="020F0502020204030204" pitchFamily="34" charset="0"/>
              <a:buChar char="•"/>
            </a:pPr>
            <a:r>
              <a:rPr lang="en-US" sz="1400" dirty="0">
                <a:solidFill>
                  <a:srgbClr val="005778"/>
                </a:solidFill>
                <a:latin typeface="+mj-lt"/>
              </a:rPr>
              <a:t>Our </a:t>
            </a:r>
            <a:r>
              <a:rPr lang="en-US" sz="1400" b="1" dirty="0">
                <a:solidFill>
                  <a:srgbClr val="005778"/>
                </a:solidFill>
                <a:latin typeface="+mj-lt"/>
              </a:rPr>
              <a:t>end-state aspiration to be digital-first across all portfolios</a:t>
            </a:r>
            <a:r>
              <a:rPr lang="en-US" sz="1400" dirty="0">
                <a:solidFill>
                  <a:srgbClr val="005778"/>
                </a:solidFill>
                <a:latin typeface="+mj-lt"/>
              </a:rPr>
              <a:t>, with limited exceptions</a:t>
            </a:r>
          </a:p>
          <a:p>
            <a:pPr lvl="1">
              <a:spcBef>
                <a:spcPts val="1800"/>
              </a:spcBef>
              <a:buClr>
                <a:srgbClr val="1F497D"/>
              </a:buClr>
              <a:buSzPct val="100000"/>
              <a:buFont typeface="Calibri" panose="020F0502020204030204" pitchFamily="34" charset="0"/>
              <a:buChar char="•"/>
            </a:pPr>
            <a:r>
              <a:rPr lang="en-US" sz="1400" dirty="0">
                <a:solidFill>
                  <a:srgbClr val="005778"/>
                </a:solidFill>
                <a:latin typeface="+mj-lt"/>
              </a:rPr>
              <a:t>New programs should be assessed with </a:t>
            </a:r>
            <a:r>
              <a:rPr lang="en-US" sz="1400" b="1" dirty="0">
                <a:solidFill>
                  <a:srgbClr val="005778"/>
                </a:solidFill>
                <a:latin typeface="+mj-lt"/>
              </a:rPr>
              <a:t>hypothesis that they are launched in the digital product model</a:t>
            </a:r>
            <a:endParaRPr lang="en-US" sz="1400" dirty="0">
              <a:solidFill>
                <a:srgbClr val="005778"/>
              </a:solidFill>
              <a:latin typeface="+mj-lt"/>
            </a:endParaRPr>
          </a:p>
          <a:p>
            <a:pPr lvl="1">
              <a:spcBef>
                <a:spcPts val="1800"/>
              </a:spcBef>
              <a:buClr>
                <a:srgbClr val="1F497D"/>
              </a:buClr>
              <a:buSzPct val="100000"/>
              <a:buFont typeface="Calibri" panose="020F0502020204030204" pitchFamily="34" charset="0"/>
              <a:buChar char="•"/>
            </a:pPr>
            <a:r>
              <a:rPr lang="en-US" sz="1400" b="1" dirty="0">
                <a:solidFill>
                  <a:srgbClr val="005778"/>
                </a:solidFill>
                <a:latin typeface="+mj-lt"/>
              </a:rPr>
              <a:t>We will evaluate in-flight programs for transition </a:t>
            </a:r>
            <a:r>
              <a:rPr lang="en-US" sz="1400" dirty="0">
                <a:solidFill>
                  <a:srgbClr val="005778"/>
                </a:solidFill>
                <a:latin typeface="+mj-lt"/>
              </a:rPr>
              <a:t>in cases where business value delivery is critical</a:t>
            </a:r>
          </a:p>
          <a:p>
            <a:pPr lvl="1">
              <a:spcBef>
                <a:spcPts val="1800"/>
              </a:spcBef>
              <a:buClr>
                <a:srgbClr val="1F497D"/>
              </a:buClr>
              <a:buSzPct val="100000"/>
              <a:buFont typeface="Calibri" panose="020F0502020204030204" pitchFamily="34" charset="0"/>
              <a:buChar char="•"/>
            </a:pPr>
            <a:r>
              <a:rPr lang="en-US" sz="1400" b="1" dirty="0">
                <a:solidFill>
                  <a:srgbClr val="005778"/>
                </a:solidFill>
                <a:latin typeface="+mj-lt"/>
              </a:rPr>
              <a:t>We will deploy a Hub and Spoke model </a:t>
            </a:r>
            <a:r>
              <a:rPr lang="en-US" sz="1400" dirty="0">
                <a:solidFill>
                  <a:srgbClr val="005778"/>
                </a:solidFill>
                <a:latin typeface="+mj-lt"/>
              </a:rPr>
              <a:t>to scale digital given our current digital maturity</a:t>
            </a:r>
          </a:p>
          <a:p>
            <a:pPr lvl="1">
              <a:spcBef>
                <a:spcPts val="1800"/>
              </a:spcBef>
              <a:buClr>
                <a:srgbClr val="1F497D"/>
              </a:buClr>
              <a:buSzPct val="100000"/>
              <a:buFont typeface="Calibri" panose="020F0502020204030204" pitchFamily="34" charset="0"/>
              <a:buChar char="•"/>
            </a:pPr>
            <a:r>
              <a:rPr lang="en-US" sz="1400" b="1" dirty="0">
                <a:solidFill>
                  <a:srgbClr val="005778"/>
                </a:solidFill>
                <a:latin typeface="+mj-lt"/>
              </a:rPr>
              <a:t>Spokes: BU portfolio comprised of BU-aligned product teams </a:t>
            </a:r>
            <a:r>
              <a:rPr lang="en-US" sz="1400" dirty="0">
                <a:solidFill>
                  <a:srgbClr val="005778"/>
                </a:solidFill>
                <a:latin typeface="+mj-lt"/>
              </a:rPr>
              <a:t>that manage their businesses’ digital portfolio</a:t>
            </a:r>
          </a:p>
          <a:p>
            <a:pPr lvl="1">
              <a:spcBef>
                <a:spcPts val="1800"/>
              </a:spcBef>
              <a:buClr>
                <a:srgbClr val="1F497D"/>
              </a:buClr>
              <a:buSzPct val="100000"/>
              <a:buFont typeface="Calibri" panose="020F0502020204030204" pitchFamily="34" charset="0"/>
              <a:buChar char="•"/>
            </a:pPr>
            <a:r>
              <a:rPr lang="en-US" sz="1400" b="1" dirty="0">
                <a:solidFill>
                  <a:srgbClr val="005778"/>
                </a:solidFill>
                <a:latin typeface="+mj-lt"/>
              </a:rPr>
              <a:t>Hub: enables business product teams in the Spoke </a:t>
            </a:r>
            <a:r>
              <a:rPr lang="en-US" sz="1400" dirty="0">
                <a:solidFill>
                  <a:srgbClr val="005778"/>
                </a:solidFill>
                <a:latin typeface="+mj-lt"/>
              </a:rPr>
              <a:t>with on-demand digital shared services, standards, digital talent pool and platform teams to build modular, reusable components  </a:t>
            </a:r>
          </a:p>
          <a:p>
            <a:pPr lvl="1">
              <a:spcBef>
                <a:spcPts val="1800"/>
              </a:spcBef>
              <a:buClr>
                <a:srgbClr val="1F497D"/>
              </a:buClr>
              <a:buSzPct val="100000"/>
              <a:buFont typeface="Calibri" panose="020F0502020204030204" pitchFamily="34" charset="0"/>
              <a:buChar char="•"/>
            </a:pPr>
            <a:r>
              <a:rPr lang="en-US" sz="1400" b="1" dirty="0">
                <a:solidFill>
                  <a:srgbClr val="005778"/>
                </a:solidFill>
                <a:latin typeface="+mj-lt"/>
                <a:sym typeface="Trebuchet MS" panose="020B0603020202020204" pitchFamily="34" charset="0"/>
              </a:rPr>
              <a:t>Product management and user-centered design job families for digital products will report into the Hub</a:t>
            </a:r>
            <a:endParaRPr lang="en-US" sz="1400" dirty="0">
              <a:solidFill>
                <a:srgbClr val="005778"/>
              </a:solidFill>
              <a:latin typeface="+mj-lt"/>
            </a:endParaRPr>
          </a:p>
          <a:p>
            <a:pPr lvl="1">
              <a:spcBef>
                <a:spcPts val="1800"/>
              </a:spcBef>
              <a:buClr>
                <a:srgbClr val="1F497D"/>
              </a:buClr>
              <a:buSzPct val="100000"/>
              <a:buFont typeface="Calibri" panose="020F0502020204030204" pitchFamily="34" charset="0"/>
              <a:buChar char="•"/>
            </a:pPr>
            <a:r>
              <a:rPr lang="en-US" sz="1400" dirty="0">
                <a:solidFill>
                  <a:srgbClr val="005778"/>
                </a:solidFill>
                <a:latin typeface="+mj-lt"/>
              </a:rPr>
              <a:t>We defined a </a:t>
            </a:r>
            <a:r>
              <a:rPr lang="en-US" sz="1400" b="1" dirty="0">
                <a:solidFill>
                  <a:srgbClr val="005778"/>
                </a:solidFill>
                <a:latin typeface="+mj-lt"/>
              </a:rPr>
              <a:t>common framework &amp; taxonomy for roles on the digital product team </a:t>
            </a:r>
            <a:r>
              <a:rPr lang="en-US" sz="1400" dirty="0">
                <a:solidFill>
                  <a:srgbClr val="005778"/>
                </a:solidFill>
                <a:latin typeface="+mj-lt"/>
              </a:rPr>
              <a:t>and leadership at each level</a:t>
            </a:r>
            <a:endParaRPr lang="en-US" sz="1400" b="1" dirty="0">
              <a:solidFill>
                <a:srgbClr val="005778"/>
              </a:solidFill>
              <a:latin typeface="+mj-lt"/>
            </a:endParaRPr>
          </a:p>
          <a:p>
            <a:pPr lvl="1">
              <a:spcBef>
                <a:spcPts val="1800"/>
              </a:spcBef>
              <a:buClr>
                <a:srgbClr val="1F497D"/>
              </a:buClr>
              <a:buSzPct val="100000"/>
              <a:buFont typeface="Calibri" panose="020F0502020204030204" pitchFamily="34" charset="0"/>
              <a:buChar char="•"/>
            </a:pPr>
            <a:r>
              <a:rPr lang="en-US" sz="1400" dirty="0">
                <a:solidFill>
                  <a:srgbClr val="005778"/>
                </a:solidFill>
                <a:latin typeface="+mj-lt"/>
              </a:rPr>
              <a:t>We will </a:t>
            </a:r>
            <a:r>
              <a:rPr lang="en-US" sz="1400" b="1" dirty="0">
                <a:solidFill>
                  <a:srgbClr val="005778"/>
                </a:solidFill>
                <a:latin typeface="+mj-lt"/>
              </a:rPr>
              <a:t>organize our portfolios based on the nomenclature of products lines, products and squads</a:t>
            </a:r>
          </a:p>
          <a:p>
            <a:pPr lvl="1">
              <a:buClr>
                <a:srgbClr val="1F497D"/>
              </a:buClr>
              <a:buSzPct val="100000"/>
              <a:buFont typeface="Calibri" panose="020F0502020204030204" pitchFamily="34" charset="0"/>
              <a:buChar char="•"/>
            </a:pPr>
            <a:endParaRPr lang="en-US" sz="1600" dirty="0">
              <a:solidFill>
                <a:srgbClr val="005778"/>
              </a:solidFill>
              <a:latin typeface="+mj-lt"/>
            </a:endParaRPr>
          </a:p>
        </p:txBody>
      </p:sp>
      <p:sp>
        <p:nvSpPr>
          <p:cNvPr id="62" name="Oval 20">
            <a:extLst>
              <a:ext uri="{FF2B5EF4-FFF2-40B4-BE49-F238E27FC236}">
                <a16:creationId xmlns:a16="http://schemas.microsoft.com/office/drawing/2014/main" id="{4E34723A-57D9-42D1-831F-1F01BB58A164}"/>
              </a:ext>
            </a:extLst>
          </p:cNvPr>
          <p:cNvSpPr>
            <a:spLocks noChangeAspect="1" noChangeArrowheads="1"/>
          </p:cNvSpPr>
          <p:nvPr/>
        </p:nvSpPr>
        <p:spPr bwMode="auto">
          <a:xfrm>
            <a:off x="597261" y="1341719"/>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1</a:t>
            </a:r>
          </a:p>
        </p:txBody>
      </p:sp>
      <p:sp>
        <p:nvSpPr>
          <p:cNvPr id="63" name="Oval 20">
            <a:extLst>
              <a:ext uri="{FF2B5EF4-FFF2-40B4-BE49-F238E27FC236}">
                <a16:creationId xmlns:a16="http://schemas.microsoft.com/office/drawing/2014/main" id="{1CC311C6-916A-4833-B649-92226E422EEE}"/>
              </a:ext>
            </a:extLst>
          </p:cNvPr>
          <p:cNvSpPr>
            <a:spLocks noChangeAspect="1" noChangeArrowheads="1"/>
          </p:cNvSpPr>
          <p:nvPr/>
        </p:nvSpPr>
        <p:spPr bwMode="auto">
          <a:xfrm>
            <a:off x="597261" y="1993435"/>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2</a:t>
            </a:r>
          </a:p>
        </p:txBody>
      </p:sp>
      <p:sp>
        <p:nvSpPr>
          <p:cNvPr id="64" name="Oval 20">
            <a:extLst>
              <a:ext uri="{FF2B5EF4-FFF2-40B4-BE49-F238E27FC236}">
                <a16:creationId xmlns:a16="http://schemas.microsoft.com/office/drawing/2014/main" id="{C6182D35-4F04-450A-AB61-AEF5B80AA023}"/>
              </a:ext>
            </a:extLst>
          </p:cNvPr>
          <p:cNvSpPr>
            <a:spLocks noChangeAspect="1" noChangeArrowheads="1"/>
          </p:cNvSpPr>
          <p:nvPr/>
        </p:nvSpPr>
        <p:spPr bwMode="auto">
          <a:xfrm>
            <a:off x="597261" y="2429487"/>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3</a:t>
            </a:r>
          </a:p>
        </p:txBody>
      </p:sp>
      <p:sp>
        <p:nvSpPr>
          <p:cNvPr id="65" name="Oval 20">
            <a:extLst>
              <a:ext uri="{FF2B5EF4-FFF2-40B4-BE49-F238E27FC236}">
                <a16:creationId xmlns:a16="http://schemas.microsoft.com/office/drawing/2014/main" id="{154B9FA6-A69D-4227-A843-8747B0904526}"/>
              </a:ext>
            </a:extLst>
          </p:cNvPr>
          <p:cNvSpPr>
            <a:spLocks noChangeAspect="1" noChangeArrowheads="1"/>
          </p:cNvSpPr>
          <p:nvPr/>
        </p:nvSpPr>
        <p:spPr bwMode="auto">
          <a:xfrm>
            <a:off x="597261" y="2881979"/>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4</a:t>
            </a:r>
          </a:p>
        </p:txBody>
      </p:sp>
      <p:sp>
        <p:nvSpPr>
          <p:cNvPr id="66" name="Oval 20">
            <a:extLst>
              <a:ext uri="{FF2B5EF4-FFF2-40B4-BE49-F238E27FC236}">
                <a16:creationId xmlns:a16="http://schemas.microsoft.com/office/drawing/2014/main" id="{2959CC29-1C1D-4DF9-9056-096BD64E093C}"/>
              </a:ext>
            </a:extLst>
          </p:cNvPr>
          <p:cNvSpPr>
            <a:spLocks noChangeAspect="1" noChangeArrowheads="1"/>
          </p:cNvSpPr>
          <p:nvPr/>
        </p:nvSpPr>
        <p:spPr bwMode="auto">
          <a:xfrm>
            <a:off x="597261" y="3317356"/>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5</a:t>
            </a:r>
          </a:p>
        </p:txBody>
      </p:sp>
      <p:sp>
        <p:nvSpPr>
          <p:cNvPr id="67" name="Oval 20">
            <a:extLst>
              <a:ext uri="{FF2B5EF4-FFF2-40B4-BE49-F238E27FC236}">
                <a16:creationId xmlns:a16="http://schemas.microsoft.com/office/drawing/2014/main" id="{45CE6FBC-678D-475A-9AD9-407EB242B819}"/>
              </a:ext>
            </a:extLst>
          </p:cNvPr>
          <p:cNvSpPr>
            <a:spLocks noChangeAspect="1" noChangeArrowheads="1"/>
          </p:cNvSpPr>
          <p:nvPr/>
        </p:nvSpPr>
        <p:spPr bwMode="auto">
          <a:xfrm>
            <a:off x="597261" y="3765568"/>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6</a:t>
            </a:r>
          </a:p>
        </p:txBody>
      </p:sp>
      <p:sp>
        <p:nvSpPr>
          <p:cNvPr id="68" name="Oval 20">
            <a:extLst>
              <a:ext uri="{FF2B5EF4-FFF2-40B4-BE49-F238E27FC236}">
                <a16:creationId xmlns:a16="http://schemas.microsoft.com/office/drawing/2014/main" id="{D520A69B-2DAE-461A-90F3-5E67590A4C37}"/>
              </a:ext>
            </a:extLst>
          </p:cNvPr>
          <p:cNvSpPr>
            <a:spLocks noChangeAspect="1" noChangeArrowheads="1"/>
          </p:cNvSpPr>
          <p:nvPr/>
        </p:nvSpPr>
        <p:spPr bwMode="auto">
          <a:xfrm>
            <a:off x="597261" y="4216850"/>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7</a:t>
            </a:r>
          </a:p>
        </p:txBody>
      </p:sp>
      <p:sp>
        <p:nvSpPr>
          <p:cNvPr id="69" name="Oval 20">
            <a:extLst>
              <a:ext uri="{FF2B5EF4-FFF2-40B4-BE49-F238E27FC236}">
                <a16:creationId xmlns:a16="http://schemas.microsoft.com/office/drawing/2014/main" id="{DDA5669D-FC3F-4544-8758-14802D270D00}"/>
              </a:ext>
            </a:extLst>
          </p:cNvPr>
          <p:cNvSpPr>
            <a:spLocks noChangeAspect="1" noChangeArrowheads="1"/>
          </p:cNvSpPr>
          <p:nvPr/>
        </p:nvSpPr>
        <p:spPr bwMode="auto">
          <a:xfrm>
            <a:off x="597261" y="4867898"/>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8</a:t>
            </a:r>
          </a:p>
        </p:txBody>
      </p:sp>
      <p:sp>
        <p:nvSpPr>
          <p:cNvPr id="19" name="Oval 20">
            <a:extLst>
              <a:ext uri="{FF2B5EF4-FFF2-40B4-BE49-F238E27FC236}">
                <a16:creationId xmlns:a16="http://schemas.microsoft.com/office/drawing/2014/main" id="{E742EB5E-DEC2-4EA6-AC4A-1A019DE51A05}"/>
              </a:ext>
            </a:extLst>
          </p:cNvPr>
          <p:cNvSpPr>
            <a:spLocks noChangeAspect="1" noChangeArrowheads="1"/>
          </p:cNvSpPr>
          <p:nvPr/>
        </p:nvSpPr>
        <p:spPr bwMode="auto">
          <a:xfrm>
            <a:off x="597261" y="5307259"/>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9</a:t>
            </a:r>
          </a:p>
        </p:txBody>
      </p:sp>
      <p:sp>
        <p:nvSpPr>
          <p:cNvPr id="22" name="Oval 20">
            <a:extLst>
              <a:ext uri="{FF2B5EF4-FFF2-40B4-BE49-F238E27FC236}">
                <a16:creationId xmlns:a16="http://schemas.microsoft.com/office/drawing/2014/main" id="{09445AFC-61F1-4E03-AA2B-31A7F595779D}"/>
              </a:ext>
            </a:extLst>
          </p:cNvPr>
          <p:cNvSpPr>
            <a:spLocks noChangeAspect="1" noChangeArrowheads="1"/>
          </p:cNvSpPr>
          <p:nvPr/>
        </p:nvSpPr>
        <p:spPr bwMode="auto">
          <a:xfrm>
            <a:off x="597261" y="5754628"/>
            <a:ext cx="306910" cy="306910"/>
          </a:xfrm>
          <a:prstGeom prst="ellipse">
            <a:avLst/>
          </a:prstGeom>
          <a:solidFill>
            <a:srgbClr val="78A22F">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Arial" panose="020B0604020202020204" pitchFamily="34" charset="0"/>
              </a:rPr>
              <a:t>10</a:t>
            </a:r>
          </a:p>
        </p:txBody>
      </p:sp>
      <p:sp>
        <p:nvSpPr>
          <p:cNvPr id="4" name="NavigationTriangle">
            <a:extLst>
              <a:ext uri="{FF2B5EF4-FFF2-40B4-BE49-F238E27FC236}">
                <a16:creationId xmlns:a16="http://schemas.microsoft.com/office/drawing/2014/main" id="{2990DCF1-E2ED-49AA-B0F4-AC7B7177894E}"/>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NavigationIcon">
            <a:extLst>
              <a:ext uri="{FF2B5EF4-FFF2-40B4-BE49-F238E27FC236}">
                <a16:creationId xmlns:a16="http://schemas.microsoft.com/office/drawing/2014/main" id="{A118CCEE-8D06-471B-9FDF-7E71B842157D}"/>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1</a:t>
            </a:r>
          </a:p>
        </p:txBody>
      </p:sp>
    </p:spTree>
    <p:extLst>
      <p:ext uri="{BB962C8B-B14F-4D97-AF65-F5344CB8AC3E}">
        <p14:creationId xmlns:p14="http://schemas.microsoft.com/office/powerpoint/2010/main" val="1035105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788C1D-162A-4CF6-BA5E-AF898B3F15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6" name="think-cell Slide" r:id="rId5" imgW="381" imgH="381" progId="TCLayout.ActiveDocument.1">
                  <p:embed/>
                </p:oleObj>
              </mc:Choice>
              <mc:Fallback>
                <p:oleObj name="think-cell Slide" r:id="rId5" imgW="381" imgH="381" progId="TCLayout.ActiveDocument.1">
                  <p:embed/>
                  <p:pic>
                    <p:nvPicPr>
                      <p:cNvPr id="4" name="Object 3" hidden="1">
                        <a:extLst>
                          <a:ext uri="{FF2B5EF4-FFF2-40B4-BE49-F238E27FC236}">
                            <a16:creationId xmlns:a16="http://schemas.microsoft.com/office/drawing/2014/main" id="{68788C1D-162A-4CF6-BA5E-AF898B3F15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2"/>
          <p:cNvSpPr>
            <a:spLocks noGrp="1"/>
          </p:cNvSpPr>
          <p:nvPr>
            <p:ph type="title"/>
          </p:nvPr>
        </p:nvSpPr>
        <p:spPr>
          <a:xfrm>
            <a:off x="430373" y="356765"/>
            <a:ext cx="7392827" cy="387798"/>
          </a:xfrm>
        </p:spPr>
        <p:txBody>
          <a:bodyPr vert="horz">
            <a:spAutoFit/>
          </a:bodyPr>
          <a:lstStyle/>
          <a:p>
            <a:r>
              <a:rPr lang="en-US" dirty="0"/>
              <a:t>What are product teams?</a:t>
            </a:r>
          </a:p>
        </p:txBody>
      </p:sp>
      <p:sp>
        <p:nvSpPr>
          <p:cNvPr id="49" name="Text Placeholder 1">
            <a:extLst>
              <a:ext uri="{FF2B5EF4-FFF2-40B4-BE49-F238E27FC236}">
                <a16:creationId xmlns:a16="http://schemas.microsoft.com/office/drawing/2014/main" id="{8A4DC341-81D8-7A40-AE46-70251C00AFC4}"/>
              </a:ext>
            </a:extLst>
          </p:cNvPr>
          <p:cNvSpPr txBox="1">
            <a:spLocks/>
          </p:cNvSpPr>
          <p:nvPr/>
        </p:nvSpPr>
        <p:spPr>
          <a:xfrm>
            <a:off x="420140" y="1660602"/>
            <a:ext cx="11078453" cy="4638680"/>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endParaRPr lang="en-US" sz="1800" i="1" kern="0">
              <a:solidFill>
                <a:srgbClr val="00148C"/>
              </a:solidFill>
            </a:endParaRPr>
          </a:p>
        </p:txBody>
      </p:sp>
      <p:sp>
        <p:nvSpPr>
          <p:cNvPr id="2" name="TextBox 1">
            <a:extLst>
              <a:ext uri="{FF2B5EF4-FFF2-40B4-BE49-F238E27FC236}">
                <a16:creationId xmlns:a16="http://schemas.microsoft.com/office/drawing/2014/main" id="{B9CAA5B3-E268-694E-BAA1-92653DEE283F}"/>
              </a:ext>
            </a:extLst>
          </p:cNvPr>
          <p:cNvSpPr txBox="1"/>
          <p:nvPr/>
        </p:nvSpPr>
        <p:spPr bwMode="auto">
          <a:xfrm>
            <a:off x="1234034" y="1626017"/>
            <a:ext cx="10847149" cy="492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kern="0">
                <a:solidFill>
                  <a:schemeClr val="tx1">
                    <a:lumMod val="50000"/>
                  </a:schemeClr>
                </a:solidFill>
              </a:rPr>
              <a:t>Digital product teams are </a:t>
            </a:r>
            <a:r>
              <a:rPr lang="en-US" b="1" kern="0">
                <a:solidFill>
                  <a:schemeClr val="tx1">
                    <a:lumMod val="50000"/>
                  </a:schemeClr>
                </a:solidFill>
              </a:rPr>
              <a:t>cross-functional</a:t>
            </a:r>
            <a:r>
              <a:rPr lang="en-US" kern="0">
                <a:solidFill>
                  <a:schemeClr val="tx1">
                    <a:lumMod val="50000"/>
                  </a:schemeClr>
                </a:solidFill>
              </a:rPr>
              <a:t> (product, design, engineering, business)</a:t>
            </a:r>
          </a:p>
          <a:p>
            <a:pPr algn="l">
              <a:spcAft>
                <a:spcPts val="600"/>
              </a:spcAft>
              <a:buClr>
                <a:schemeClr val="tx1"/>
              </a:buClr>
            </a:pPr>
            <a:endParaRPr lang="en-US" kern="0">
              <a:solidFill>
                <a:schemeClr val="tx1">
                  <a:lumMod val="50000"/>
                </a:schemeClr>
              </a:solidFill>
            </a:endParaRPr>
          </a:p>
          <a:p>
            <a:pPr algn="l">
              <a:spcAft>
                <a:spcPts val="600"/>
              </a:spcAft>
              <a:buClr>
                <a:schemeClr val="tx1"/>
              </a:buClr>
            </a:pPr>
            <a:r>
              <a:rPr lang="en-US" kern="0">
                <a:solidFill>
                  <a:schemeClr val="tx1">
                    <a:lumMod val="50000"/>
                  </a:schemeClr>
                </a:solidFill>
              </a:rPr>
              <a:t>They focus on and are </a:t>
            </a:r>
            <a:r>
              <a:rPr lang="en-US" b="1" kern="0">
                <a:solidFill>
                  <a:schemeClr val="tx1">
                    <a:lumMod val="50000"/>
                  </a:schemeClr>
                </a:solidFill>
              </a:rPr>
              <a:t>measured by outcomes </a:t>
            </a:r>
            <a:r>
              <a:rPr lang="en-US" kern="0">
                <a:solidFill>
                  <a:schemeClr val="tx1">
                    <a:lumMod val="50000"/>
                  </a:schemeClr>
                </a:solidFill>
              </a:rPr>
              <a:t>(rather than output)</a:t>
            </a:r>
          </a:p>
          <a:p>
            <a:pPr algn="l">
              <a:spcAft>
                <a:spcPts val="600"/>
              </a:spcAft>
              <a:buClr>
                <a:schemeClr val="tx1"/>
              </a:buClr>
            </a:pPr>
            <a:endParaRPr lang="en-US" kern="0">
              <a:solidFill>
                <a:schemeClr val="tx1">
                  <a:lumMod val="50000"/>
                </a:schemeClr>
              </a:solidFill>
            </a:endParaRPr>
          </a:p>
          <a:p>
            <a:pPr algn="l">
              <a:spcAft>
                <a:spcPts val="600"/>
              </a:spcAft>
              <a:buClr>
                <a:schemeClr val="tx1"/>
              </a:buClr>
            </a:pPr>
            <a:r>
              <a:rPr lang="en-US" kern="0">
                <a:solidFill>
                  <a:schemeClr val="tx1">
                    <a:lumMod val="50000"/>
                  </a:schemeClr>
                </a:solidFill>
              </a:rPr>
              <a:t>They are </a:t>
            </a:r>
            <a:r>
              <a:rPr lang="en-US" b="1" kern="0">
                <a:solidFill>
                  <a:schemeClr val="tx1">
                    <a:lumMod val="50000"/>
                  </a:schemeClr>
                </a:solidFill>
              </a:rPr>
              <a:t>empowered to figure out the best way to solve the problems </a:t>
            </a:r>
            <a:r>
              <a:rPr lang="en-US" kern="0">
                <a:solidFill>
                  <a:schemeClr val="tx1">
                    <a:lumMod val="50000"/>
                  </a:schemeClr>
                </a:solidFill>
              </a:rPr>
              <a:t>they’ve been asked to solve.</a:t>
            </a:r>
          </a:p>
          <a:p>
            <a:pPr>
              <a:spcAft>
                <a:spcPts val="600"/>
              </a:spcAft>
              <a:buClr>
                <a:schemeClr val="tx1"/>
              </a:buClr>
            </a:pPr>
            <a:endParaRPr lang="en-US" sz="1800" b="0" kern="0">
              <a:solidFill>
                <a:schemeClr val="tx1">
                  <a:lumMod val="50000"/>
                </a:schemeClr>
              </a:solidFill>
              <a:latin typeface="+mn-lt"/>
              <a:ea typeface="+mn-ea"/>
            </a:endParaRPr>
          </a:p>
          <a:p>
            <a:pPr>
              <a:spcAft>
                <a:spcPts val="600"/>
              </a:spcAft>
              <a:buClr>
                <a:schemeClr val="tx1"/>
              </a:buClr>
            </a:pPr>
            <a:r>
              <a:rPr lang="en-US" sz="1800" b="0" kern="0">
                <a:solidFill>
                  <a:schemeClr val="tx1">
                    <a:lumMod val="50000"/>
                  </a:schemeClr>
                </a:solidFill>
                <a:latin typeface="+mn-lt"/>
                <a:ea typeface="+mn-ea"/>
              </a:rPr>
              <a:t>The purpose of a product team is to </a:t>
            </a:r>
            <a:r>
              <a:rPr lang="en-US" sz="1800" b="1" kern="0">
                <a:solidFill>
                  <a:schemeClr val="tx1">
                    <a:lumMod val="50000"/>
                  </a:schemeClr>
                </a:solidFill>
                <a:latin typeface="+mn-lt"/>
                <a:ea typeface="+mn-ea"/>
              </a:rPr>
              <a:t>solve the problems in ways users love, yet work for our business</a:t>
            </a:r>
          </a:p>
          <a:p>
            <a:pPr>
              <a:spcAft>
                <a:spcPts val="600"/>
              </a:spcAft>
              <a:buClr>
                <a:schemeClr val="tx1"/>
              </a:buClr>
            </a:pPr>
            <a:endParaRPr lang="en-US" kern="0">
              <a:solidFill>
                <a:schemeClr val="tx1">
                  <a:lumMod val="50000"/>
                </a:schemeClr>
              </a:solidFill>
            </a:endParaRPr>
          </a:p>
          <a:p>
            <a:pPr>
              <a:spcAft>
                <a:spcPts val="600"/>
              </a:spcAft>
              <a:buClr>
                <a:schemeClr val="tx1"/>
              </a:buClr>
            </a:pPr>
            <a:r>
              <a:rPr lang="en-US" kern="0">
                <a:solidFill>
                  <a:schemeClr val="tx1">
                    <a:lumMod val="50000"/>
                  </a:schemeClr>
                </a:solidFill>
              </a:rPr>
              <a:t>They </a:t>
            </a:r>
            <a:r>
              <a:rPr lang="en-US" b="1" kern="0">
                <a:solidFill>
                  <a:schemeClr val="tx1">
                    <a:lumMod val="50000"/>
                  </a:schemeClr>
                </a:solidFill>
              </a:rPr>
              <a:t>validate their products by paying down risk</a:t>
            </a:r>
            <a:r>
              <a:rPr lang="en-US" kern="0">
                <a:solidFill>
                  <a:schemeClr val="tx1">
                    <a:lumMod val="50000"/>
                  </a:schemeClr>
                </a:solidFill>
              </a:rPr>
              <a:t> across four dimensions:</a:t>
            </a:r>
          </a:p>
          <a:p>
            <a:pPr marL="285750" indent="-285750" fontAlgn="base">
              <a:buFont typeface="Arial" panose="020B0604020202020204" pitchFamily="34" charset="0"/>
              <a:buChar char="•"/>
            </a:pPr>
            <a:r>
              <a:rPr lang="en-US" i="1">
                <a:solidFill>
                  <a:schemeClr val="accent1"/>
                </a:solidFill>
              </a:rPr>
              <a:t>Value</a:t>
            </a:r>
            <a:r>
              <a:rPr lang="en-US">
                <a:solidFill>
                  <a:schemeClr val="accent1"/>
                </a:solidFill>
              </a:rPr>
              <a:t> risk </a:t>
            </a:r>
            <a:r>
              <a:rPr lang="en-US">
                <a:solidFill>
                  <a:schemeClr val="tx1">
                    <a:lumMod val="50000"/>
                  </a:schemeClr>
                </a:solidFill>
              </a:rPr>
              <a:t>(will it deliver holistic business and user value?)</a:t>
            </a:r>
          </a:p>
          <a:p>
            <a:pPr marL="285750" indent="-285750" fontAlgn="base">
              <a:buFont typeface="Arial" panose="020B0604020202020204" pitchFamily="34" charset="0"/>
              <a:buChar char="•"/>
            </a:pPr>
            <a:r>
              <a:rPr lang="en-US" i="1">
                <a:solidFill>
                  <a:schemeClr val="accent1"/>
                </a:solidFill>
              </a:rPr>
              <a:t>Usability</a:t>
            </a:r>
            <a:r>
              <a:rPr lang="en-US">
                <a:solidFill>
                  <a:schemeClr val="accent1"/>
                </a:solidFill>
              </a:rPr>
              <a:t> risk </a:t>
            </a:r>
            <a:r>
              <a:rPr lang="en-US">
                <a:solidFill>
                  <a:schemeClr val="tx1">
                    <a:lumMod val="50000"/>
                  </a:schemeClr>
                </a:solidFill>
              </a:rPr>
              <a:t>(will customers or internal users adopt it?)</a:t>
            </a:r>
          </a:p>
          <a:p>
            <a:pPr marL="285750" indent="-285750" fontAlgn="base">
              <a:buFont typeface="Arial" panose="020B0604020202020204" pitchFamily="34" charset="0"/>
              <a:buChar char="•"/>
            </a:pPr>
            <a:r>
              <a:rPr lang="en-US" i="1">
                <a:solidFill>
                  <a:schemeClr val="accent1"/>
                </a:solidFill>
              </a:rPr>
              <a:t>Feasibility</a:t>
            </a:r>
            <a:r>
              <a:rPr lang="en-US">
                <a:solidFill>
                  <a:schemeClr val="accent1"/>
                </a:solidFill>
              </a:rPr>
              <a:t> risk </a:t>
            </a:r>
            <a:r>
              <a:rPr lang="en-US">
                <a:solidFill>
                  <a:schemeClr val="tx1">
                    <a:lumMod val="50000"/>
                  </a:schemeClr>
                </a:solidFill>
              </a:rPr>
              <a:t>(can we build it with the time, skills, and technology we have?)</a:t>
            </a:r>
          </a:p>
          <a:p>
            <a:pPr marL="285750" indent="-285750" fontAlgn="base">
              <a:buFont typeface="Arial" panose="020B0604020202020204" pitchFamily="34" charset="0"/>
              <a:buChar char="•"/>
            </a:pPr>
            <a:r>
              <a:rPr lang="en-US" i="1">
                <a:solidFill>
                  <a:schemeClr val="accent1"/>
                </a:solidFill>
              </a:rPr>
              <a:t>Business Viability</a:t>
            </a:r>
            <a:r>
              <a:rPr lang="en-US">
                <a:solidFill>
                  <a:schemeClr val="accent1"/>
                </a:solidFill>
              </a:rPr>
              <a:t> risk </a:t>
            </a:r>
            <a:r>
              <a:rPr lang="en-US">
                <a:solidFill>
                  <a:schemeClr val="tx1">
                    <a:lumMod val="50000"/>
                  </a:schemeClr>
                </a:solidFill>
              </a:rPr>
              <a:t>(will this solution work for the various dimensions of our business?)</a:t>
            </a:r>
          </a:p>
          <a:p>
            <a:pPr>
              <a:spcAft>
                <a:spcPts val="600"/>
              </a:spcAft>
              <a:buClr>
                <a:schemeClr val="tx1"/>
              </a:buClr>
            </a:pPr>
            <a:endParaRPr lang="en-US" sz="1800" b="0" kern="0">
              <a:solidFill>
                <a:schemeClr val="tx1">
                  <a:lumMod val="50000"/>
                </a:schemeClr>
              </a:solidFill>
              <a:latin typeface="+mn-lt"/>
              <a:ea typeface="+mn-ea"/>
            </a:endParaRPr>
          </a:p>
          <a:p>
            <a:pPr>
              <a:spcAft>
                <a:spcPts val="600"/>
              </a:spcAft>
              <a:buClr>
                <a:schemeClr val="tx1"/>
              </a:buClr>
            </a:pPr>
            <a:endParaRPr lang="en-US" sz="1800" b="0" kern="0">
              <a:solidFill>
                <a:schemeClr val="tx1">
                  <a:lumMod val="50000"/>
                </a:schemeClr>
              </a:solidFill>
              <a:latin typeface="+mn-lt"/>
              <a:ea typeface="+mn-ea"/>
            </a:endParaRPr>
          </a:p>
        </p:txBody>
      </p:sp>
      <p:sp>
        <p:nvSpPr>
          <p:cNvPr id="50" name="TextBox 49">
            <a:extLst>
              <a:ext uri="{FF2B5EF4-FFF2-40B4-BE49-F238E27FC236}">
                <a16:creationId xmlns:a16="http://schemas.microsoft.com/office/drawing/2014/main" id="{A633D107-54B0-2D49-BD88-7204E86CFE8A}"/>
              </a:ext>
            </a:extLst>
          </p:cNvPr>
          <p:cNvSpPr txBox="1"/>
          <p:nvPr/>
        </p:nvSpPr>
        <p:spPr bwMode="auto">
          <a:xfrm>
            <a:off x="446566" y="6614625"/>
            <a:ext cx="469299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100" b="0" i="0" u="none" strike="noStrike" kern="0" cap="none" spc="0" normalizeH="0" baseline="0" noProof="0">
                <a:ln>
                  <a:noFill/>
                </a:ln>
                <a:solidFill>
                  <a:srgbClr val="00148C"/>
                </a:solidFill>
                <a:effectLst/>
                <a:uLnTx/>
                <a:uFillTx/>
                <a:latin typeface="Arial"/>
                <a:ea typeface="ＭＳ Ｐゴシック"/>
                <a:cs typeface="+mn-cs"/>
              </a:rPr>
              <a:t>Source: Silicon Valley Product Group, ‘Product teams vs. feature teams’</a:t>
            </a:r>
            <a:endParaRPr kumimoji="0" lang="en-US" sz="1100" b="0" u="none" strike="noStrike" kern="0" cap="none" spc="0" normalizeH="0" baseline="0" noProof="0">
              <a:ln>
                <a:noFill/>
              </a:ln>
              <a:solidFill>
                <a:srgbClr val="00148C"/>
              </a:solidFill>
              <a:effectLst/>
              <a:uLnTx/>
              <a:uFillTx/>
              <a:latin typeface="Arial"/>
              <a:ea typeface="ＭＳ Ｐゴシック"/>
              <a:cs typeface="+mn-cs"/>
            </a:endParaRPr>
          </a:p>
        </p:txBody>
      </p:sp>
      <p:grpSp>
        <p:nvGrpSpPr>
          <p:cNvPr id="9" name="Group 8">
            <a:extLst>
              <a:ext uri="{FF2B5EF4-FFF2-40B4-BE49-F238E27FC236}">
                <a16:creationId xmlns:a16="http://schemas.microsoft.com/office/drawing/2014/main" id="{22838613-09EF-E74F-AB60-362D0DDF7BF4}"/>
              </a:ext>
            </a:extLst>
          </p:cNvPr>
          <p:cNvGrpSpPr>
            <a:grpSpLocks noChangeAspect="1"/>
          </p:cNvGrpSpPr>
          <p:nvPr/>
        </p:nvGrpSpPr>
        <p:grpSpPr>
          <a:xfrm>
            <a:off x="321545" y="1418717"/>
            <a:ext cx="659797" cy="659797"/>
            <a:chOff x="5273803" y="2606803"/>
            <a:chExt cx="1645920" cy="1645920"/>
          </a:xfrm>
        </p:grpSpPr>
        <p:sp>
          <p:nvSpPr>
            <p:cNvPr id="10" name="AutoShape 23">
              <a:extLst>
                <a:ext uri="{FF2B5EF4-FFF2-40B4-BE49-F238E27FC236}">
                  <a16:creationId xmlns:a16="http://schemas.microsoft.com/office/drawing/2014/main" id="{3F3994FD-792F-AF44-8C7C-D309D7A5306A}"/>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a:extLst>
                <a:ext uri="{FF2B5EF4-FFF2-40B4-BE49-F238E27FC236}">
                  <a16:creationId xmlns:a16="http://schemas.microsoft.com/office/drawing/2014/main" id="{12C29949-A2ED-5541-BFFF-C32A7F3AE276}"/>
                </a:ext>
              </a:extLst>
            </p:cNvPr>
            <p:cNvGrpSpPr/>
            <p:nvPr/>
          </p:nvGrpSpPr>
          <p:grpSpPr>
            <a:xfrm>
              <a:off x="5484691" y="2758822"/>
              <a:ext cx="1224143" cy="1341882"/>
              <a:chOff x="5355525" y="2801969"/>
              <a:chExt cx="1522662" cy="1670659"/>
            </a:xfrm>
          </p:grpSpPr>
          <p:sp>
            <p:nvSpPr>
              <p:cNvPr id="12" name="Freeform 25">
                <a:extLst>
                  <a:ext uri="{FF2B5EF4-FFF2-40B4-BE49-F238E27FC236}">
                    <a16:creationId xmlns:a16="http://schemas.microsoft.com/office/drawing/2014/main" id="{791EFC74-D122-D54B-8E12-23F1C60C70DD}"/>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6">
                <a:extLst>
                  <a:ext uri="{FF2B5EF4-FFF2-40B4-BE49-F238E27FC236}">
                    <a16:creationId xmlns:a16="http://schemas.microsoft.com/office/drawing/2014/main" id="{47E961C3-87FB-D64C-A067-4A3400397E59}"/>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 name="Group 13">
            <a:extLst>
              <a:ext uri="{FF2B5EF4-FFF2-40B4-BE49-F238E27FC236}">
                <a16:creationId xmlns:a16="http://schemas.microsoft.com/office/drawing/2014/main" id="{219C411D-266D-984A-BB93-8A299B0B8526}"/>
              </a:ext>
            </a:extLst>
          </p:cNvPr>
          <p:cNvGrpSpPr>
            <a:grpSpLocks noChangeAspect="1"/>
          </p:cNvGrpSpPr>
          <p:nvPr/>
        </p:nvGrpSpPr>
        <p:grpSpPr>
          <a:xfrm>
            <a:off x="297041" y="2087814"/>
            <a:ext cx="659798" cy="659798"/>
            <a:chOff x="5273675" y="2606675"/>
            <a:chExt cx="1644650" cy="1644650"/>
          </a:xfrm>
        </p:grpSpPr>
        <p:sp>
          <p:nvSpPr>
            <p:cNvPr id="15" name="AutoShape 3">
              <a:extLst>
                <a:ext uri="{FF2B5EF4-FFF2-40B4-BE49-F238E27FC236}">
                  <a16:creationId xmlns:a16="http://schemas.microsoft.com/office/drawing/2014/main" id="{E6916737-3C6B-AB47-829B-0A9852E6349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B60A0B5D-F09A-DA4C-A8D4-1CB1D0ED89A7}"/>
                </a:ext>
              </a:extLst>
            </p:cNvPr>
            <p:cNvGrpSpPr/>
            <p:nvPr/>
          </p:nvGrpSpPr>
          <p:grpSpPr>
            <a:xfrm>
              <a:off x="5443086" y="2924175"/>
              <a:ext cx="1305829" cy="1009650"/>
              <a:chOff x="5445551" y="2967038"/>
              <a:chExt cx="1305829" cy="1009650"/>
            </a:xfrm>
          </p:grpSpPr>
          <p:sp>
            <p:nvSpPr>
              <p:cNvPr id="17" name="Freeform 16">
                <a:extLst>
                  <a:ext uri="{FF2B5EF4-FFF2-40B4-BE49-F238E27FC236}">
                    <a16:creationId xmlns:a16="http://schemas.microsoft.com/office/drawing/2014/main" id="{5A3D3DD2-AF2D-844B-A097-D07D46DACD23}"/>
                  </a:ext>
                </a:extLst>
              </p:cNvPr>
              <p:cNvSpPr>
                <a:spLocks/>
              </p:cNvSpPr>
              <p:nvPr/>
            </p:nvSpPr>
            <p:spPr bwMode="auto">
              <a:xfrm>
                <a:off x="5445551" y="2967038"/>
                <a:ext cx="1305829" cy="1009650"/>
              </a:xfrm>
              <a:custGeom>
                <a:avLst/>
                <a:gdLst>
                  <a:gd name="connsiteX0" fmla="*/ 752057 w 1305829"/>
                  <a:gd name="connsiteY0" fmla="*/ 24218 h 1009650"/>
                  <a:gd name="connsiteX1" fmla="*/ 788431 w 1305829"/>
                  <a:gd name="connsiteY1" fmla="*/ 34246 h 1009650"/>
                  <a:gd name="connsiteX2" fmla="*/ 826851 w 1305829"/>
                  <a:gd name="connsiteY2" fmla="*/ 55733 h 1009650"/>
                  <a:gd name="connsiteX3" fmla="*/ 886614 w 1305829"/>
                  <a:gd name="connsiteY3" fmla="*/ 55733 h 1009650"/>
                  <a:gd name="connsiteX4" fmla="*/ 925034 w 1305829"/>
                  <a:gd name="connsiteY4" fmla="*/ 31381 h 1009650"/>
                  <a:gd name="connsiteX5" fmla="*/ 925745 w 1305829"/>
                  <a:gd name="connsiteY5" fmla="*/ 31381 h 1009650"/>
                  <a:gd name="connsiteX6" fmla="*/ 930726 w 1305829"/>
                  <a:gd name="connsiteY6" fmla="*/ 34962 h 1009650"/>
                  <a:gd name="connsiteX7" fmla="*/ 930726 w 1305829"/>
                  <a:gd name="connsiteY7" fmla="*/ 35678 h 1009650"/>
                  <a:gd name="connsiteX8" fmla="*/ 931437 w 1305829"/>
                  <a:gd name="connsiteY8" fmla="*/ 191820 h 1009650"/>
                  <a:gd name="connsiteX9" fmla="*/ 927880 w 1305829"/>
                  <a:gd name="connsiteY9" fmla="*/ 198982 h 1009650"/>
                  <a:gd name="connsiteX10" fmla="*/ 876654 w 1305829"/>
                  <a:gd name="connsiteY10" fmla="*/ 228348 h 1009650"/>
                  <a:gd name="connsiteX11" fmla="*/ 826851 w 1305829"/>
                  <a:gd name="connsiteY11" fmla="*/ 224051 h 1009650"/>
                  <a:gd name="connsiteX12" fmla="*/ 792700 w 1305829"/>
                  <a:gd name="connsiteY12" fmla="*/ 205429 h 1009650"/>
                  <a:gd name="connsiteX13" fmla="*/ 705900 w 1305829"/>
                  <a:gd name="connsiteY13" fmla="*/ 203996 h 1009650"/>
                  <a:gd name="connsiteX14" fmla="*/ 698074 w 1305829"/>
                  <a:gd name="connsiteY14" fmla="*/ 208294 h 1009650"/>
                  <a:gd name="connsiteX15" fmla="*/ 698074 w 1305829"/>
                  <a:gd name="connsiteY15" fmla="*/ 39976 h 1009650"/>
                  <a:gd name="connsiteX16" fmla="*/ 715150 w 1305829"/>
                  <a:gd name="connsiteY16" fmla="*/ 31381 h 1009650"/>
                  <a:gd name="connsiteX17" fmla="*/ 752057 w 1305829"/>
                  <a:gd name="connsiteY17" fmla="*/ 24218 h 1009650"/>
                  <a:gd name="connsiteX18" fmla="*/ 651404 w 1305829"/>
                  <a:gd name="connsiteY18" fmla="*/ 0 h 1009650"/>
                  <a:gd name="connsiteX19" fmla="*/ 666387 w 1305829"/>
                  <a:gd name="connsiteY19" fmla="*/ 14984 h 1009650"/>
                  <a:gd name="connsiteX20" fmla="*/ 666387 w 1305829"/>
                  <a:gd name="connsiteY20" fmla="*/ 376032 h 1009650"/>
                  <a:gd name="connsiteX21" fmla="*/ 682085 w 1305829"/>
                  <a:gd name="connsiteY21" fmla="*/ 380314 h 1009650"/>
                  <a:gd name="connsiteX22" fmla="*/ 697782 w 1305829"/>
                  <a:gd name="connsiteY22" fmla="*/ 388162 h 1009650"/>
                  <a:gd name="connsiteX23" fmla="*/ 723468 w 1305829"/>
                  <a:gd name="connsiteY23" fmla="*/ 413850 h 1009650"/>
                  <a:gd name="connsiteX24" fmla="*/ 868311 w 1305829"/>
                  <a:gd name="connsiteY24" fmla="*/ 663586 h 1009650"/>
                  <a:gd name="connsiteX25" fmla="*/ 901847 w 1305829"/>
                  <a:gd name="connsiteY25" fmla="*/ 618634 h 1009650"/>
                  <a:gd name="connsiteX26" fmla="*/ 966776 w 1305829"/>
                  <a:gd name="connsiteY26" fmla="*/ 587238 h 1009650"/>
                  <a:gd name="connsiteX27" fmla="*/ 1030279 w 1305829"/>
                  <a:gd name="connsiteY27" fmla="*/ 617920 h 1009650"/>
                  <a:gd name="connsiteX28" fmla="*/ 1285003 w 1305829"/>
                  <a:gd name="connsiteY28" fmla="*/ 944005 h 1009650"/>
                  <a:gd name="connsiteX29" fmla="*/ 1304268 w 1305829"/>
                  <a:gd name="connsiteY29" fmla="*/ 1009650 h 1009650"/>
                  <a:gd name="connsiteX30" fmla="*/ 1287857 w 1305829"/>
                  <a:gd name="connsiteY30" fmla="*/ 1009650 h 1009650"/>
                  <a:gd name="connsiteX31" fmla="*/ 1285805 w 1305829"/>
                  <a:gd name="connsiteY31" fmla="*/ 1009650 h 1009650"/>
                  <a:gd name="connsiteX32" fmla="*/ 1272160 w 1305829"/>
                  <a:gd name="connsiteY32" fmla="*/ 1009650 h 1009650"/>
                  <a:gd name="connsiteX33" fmla="*/ 1273587 w 1305829"/>
                  <a:gd name="connsiteY33" fmla="*/ 1004655 h 1009650"/>
                  <a:gd name="connsiteX34" fmla="*/ 1273587 w 1305829"/>
                  <a:gd name="connsiteY34" fmla="*/ 1001088 h 1009650"/>
                  <a:gd name="connsiteX35" fmla="*/ 1274300 w 1305829"/>
                  <a:gd name="connsiteY35" fmla="*/ 998234 h 1009650"/>
                  <a:gd name="connsiteX36" fmla="*/ 1274300 w 1305829"/>
                  <a:gd name="connsiteY36" fmla="*/ 994666 h 1009650"/>
                  <a:gd name="connsiteX37" fmla="*/ 1274300 w 1305829"/>
                  <a:gd name="connsiteY37" fmla="*/ 991098 h 1009650"/>
                  <a:gd name="connsiteX38" fmla="*/ 1260743 w 1305829"/>
                  <a:gd name="connsiteY38" fmla="*/ 965411 h 1009650"/>
                  <a:gd name="connsiteX39" fmla="*/ 1006019 w 1305829"/>
                  <a:gd name="connsiteY39" fmla="*/ 637186 h 1009650"/>
                  <a:gd name="connsiteX40" fmla="*/ 1002452 w 1305829"/>
                  <a:gd name="connsiteY40" fmla="*/ 633618 h 1009650"/>
                  <a:gd name="connsiteX41" fmla="*/ 1002452 w 1305829"/>
                  <a:gd name="connsiteY41" fmla="*/ 632904 h 1009650"/>
                  <a:gd name="connsiteX42" fmla="*/ 1000311 w 1305829"/>
                  <a:gd name="connsiteY42" fmla="*/ 631477 h 1009650"/>
                  <a:gd name="connsiteX43" fmla="*/ 983901 w 1305829"/>
                  <a:gd name="connsiteY43" fmla="*/ 621488 h 1009650"/>
                  <a:gd name="connsiteX44" fmla="*/ 966776 w 1305829"/>
                  <a:gd name="connsiteY44" fmla="*/ 618634 h 1009650"/>
                  <a:gd name="connsiteX45" fmla="*/ 927533 w 1305829"/>
                  <a:gd name="connsiteY45" fmla="*/ 637899 h 1009650"/>
                  <a:gd name="connsiteX46" fmla="*/ 918971 w 1305829"/>
                  <a:gd name="connsiteY46" fmla="*/ 649316 h 1009650"/>
                  <a:gd name="connsiteX47" fmla="*/ 865457 w 1305829"/>
                  <a:gd name="connsiteY47" fmla="*/ 719956 h 1009650"/>
                  <a:gd name="connsiteX48" fmla="*/ 809803 w 1305829"/>
                  <a:gd name="connsiteY48" fmla="*/ 625056 h 1009650"/>
                  <a:gd name="connsiteX49" fmla="*/ 697782 w 1305829"/>
                  <a:gd name="connsiteY49" fmla="*/ 432401 h 1009650"/>
                  <a:gd name="connsiteX50" fmla="*/ 696355 w 1305829"/>
                  <a:gd name="connsiteY50" fmla="*/ 429547 h 1009650"/>
                  <a:gd name="connsiteX51" fmla="*/ 682085 w 1305829"/>
                  <a:gd name="connsiteY51" fmla="*/ 415277 h 1009650"/>
                  <a:gd name="connsiteX52" fmla="*/ 681371 w 1305829"/>
                  <a:gd name="connsiteY52" fmla="*/ 414563 h 1009650"/>
                  <a:gd name="connsiteX53" fmla="*/ 666387 w 1305829"/>
                  <a:gd name="connsiteY53" fmla="*/ 408141 h 1009650"/>
                  <a:gd name="connsiteX54" fmla="*/ 654258 w 1305829"/>
                  <a:gd name="connsiteY54" fmla="*/ 406714 h 1009650"/>
                  <a:gd name="connsiteX55" fmla="*/ 636420 w 1305829"/>
                  <a:gd name="connsiteY55" fmla="*/ 409568 h 1009650"/>
                  <a:gd name="connsiteX56" fmla="*/ 620723 w 1305829"/>
                  <a:gd name="connsiteY56" fmla="*/ 418844 h 1009650"/>
                  <a:gd name="connsiteX57" fmla="*/ 615728 w 1305829"/>
                  <a:gd name="connsiteY57" fmla="*/ 424553 h 1009650"/>
                  <a:gd name="connsiteX58" fmla="*/ 609306 w 1305829"/>
                  <a:gd name="connsiteY58" fmla="*/ 433829 h 1009650"/>
                  <a:gd name="connsiteX59" fmla="*/ 605025 w 1305829"/>
                  <a:gd name="connsiteY59" fmla="*/ 444532 h 1009650"/>
                  <a:gd name="connsiteX60" fmla="*/ 494431 w 1305829"/>
                  <a:gd name="connsiteY60" fmla="*/ 690701 h 1009650"/>
                  <a:gd name="connsiteX61" fmla="*/ 477307 w 1305829"/>
                  <a:gd name="connsiteY61" fmla="*/ 728518 h 1009650"/>
                  <a:gd name="connsiteX62" fmla="*/ 469458 w 1305829"/>
                  <a:gd name="connsiteY62" fmla="*/ 724237 h 1009650"/>
                  <a:gd name="connsiteX63" fmla="*/ 410236 w 1305829"/>
                  <a:gd name="connsiteY63" fmla="*/ 686419 h 1009650"/>
                  <a:gd name="connsiteX64" fmla="*/ 409523 w 1305829"/>
                  <a:gd name="connsiteY64" fmla="*/ 686419 h 1009650"/>
                  <a:gd name="connsiteX65" fmla="*/ 400247 w 1305829"/>
                  <a:gd name="connsiteY65" fmla="*/ 681425 h 1009650"/>
                  <a:gd name="connsiteX66" fmla="*/ 382409 w 1305829"/>
                  <a:gd name="connsiteY66" fmla="*/ 678571 h 1009650"/>
                  <a:gd name="connsiteX67" fmla="*/ 348161 w 1305829"/>
                  <a:gd name="connsiteY67" fmla="*/ 691414 h 1009650"/>
                  <a:gd name="connsiteX68" fmla="*/ 70605 w 1305829"/>
                  <a:gd name="connsiteY68" fmla="*/ 941151 h 1009650"/>
                  <a:gd name="connsiteX69" fmla="*/ 45632 w 1305829"/>
                  <a:gd name="connsiteY69" fmla="*/ 963270 h 1009650"/>
                  <a:gd name="connsiteX70" fmla="*/ 31361 w 1305829"/>
                  <a:gd name="connsiteY70" fmla="*/ 998234 h 1009650"/>
                  <a:gd name="connsiteX71" fmla="*/ 33502 w 1305829"/>
                  <a:gd name="connsiteY71" fmla="*/ 1009650 h 1009650"/>
                  <a:gd name="connsiteX72" fmla="*/ 17091 w 1305829"/>
                  <a:gd name="connsiteY72" fmla="*/ 1009650 h 1009650"/>
                  <a:gd name="connsiteX73" fmla="*/ 1394 w 1305829"/>
                  <a:gd name="connsiteY73" fmla="*/ 1009650 h 1009650"/>
                  <a:gd name="connsiteX74" fmla="*/ 24940 w 1305829"/>
                  <a:gd name="connsiteY74" fmla="*/ 939724 h 1009650"/>
                  <a:gd name="connsiteX75" fmla="*/ 327469 w 1305829"/>
                  <a:gd name="connsiteY75" fmla="*/ 667868 h 1009650"/>
                  <a:gd name="connsiteX76" fmla="*/ 382409 w 1305829"/>
                  <a:gd name="connsiteY76" fmla="*/ 647175 h 1009650"/>
                  <a:gd name="connsiteX77" fmla="*/ 425934 w 1305829"/>
                  <a:gd name="connsiteY77" fmla="*/ 659305 h 1009650"/>
                  <a:gd name="connsiteX78" fmla="*/ 426647 w 1305829"/>
                  <a:gd name="connsiteY78" fmla="*/ 659305 h 1009650"/>
                  <a:gd name="connsiteX79" fmla="*/ 463036 w 1305829"/>
                  <a:gd name="connsiteY79" fmla="*/ 682852 h 1009650"/>
                  <a:gd name="connsiteX80" fmla="*/ 580766 w 1305829"/>
                  <a:gd name="connsiteY80" fmla="*/ 420985 h 1009650"/>
                  <a:gd name="connsiteX81" fmla="*/ 605025 w 1305829"/>
                  <a:gd name="connsiteY81" fmla="*/ 391017 h 1009650"/>
                  <a:gd name="connsiteX82" fmla="*/ 620723 w 1305829"/>
                  <a:gd name="connsiteY82" fmla="*/ 382454 h 1009650"/>
                  <a:gd name="connsiteX83" fmla="*/ 636420 w 1305829"/>
                  <a:gd name="connsiteY83" fmla="*/ 376746 h 1009650"/>
                  <a:gd name="connsiteX84" fmla="*/ 636420 w 1305829"/>
                  <a:gd name="connsiteY84" fmla="*/ 14984 h 1009650"/>
                  <a:gd name="connsiteX85" fmla="*/ 651404 w 1305829"/>
                  <a:gd name="connsiteY85" fmla="*/ 0 h 100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05829" h="1009650">
                    <a:moveTo>
                      <a:pt x="752057" y="24218"/>
                    </a:moveTo>
                    <a:cubicBezTo>
                      <a:pt x="764241" y="24756"/>
                      <a:pt x="776336" y="28158"/>
                      <a:pt x="788431" y="34246"/>
                    </a:cubicBezTo>
                    <a:cubicBezTo>
                      <a:pt x="801238" y="41408"/>
                      <a:pt x="814044" y="48571"/>
                      <a:pt x="826851" y="55733"/>
                    </a:cubicBezTo>
                    <a:cubicBezTo>
                      <a:pt x="846772" y="65761"/>
                      <a:pt x="866693" y="65761"/>
                      <a:pt x="886614" y="55733"/>
                    </a:cubicBezTo>
                    <a:cubicBezTo>
                      <a:pt x="900132" y="48571"/>
                      <a:pt x="912227" y="39976"/>
                      <a:pt x="925034" y="31381"/>
                    </a:cubicBezTo>
                    <a:cubicBezTo>
                      <a:pt x="925034" y="31381"/>
                      <a:pt x="925034" y="31381"/>
                      <a:pt x="925745" y="31381"/>
                    </a:cubicBezTo>
                    <a:cubicBezTo>
                      <a:pt x="927880" y="29948"/>
                      <a:pt x="930726" y="32097"/>
                      <a:pt x="930726" y="34962"/>
                    </a:cubicBezTo>
                    <a:cubicBezTo>
                      <a:pt x="930726" y="34962"/>
                      <a:pt x="930726" y="34962"/>
                      <a:pt x="930726" y="35678"/>
                    </a:cubicBezTo>
                    <a:cubicBezTo>
                      <a:pt x="930726" y="87964"/>
                      <a:pt x="930726" y="139534"/>
                      <a:pt x="931437" y="191820"/>
                    </a:cubicBezTo>
                    <a:cubicBezTo>
                      <a:pt x="931437" y="194685"/>
                      <a:pt x="930014" y="197550"/>
                      <a:pt x="927880" y="198982"/>
                    </a:cubicBezTo>
                    <a:cubicBezTo>
                      <a:pt x="912227" y="210442"/>
                      <a:pt x="895864" y="222618"/>
                      <a:pt x="876654" y="228348"/>
                    </a:cubicBezTo>
                    <a:cubicBezTo>
                      <a:pt x="859579" y="233362"/>
                      <a:pt x="843215" y="231930"/>
                      <a:pt x="826851" y="224051"/>
                    </a:cubicBezTo>
                    <a:cubicBezTo>
                      <a:pt x="815467" y="219037"/>
                      <a:pt x="803372" y="211875"/>
                      <a:pt x="792700" y="205429"/>
                    </a:cubicBezTo>
                    <a:cubicBezTo>
                      <a:pt x="764241" y="188239"/>
                      <a:pt x="735071" y="188955"/>
                      <a:pt x="705900" y="203996"/>
                    </a:cubicBezTo>
                    <a:cubicBezTo>
                      <a:pt x="703766" y="205429"/>
                      <a:pt x="700920" y="206861"/>
                      <a:pt x="698074" y="208294"/>
                    </a:cubicBezTo>
                    <a:cubicBezTo>
                      <a:pt x="698074" y="208294"/>
                      <a:pt x="698074" y="208294"/>
                      <a:pt x="698074" y="39976"/>
                    </a:cubicBezTo>
                    <a:cubicBezTo>
                      <a:pt x="704478" y="36395"/>
                      <a:pt x="711592" y="32813"/>
                      <a:pt x="715150" y="31381"/>
                    </a:cubicBezTo>
                    <a:cubicBezTo>
                      <a:pt x="727601" y="26009"/>
                      <a:pt x="739873" y="23681"/>
                      <a:pt x="752057" y="24218"/>
                    </a:cubicBezTo>
                    <a:close/>
                    <a:moveTo>
                      <a:pt x="651404" y="0"/>
                    </a:moveTo>
                    <a:cubicBezTo>
                      <a:pt x="659252" y="0"/>
                      <a:pt x="666387" y="6422"/>
                      <a:pt x="666387" y="14984"/>
                    </a:cubicBezTo>
                    <a:cubicBezTo>
                      <a:pt x="666387" y="14984"/>
                      <a:pt x="666387" y="79916"/>
                      <a:pt x="666387" y="376032"/>
                    </a:cubicBezTo>
                    <a:cubicBezTo>
                      <a:pt x="672096" y="376746"/>
                      <a:pt x="677090" y="378173"/>
                      <a:pt x="682085" y="380314"/>
                    </a:cubicBezTo>
                    <a:cubicBezTo>
                      <a:pt x="687793" y="382454"/>
                      <a:pt x="692787" y="384595"/>
                      <a:pt x="697782" y="388162"/>
                    </a:cubicBezTo>
                    <a:cubicBezTo>
                      <a:pt x="708485" y="394584"/>
                      <a:pt x="717047" y="403147"/>
                      <a:pt x="723468" y="413850"/>
                    </a:cubicBezTo>
                    <a:cubicBezTo>
                      <a:pt x="723468" y="413850"/>
                      <a:pt x="723468" y="413850"/>
                      <a:pt x="868311" y="663586"/>
                    </a:cubicBezTo>
                    <a:cubicBezTo>
                      <a:pt x="868311" y="663586"/>
                      <a:pt x="868311" y="663586"/>
                      <a:pt x="901847" y="618634"/>
                    </a:cubicBezTo>
                    <a:cubicBezTo>
                      <a:pt x="916830" y="599368"/>
                      <a:pt x="941090" y="587238"/>
                      <a:pt x="966776" y="587238"/>
                    </a:cubicBezTo>
                    <a:cubicBezTo>
                      <a:pt x="992463" y="587238"/>
                      <a:pt x="1015295" y="598655"/>
                      <a:pt x="1030279" y="617920"/>
                    </a:cubicBezTo>
                    <a:cubicBezTo>
                      <a:pt x="1030279" y="617920"/>
                      <a:pt x="1030279" y="617920"/>
                      <a:pt x="1285003" y="944005"/>
                    </a:cubicBezTo>
                    <a:cubicBezTo>
                      <a:pt x="1302127" y="961843"/>
                      <a:pt x="1309262" y="986104"/>
                      <a:pt x="1304268" y="1009650"/>
                    </a:cubicBezTo>
                    <a:cubicBezTo>
                      <a:pt x="1304268" y="1009650"/>
                      <a:pt x="1304268" y="1009650"/>
                      <a:pt x="1287857" y="1009650"/>
                    </a:cubicBezTo>
                    <a:cubicBezTo>
                      <a:pt x="1287857" y="1009650"/>
                      <a:pt x="1287857" y="1009650"/>
                      <a:pt x="1285805" y="1009650"/>
                    </a:cubicBezTo>
                    <a:lnTo>
                      <a:pt x="1272160" y="1009650"/>
                    </a:lnTo>
                    <a:cubicBezTo>
                      <a:pt x="1272160" y="1007510"/>
                      <a:pt x="1272873" y="1006082"/>
                      <a:pt x="1273587" y="1004655"/>
                    </a:cubicBezTo>
                    <a:cubicBezTo>
                      <a:pt x="1273587" y="1003228"/>
                      <a:pt x="1273587" y="1002515"/>
                      <a:pt x="1273587" y="1001088"/>
                    </a:cubicBezTo>
                    <a:cubicBezTo>
                      <a:pt x="1274300" y="1000374"/>
                      <a:pt x="1274300" y="998947"/>
                      <a:pt x="1274300" y="998234"/>
                    </a:cubicBezTo>
                    <a:cubicBezTo>
                      <a:pt x="1274300" y="996807"/>
                      <a:pt x="1274300" y="996093"/>
                      <a:pt x="1274300" y="994666"/>
                    </a:cubicBezTo>
                    <a:cubicBezTo>
                      <a:pt x="1274300" y="993239"/>
                      <a:pt x="1274300" y="992525"/>
                      <a:pt x="1274300" y="991098"/>
                    </a:cubicBezTo>
                    <a:cubicBezTo>
                      <a:pt x="1272873" y="981822"/>
                      <a:pt x="1268592" y="972546"/>
                      <a:pt x="1260743" y="965411"/>
                    </a:cubicBezTo>
                    <a:cubicBezTo>
                      <a:pt x="1260743" y="965411"/>
                      <a:pt x="1260743" y="965411"/>
                      <a:pt x="1006019" y="637186"/>
                    </a:cubicBezTo>
                    <a:cubicBezTo>
                      <a:pt x="1004592" y="635759"/>
                      <a:pt x="1003879" y="634331"/>
                      <a:pt x="1002452" y="633618"/>
                    </a:cubicBezTo>
                    <a:cubicBezTo>
                      <a:pt x="1002452" y="633618"/>
                      <a:pt x="1002452" y="632904"/>
                      <a:pt x="1002452" y="632904"/>
                    </a:cubicBezTo>
                    <a:cubicBezTo>
                      <a:pt x="1001738" y="632904"/>
                      <a:pt x="1001025" y="632191"/>
                      <a:pt x="1000311" y="631477"/>
                    </a:cubicBezTo>
                    <a:cubicBezTo>
                      <a:pt x="995317" y="627196"/>
                      <a:pt x="989609" y="623628"/>
                      <a:pt x="983901" y="621488"/>
                    </a:cubicBezTo>
                    <a:cubicBezTo>
                      <a:pt x="978192" y="620061"/>
                      <a:pt x="972484" y="618634"/>
                      <a:pt x="966776" y="618634"/>
                    </a:cubicBezTo>
                    <a:cubicBezTo>
                      <a:pt x="951079" y="618634"/>
                      <a:pt x="936095" y="625769"/>
                      <a:pt x="927533" y="637899"/>
                    </a:cubicBezTo>
                    <a:cubicBezTo>
                      <a:pt x="927533" y="637899"/>
                      <a:pt x="927533" y="637899"/>
                      <a:pt x="918971" y="649316"/>
                    </a:cubicBezTo>
                    <a:cubicBezTo>
                      <a:pt x="918971" y="649316"/>
                      <a:pt x="918971" y="649316"/>
                      <a:pt x="865457" y="719956"/>
                    </a:cubicBezTo>
                    <a:cubicBezTo>
                      <a:pt x="865457" y="719956"/>
                      <a:pt x="865457" y="719956"/>
                      <a:pt x="809803" y="625056"/>
                    </a:cubicBezTo>
                    <a:cubicBezTo>
                      <a:pt x="809803" y="625056"/>
                      <a:pt x="809803" y="625056"/>
                      <a:pt x="697782" y="432401"/>
                    </a:cubicBezTo>
                    <a:cubicBezTo>
                      <a:pt x="697782" y="432401"/>
                      <a:pt x="697782" y="432401"/>
                      <a:pt x="696355" y="429547"/>
                    </a:cubicBezTo>
                    <a:cubicBezTo>
                      <a:pt x="692787" y="423839"/>
                      <a:pt x="687793" y="418844"/>
                      <a:pt x="682085" y="415277"/>
                    </a:cubicBezTo>
                    <a:cubicBezTo>
                      <a:pt x="682085" y="414563"/>
                      <a:pt x="682085" y="414563"/>
                      <a:pt x="681371" y="414563"/>
                    </a:cubicBezTo>
                    <a:cubicBezTo>
                      <a:pt x="677090" y="411709"/>
                      <a:pt x="672096" y="409568"/>
                      <a:pt x="666387" y="408141"/>
                    </a:cubicBezTo>
                    <a:cubicBezTo>
                      <a:pt x="662820" y="407428"/>
                      <a:pt x="658539" y="406714"/>
                      <a:pt x="654258" y="406714"/>
                    </a:cubicBezTo>
                    <a:cubicBezTo>
                      <a:pt x="647836" y="406714"/>
                      <a:pt x="641415" y="407428"/>
                      <a:pt x="636420" y="409568"/>
                    </a:cubicBezTo>
                    <a:cubicBezTo>
                      <a:pt x="629998" y="411709"/>
                      <a:pt x="625004" y="415277"/>
                      <a:pt x="620723" y="418844"/>
                    </a:cubicBezTo>
                    <a:cubicBezTo>
                      <a:pt x="618582" y="420985"/>
                      <a:pt x="617155" y="422412"/>
                      <a:pt x="615728" y="424553"/>
                    </a:cubicBezTo>
                    <a:cubicBezTo>
                      <a:pt x="612874" y="427407"/>
                      <a:pt x="610733" y="430261"/>
                      <a:pt x="609306" y="433829"/>
                    </a:cubicBezTo>
                    <a:cubicBezTo>
                      <a:pt x="609306" y="433829"/>
                      <a:pt x="609306" y="433829"/>
                      <a:pt x="605025" y="444532"/>
                    </a:cubicBezTo>
                    <a:cubicBezTo>
                      <a:pt x="605025" y="444532"/>
                      <a:pt x="605025" y="444532"/>
                      <a:pt x="494431" y="690701"/>
                    </a:cubicBezTo>
                    <a:cubicBezTo>
                      <a:pt x="494431" y="690701"/>
                      <a:pt x="494431" y="690701"/>
                      <a:pt x="477307" y="728518"/>
                    </a:cubicBezTo>
                    <a:cubicBezTo>
                      <a:pt x="477307" y="728518"/>
                      <a:pt x="477307" y="728518"/>
                      <a:pt x="469458" y="724237"/>
                    </a:cubicBezTo>
                    <a:cubicBezTo>
                      <a:pt x="469458" y="724237"/>
                      <a:pt x="469458" y="724237"/>
                      <a:pt x="410236" y="686419"/>
                    </a:cubicBezTo>
                    <a:cubicBezTo>
                      <a:pt x="410236" y="686419"/>
                      <a:pt x="410236" y="686419"/>
                      <a:pt x="409523" y="686419"/>
                    </a:cubicBezTo>
                    <a:cubicBezTo>
                      <a:pt x="406669" y="684279"/>
                      <a:pt x="403815" y="682852"/>
                      <a:pt x="400247" y="681425"/>
                    </a:cubicBezTo>
                    <a:cubicBezTo>
                      <a:pt x="394539" y="679998"/>
                      <a:pt x="388831" y="678571"/>
                      <a:pt x="382409" y="678571"/>
                    </a:cubicBezTo>
                    <a:cubicBezTo>
                      <a:pt x="369566" y="678571"/>
                      <a:pt x="357437" y="682852"/>
                      <a:pt x="348161" y="691414"/>
                    </a:cubicBezTo>
                    <a:cubicBezTo>
                      <a:pt x="348161" y="691414"/>
                      <a:pt x="348161" y="691414"/>
                      <a:pt x="70605" y="941151"/>
                    </a:cubicBezTo>
                    <a:cubicBezTo>
                      <a:pt x="70605" y="941151"/>
                      <a:pt x="70605" y="941151"/>
                      <a:pt x="45632" y="963270"/>
                    </a:cubicBezTo>
                    <a:cubicBezTo>
                      <a:pt x="35642" y="972546"/>
                      <a:pt x="30648" y="985390"/>
                      <a:pt x="31361" y="998234"/>
                    </a:cubicBezTo>
                    <a:cubicBezTo>
                      <a:pt x="31361" y="1002515"/>
                      <a:pt x="32075" y="1006082"/>
                      <a:pt x="33502" y="1009650"/>
                    </a:cubicBezTo>
                    <a:cubicBezTo>
                      <a:pt x="33502" y="1009650"/>
                      <a:pt x="33502" y="1009650"/>
                      <a:pt x="17091" y="1009650"/>
                    </a:cubicBezTo>
                    <a:cubicBezTo>
                      <a:pt x="17091" y="1009650"/>
                      <a:pt x="17091" y="1009650"/>
                      <a:pt x="1394" y="1009650"/>
                    </a:cubicBezTo>
                    <a:cubicBezTo>
                      <a:pt x="-3601" y="984676"/>
                      <a:pt x="4961" y="958276"/>
                      <a:pt x="24940" y="939724"/>
                    </a:cubicBezTo>
                    <a:cubicBezTo>
                      <a:pt x="24940" y="939724"/>
                      <a:pt x="24940" y="939724"/>
                      <a:pt x="327469" y="667868"/>
                    </a:cubicBezTo>
                    <a:cubicBezTo>
                      <a:pt x="342453" y="654310"/>
                      <a:pt x="361718" y="647175"/>
                      <a:pt x="382409" y="647175"/>
                    </a:cubicBezTo>
                    <a:cubicBezTo>
                      <a:pt x="398107" y="647175"/>
                      <a:pt x="413091" y="651456"/>
                      <a:pt x="425934" y="659305"/>
                    </a:cubicBezTo>
                    <a:cubicBezTo>
                      <a:pt x="425934" y="659305"/>
                      <a:pt x="425934" y="659305"/>
                      <a:pt x="426647" y="659305"/>
                    </a:cubicBezTo>
                    <a:cubicBezTo>
                      <a:pt x="426647" y="659305"/>
                      <a:pt x="426647" y="659305"/>
                      <a:pt x="463036" y="682852"/>
                    </a:cubicBezTo>
                    <a:cubicBezTo>
                      <a:pt x="463036" y="682852"/>
                      <a:pt x="463036" y="682852"/>
                      <a:pt x="580766" y="420985"/>
                    </a:cubicBezTo>
                    <a:cubicBezTo>
                      <a:pt x="586474" y="408855"/>
                      <a:pt x="594323" y="398865"/>
                      <a:pt x="605025" y="391017"/>
                    </a:cubicBezTo>
                    <a:cubicBezTo>
                      <a:pt x="609306" y="387449"/>
                      <a:pt x="615015" y="384595"/>
                      <a:pt x="620723" y="382454"/>
                    </a:cubicBezTo>
                    <a:cubicBezTo>
                      <a:pt x="625717" y="380314"/>
                      <a:pt x="630712" y="378173"/>
                      <a:pt x="636420" y="376746"/>
                    </a:cubicBezTo>
                    <a:cubicBezTo>
                      <a:pt x="636420" y="303252"/>
                      <a:pt x="636420" y="189800"/>
                      <a:pt x="636420" y="14984"/>
                    </a:cubicBezTo>
                    <a:cubicBezTo>
                      <a:pt x="636420" y="6422"/>
                      <a:pt x="642842" y="0"/>
                      <a:pt x="65140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8" name="Freeform 7">
                <a:extLst>
                  <a:ext uri="{FF2B5EF4-FFF2-40B4-BE49-F238E27FC236}">
                    <a16:creationId xmlns:a16="http://schemas.microsoft.com/office/drawing/2014/main" id="{55C25205-933E-7E43-B320-3F537699BEB2}"/>
                  </a:ext>
                </a:extLst>
              </p:cNvPr>
              <p:cNvSpPr>
                <a:spLocks/>
              </p:cNvSpPr>
              <p:nvPr/>
            </p:nvSpPr>
            <p:spPr bwMode="auto">
              <a:xfrm>
                <a:off x="5502275" y="3405188"/>
                <a:ext cx="1192213" cy="571500"/>
              </a:xfrm>
              <a:custGeom>
                <a:avLst/>
                <a:gdLst>
                  <a:gd name="T0" fmla="*/ 1655 w 1670"/>
                  <a:gd name="T1" fmla="*/ 769 h 801"/>
                  <a:gd name="T2" fmla="*/ 1295 w 1670"/>
                  <a:gd name="T3" fmla="*/ 306 h 801"/>
                  <a:gd name="T4" fmla="*/ 1275 w 1670"/>
                  <a:gd name="T5" fmla="*/ 297 h 801"/>
                  <a:gd name="T6" fmla="*/ 1255 w 1670"/>
                  <a:gd name="T7" fmla="*/ 306 h 801"/>
                  <a:gd name="T8" fmla="*/ 1146 w 1670"/>
                  <a:gd name="T9" fmla="*/ 450 h 801"/>
                  <a:gd name="T10" fmla="*/ 1130 w 1670"/>
                  <a:gd name="T11" fmla="*/ 458 h 801"/>
                  <a:gd name="T12" fmla="*/ 1113 w 1670"/>
                  <a:gd name="T13" fmla="*/ 448 h 801"/>
                  <a:gd name="T14" fmla="*/ 898 w 1670"/>
                  <a:gd name="T15" fmla="*/ 80 h 801"/>
                  <a:gd name="T16" fmla="*/ 876 w 1670"/>
                  <a:gd name="T17" fmla="*/ 42 h 801"/>
                  <a:gd name="T18" fmla="*/ 858 w 1670"/>
                  <a:gd name="T19" fmla="*/ 11 h 801"/>
                  <a:gd name="T20" fmla="*/ 854 w 1670"/>
                  <a:gd name="T21" fmla="*/ 6 h 801"/>
                  <a:gd name="T22" fmla="*/ 837 w 1670"/>
                  <a:gd name="T23" fmla="*/ 0 h 801"/>
                  <a:gd name="T24" fmla="*/ 814 w 1670"/>
                  <a:gd name="T25" fmla="*/ 12 h 801"/>
                  <a:gd name="T26" fmla="*/ 812 w 1670"/>
                  <a:gd name="T27" fmla="*/ 18 h 801"/>
                  <a:gd name="T28" fmla="*/ 790 w 1670"/>
                  <a:gd name="T29" fmla="*/ 67 h 801"/>
                  <a:gd name="T30" fmla="*/ 768 w 1670"/>
                  <a:gd name="T31" fmla="*/ 116 h 801"/>
                  <a:gd name="T32" fmla="*/ 617 w 1670"/>
                  <a:gd name="T33" fmla="*/ 451 h 801"/>
                  <a:gd name="T34" fmla="*/ 599 w 1670"/>
                  <a:gd name="T35" fmla="*/ 463 h 801"/>
                  <a:gd name="T36" fmla="*/ 588 w 1670"/>
                  <a:gd name="T37" fmla="*/ 459 h 801"/>
                  <a:gd name="T38" fmla="*/ 471 w 1670"/>
                  <a:gd name="T39" fmla="*/ 385 h 801"/>
                  <a:gd name="T40" fmla="*/ 456 w 1670"/>
                  <a:gd name="T41" fmla="*/ 381 h 801"/>
                  <a:gd name="T42" fmla="*/ 437 w 1670"/>
                  <a:gd name="T43" fmla="*/ 388 h 801"/>
                  <a:gd name="T44" fmla="*/ 14 w 1670"/>
                  <a:gd name="T45" fmla="*/ 769 h 801"/>
                  <a:gd name="T46" fmla="*/ 32 w 1670"/>
                  <a:gd name="T47" fmla="*/ 801 h 801"/>
                  <a:gd name="T48" fmla="*/ 1637 w 1670"/>
                  <a:gd name="T49" fmla="*/ 801 h 801"/>
                  <a:gd name="T50" fmla="*/ 1655 w 1670"/>
                  <a:gd name="T51" fmla="*/ 76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0" h="801">
                    <a:moveTo>
                      <a:pt x="1655" y="769"/>
                    </a:moveTo>
                    <a:cubicBezTo>
                      <a:pt x="1295" y="306"/>
                      <a:pt x="1295" y="306"/>
                      <a:pt x="1295" y="306"/>
                    </a:cubicBezTo>
                    <a:cubicBezTo>
                      <a:pt x="1290" y="300"/>
                      <a:pt x="1283" y="297"/>
                      <a:pt x="1275" y="297"/>
                    </a:cubicBezTo>
                    <a:cubicBezTo>
                      <a:pt x="1267" y="297"/>
                      <a:pt x="1259" y="300"/>
                      <a:pt x="1255" y="306"/>
                    </a:cubicBezTo>
                    <a:cubicBezTo>
                      <a:pt x="1146" y="450"/>
                      <a:pt x="1146" y="450"/>
                      <a:pt x="1146" y="450"/>
                    </a:cubicBezTo>
                    <a:cubicBezTo>
                      <a:pt x="1142" y="456"/>
                      <a:pt x="1136" y="458"/>
                      <a:pt x="1130" y="458"/>
                    </a:cubicBezTo>
                    <a:cubicBezTo>
                      <a:pt x="1123" y="458"/>
                      <a:pt x="1117" y="455"/>
                      <a:pt x="1113" y="448"/>
                    </a:cubicBezTo>
                    <a:cubicBezTo>
                      <a:pt x="898" y="80"/>
                      <a:pt x="898" y="80"/>
                      <a:pt x="898" y="80"/>
                    </a:cubicBezTo>
                    <a:cubicBezTo>
                      <a:pt x="876" y="42"/>
                      <a:pt x="876" y="42"/>
                      <a:pt x="876" y="42"/>
                    </a:cubicBezTo>
                    <a:cubicBezTo>
                      <a:pt x="858" y="11"/>
                      <a:pt x="858" y="11"/>
                      <a:pt x="858" y="11"/>
                    </a:cubicBezTo>
                    <a:cubicBezTo>
                      <a:pt x="857" y="9"/>
                      <a:pt x="856" y="7"/>
                      <a:pt x="854" y="6"/>
                    </a:cubicBezTo>
                    <a:cubicBezTo>
                      <a:pt x="850" y="2"/>
                      <a:pt x="843" y="0"/>
                      <a:pt x="837" y="0"/>
                    </a:cubicBezTo>
                    <a:cubicBezTo>
                      <a:pt x="827" y="0"/>
                      <a:pt x="818" y="4"/>
                      <a:pt x="814" y="12"/>
                    </a:cubicBezTo>
                    <a:cubicBezTo>
                      <a:pt x="812" y="18"/>
                      <a:pt x="812" y="18"/>
                      <a:pt x="812" y="18"/>
                    </a:cubicBezTo>
                    <a:cubicBezTo>
                      <a:pt x="790" y="67"/>
                      <a:pt x="790" y="67"/>
                      <a:pt x="790" y="67"/>
                    </a:cubicBezTo>
                    <a:cubicBezTo>
                      <a:pt x="768" y="116"/>
                      <a:pt x="768" y="116"/>
                      <a:pt x="768" y="116"/>
                    </a:cubicBezTo>
                    <a:cubicBezTo>
                      <a:pt x="617" y="451"/>
                      <a:pt x="617" y="451"/>
                      <a:pt x="617" y="451"/>
                    </a:cubicBezTo>
                    <a:cubicBezTo>
                      <a:pt x="614" y="458"/>
                      <a:pt x="607" y="463"/>
                      <a:pt x="599" y="463"/>
                    </a:cubicBezTo>
                    <a:cubicBezTo>
                      <a:pt x="595" y="463"/>
                      <a:pt x="592" y="462"/>
                      <a:pt x="588" y="459"/>
                    </a:cubicBezTo>
                    <a:cubicBezTo>
                      <a:pt x="471" y="385"/>
                      <a:pt x="471" y="385"/>
                      <a:pt x="471" y="385"/>
                    </a:cubicBezTo>
                    <a:cubicBezTo>
                      <a:pt x="467" y="383"/>
                      <a:pt x="462" y="381"/>
                      <a:pt x="456" y="381"/>
                    </a:cubicBezTo>
                    <a:cubicBezTo>
                      <a:pt x="449" y="381"/>
                      <a:pt x="442" y="383"/>
                      <a:pt x="437" y="388"/>
                    </a:cubicBezTo>
                    <a:cubicBezTo>
                      <a:pt x="14" y="769"/>
                      <a:pt x="14" y="769"/>
                      <a:pt x="14" y="769"/>
                    </a:cubicBezTo>
                    <a:cubicBezTo>
                      <a:pt x="0" y="781"/>
                      <a:pt x="11" y="801"/>
                      <a:pt x="32" y="801"/>
                    </a:cubicBezTo>
                    <a:cubicBezTo>
                      <a:pt x="1637" y="801"/>
                      <a:pt x="1637" y="801"/>
                      <a:pt x="1637" y="801"/>
                    </a:cubicBezTo>
                    <a:cubicBezTo>
                      <a:pt x="1658" y="801"/>
                      <a:pt x="1670" y="780"/>
                      <a:pt x="1655" y="7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a:extLst>
              <a:ext uri="{FF2B5EF4-FFF2-40B4-BE49-F238E27FC236}">
                <a16:creationId xmlns:a16="http://schemas.microsoft.com/office/drawing/2014/main" id="{E61C5ACC-F75D-8942-A98F-61E302B5E733}"/>
              </a:ext>
            </a:extLst>
          </p:cNvPr>
          <p:cNvGrpSpPr>
            <a:grpSpLocks noChangeAspect="1"/>
          </p:cNvGrpSpPr>
          <p:nvPr/>
        </p:nvGrpSpPr>
        <p:grpSpPr>
          <a:xfrm>
            <a:off x="288737" y="2756912"/>
            <a:ext cx="822198" cy="822960"/>
            <a:chOff x="5273801" y="2606040"/>
            <a:chExt cx="1644396" cy="1645920"/>
          </a:xfrm>
        </p:grpSpPr>
        <p:sp>
          <p:nvSpPr>
            <p:cNvPr id="20" name="AutoShape 24">
              <a:extLst>
                <a:ext uri="{FF2B5EF4-FFF2-40B4-BE49-F238E27FC236}">
                  <a16:creationId xmlns:a16="http://schemas.microsoft.com/office/drawing/2014/main" id="{BA4E30C9-132A-0A4D-A829-F9CA08F3B4C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 name="Group 20">
              <a:extLst>
                <a:ext uri="{FF2B5EF4-FFF2-40B4-BE49-F238E27FC236}">
                  <a16:creationId xmlns:a16="http://schemas.microsoft.com/office/drawing/2014/main" id="{9A8A6D7F-5670-0F48-8A1E-208100631480}"/>
                </a:ext>
              </a:extLst>
            </p:cNvPr>
            <p:cNvGrpSpPr/>
            <p:nvPr/>
          </p:nvGrpSpPr>
          <p:grpSpPr>
            <a:xfrm>
              <a:off x="5343905" y="2937510"/>
              <a:ext cx="1532763" cy="1001649"/>
              <a:chOff x="5343905" y="2937510"/>
              <a:chExt cx="1532763" cy="1001649"/>
            </a:xfrm>
          </p:grpSpPr>
          <p:sp>
            <p:nvSpPr>
              <p:cNvPr id="22" name="Freeform 26">
                <a:extLst>
                  <a:ext uri="{FF2B5EF4-FFF2-40B4-BE49-F238E27FC236}">
                    <a16:creationId xmlns:a16="http://schemas.microsoft.com/office/drawing/2014/main" id="{5E8F677D-E633-A84E-8D1A-0DE110BFFB42}"/>
                  </a:ext>
                </a:extLst>
              </p:cNvPr>
              <p:cNvSpPr>
                <a:spLocks noEditPoints="1"/>
              </p:cNvSpPr>
              <p:nvPr/>
            </p:nvSpPr>
            <p:spPr bwMode="auto">
              <a:xfrm>
                <a:off x="5456681" y="3173349"/>
                <a:ext cx="1304544" cy="300609"/>
              </a:xfrm>
              <a:custGeom>
                <a:avLst/>
                <a:gdLst>
                  <a:gd name="T0" fmla="*/ 100 w 1828"/>
                  <a:gd name="T1" fmla="*/ 22 h 421"/>
                  <a:gd name="T2" fmla="*/ 515 w 1828"/>
                  <a:gd name="T3" fmla="*/ 239 h 421"/>
                  <a:gd name="T4" fmla="*/ 507 w 1828"/>
                  <a:gd name="T5" fmla="*/ 309 h 421"/>
                  <a:gd name="T6" fmla="*/ 31 w 1828"/>
                  <a:gd name="T7" fmla="*/ 100 h 421"/>
                  <a:gd name="T8" fmla="*/ 63 w 1828"/>
                  <a:gd name="T9" fmla="*/ 6 h 421"/>
                  <a:gd name="T10" fmla="*/ 271 w 1828"/>
                  <a:gd name="T11" fmla="*/ 124 h 421"/>
                  <a:gd name="T12" fmla="*/ 123 w 1828"/>
                  <a:gd name="T13" fmla="*/ 0 h 421"/>
                  <a:gd name="T14" fmla="*/ 159 w 1828"/>
                  <a:gd name="T15" fmla="*/ 239 h 421"/>
                  <a:gd name="T16" fmla="*/ 148 w 1828"/>
                  <a:gd name="T17" fmla="*/ 233 h 421"/>
                  <a:gd name="T18" fmla="*/ 73 w 1828"/>
                  <a:gd name="T19" fmla="*/ 421 h 421"/>
                  <a:gd name="T20" fmla="*/ 320 w 1828"/>
                  <a:gd name="T21" fmla="*/ 287 h 421"/>
                  <a:gd name="T22" fmla="*/ 1355 w 1828"/>
                  <a:gd name="T23" fmla="*/ 6 h 421"/>
                  <a:gd name="T24" fmla="*/ 1323 w 1828"/>
                  <a:gd name="T25" fmla="*/ 100 h 421"/>
                  <a:gd name="T26" fmla="*/ 1799 w 1828"/>
                  <a:gd name="T27" fmla="*/ 309 h 421"/>
                  <a:gd name="T28" fmla="*/ 1807 w 1828"/>
                  <a:gd name="T29" fmla="*/ 239 h 421"/>
                  <a:gd name="T30" fmla="*/ 1392 w 1828"/>
                  <a:gd name="T31" fmla="*/ 22 h 421"/>
                  <a:gd name="T32" fmla="*/ 1526 w 1828"/>
                  <a:gd name="T33" fmla="*/ 112 h 421"/>
                  <a:gd name="T34" fmla="*/ 1563 w 1828"/>
                  <a:gd name="T35" fmla="*/ 123 h 421"/>
                  <a:gd name="T36" fmla="*/ 1526 w 1828"/>
                  <a:gd name="T37" fmla="*/ 112 h 421"/>
                  <a:gd name="T38" fmla="*/ 1445 w 1828"/>
                  <a:gd name="T39" fmla="*/ 237 h 421"/>
                  <a:gd name="T40" fmla="*/ 1311 w 1828"/>
                  <a:gd name="T41" fmla="*/ 131 h 421"/>
                  <a:gd name="T42" fmla="*/ 1631 w 1828"/>
                  <a:gd name="T43" fmla="*/ 350 h 421"/>
                  <a:gd name="T44" fmla="*/ 1451 w 1828"/>
                  <a:gd name="T45" fmla="*/ 239 h 421"/>
                  <a:gd name="T46" fmla="*/ 686 w 1828"/>
                  <a:gd name="T47" fmla="*/ 12 h 421"/>
                  <a:gd name="T48" fmla="*/ 814 w 1828"/>
                  <a:gd name="T49" fmla="*/ 208 h 421"/>
                  <a:gd name="T50" fmla="*/ 1173 w 1828"/>
                  <a:gd name="T51" fmla="*/ 277 h 421"/>
                  <a:gd name="T52" fmla="*/ 863 w 1828"/>
                  <a:gd name="T53" fmla="*/ 140 h 421"/>
                  <a:gd name="T54" fmla="*/ 709 w 1828"/>
                  <a:gd name="T55" fmla="*/ 6 h 421"/>
                  <a:gd name="T56" fmla="*/ 917 w 1828"/>
                  <a:gd name="T57" fmla="*/ 124 h 421"/>
                  <a:gd name="T58" fmla="*/ 769 w 1828"/>
                  <a:gd name="T59" fmla="*/ 0 h 421"/>
                  <a:gd name="T60" fmla="*/ 805 w 1828"/>
                  <a:gd name="T61" fmla="*/ 239 h 421"/>
                  <a:gd name="T62" fmla="*/ 794 w 1828"/>
                  <a:gd name="T63" fmla="*/ 233 h 421"/>
                  <a:gd name="T64" fmla="*/ 719 w 1828"/>
                  <a:gd name="T65" fmla="*/ 421 h 421"/>
                  <a:gd name="T66" fmla="*/ 966 w 1828"/>
                  <a:gd name="T67" fmla="*/ 287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28" h="421">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7">
                <a:extLst>
                  <a:ext uri="{FF2B5EF4-FFF2-40B4-BE49-F238E27FC236}">
                    <a16:creationId xmlns:a16="http://schemas.microsoft.com/office/drawing/2014/main" id="{4146FFB0-646E-DE4B-8390-F92266193F7E}"/>
                  </a:ext>
                </a:extLst>
              </p:cNvPr>
              <p:cNvSpPr>
                <a:spLocks noEditPoints="1"/>
              </p:cNvSpPr>
              <p:nvPr/>
            </p:nvSpPr>
            <p:spPr bwMode="auto">
              <a:xfrm>
                <a:off x="5343905" y="2937510"/>
                <a:ext cx="1532763" cy="1001649"/>
              </a:xfrm>
              <a:custGeom>
                <a:avLst/>
                <a:gdLst>
                  <a:gd name="T0" fmla="*/ 744 w 2148"/>
                  <a:gd name="T1" fmla="*/ 1402 h 1402"/>
                  <a:gd name="T2" fmla="*/ 305 w 2148"/>
                  <a:gd name="T3" fmla="*/ 899 h 1402"/>
                  <a:gd name="T4" fmla="*/ 291 w 2148"/>
                  <a:gd name="T5" fmla="*/ 786 h 1402"/>
                  <a:gd name="T6" fmla="*/ 322 w 2148"/>
                  <a:gd name="T7" fmla="*/ 859 h 1402"/>
                  <a:gd name="T8" fmla="*/ 754 w 2148"/>
                  <a:gd name="T9" fmla="*/ 1350 h 1402"/>
                  <a:gd name="T10" fmla="*/ 648 w 2148"/>
                  <a:gd name="T11" fmla="*/ 944 h 1402"/>
                  <a:gd name="T12" fmla="*/ 683 w 2148"/>
                  <a:gd name="T13" fmla="*/ 917 h 1402"/>
                  <a:gd name="T14" fmla="*/ 805 w 2148"/>
                  <a:gd name="T15" fmla="*/ 1356 h 1402"/>
                  <a:gd name="T16" fmla="*/ 372 w 2148"/>
                  <a:gd name="T17" fmla="*/ 117 h 1402"/>
                  <a:gd name="T18" fmla="*/ 343 w 2148"/>
                  <a:gd name="T19" fmla="*/ 243 h 1402"/>
                  <a:gd name="T20" fmla="*/ 279 w 2148"/>
                  <a:gd name="T21" fmla="*/ 274 h 1402"/>
                  <a:gd name="T22" fmla="*/ 342 w 2148"/>
                  <a:gd name="T23" fmla="*/ 248 h 1402"/>
                  <a:gd name="T24" fmla="*/ 269 w 2148"/>
                  <a:gd name="T25" fmla="*/ 4 h 1402"/>
                  <a:gd name="T26" fmla="*/ 185 w 2148"/>
                  <a:gd name="T27" fmla="*/ 242 h 1402"/>
                  <a:gd name="T28" fmla="*/ 195 w 2148"/>
                  <a:gd name="T29" fmla="*/ 112 h 1402"/>
                  <a:gd name="T30" fmla="*/ 254 w 2148"/>
                  <a:gd name="T31" fmla="*/ 150 h 1402"/>
                  <a:gd name="T32" fmla="*/ 375 w 2148"/>
                  <a:gd name="T33" fmla="*/ 73 h 1402"/>
                  <a:gd name="T34" fmla="*/ 1980 w 2148"/>
                  <a:gd name="T35" fmla="*/ 925 h 1402"/>
                  <a:gd name="T36" fmla="*/ 1745 w 2148"/>
                  <a:gd name="T37" fmla="*/ 745 h 1402"/>
                  <a:gd name="T38" fmla="*/ 2057 w 2148"/>
                  <a:gd name="T39" fmla="*/ 1336 h 1402"/>
                  <a:gd name="T40" fmla="*/ 1863 w 2148"/>
                  <a:gd name="T41" fmla="*/ 993 h 1402"/>
                  <a:gd name="T42" fmla="*/ 1585 w 2148"/>
                  <a:gd name="T43" fmla="*/ 798 h 1402"/>
                  <a:gd name="T44" fmla="*/ 1542 w 2148"/>
                  <a:gd name="T45" fmla="*/ 804 h 1402"/>
                  <a:gd name="T46" fmla="*/ 2017 w 2148"/>
                  <a:gd name="T47" fmla="*/ 1390 h 1402"/>
                  <a:gd name="T48" fmla="*/ 2097 w 2148"/>
                  <a:gd name="T49" fmla="*/ 1356 h 1402"/>
                  <a:gd name="T50" fmla="*/ 1664 w 2148"/>
                  <a:gd name="T51" fmla="*/ 258 h 1402"/>
                  <a:gd name="T52" fmla="*/ 1636 w 2148"/>
                  <a:gd name="T53" fmla="*/ 133 h 1402"/>
                  <a:gd name="T54" fmla="*/ 1557 w 2148"/>
                  <a:gd name="T55" fmla="*/ 256 h 1402"/>
                  <a:gd name="T56" fmla="*/ 1652 w 2148"/>
                  <a:gd name="T57" fmla="*/ 273 h 1402"/>
                  <a:gd name="T58" fmla="*/ 1688 w 2148"/>
                  <a:gd name="T59" fmla="*/ 33 h 1402"/>
                  <a:gd name="T60" fmla="*/ 1475 w 2148"/>
                  <a:gd name="T61" fmla="*/ 243 h 1402"/>
                  <a:gd name="T62" fmla="*/ 1481 w 2148"/>
                  <a:gd name="T63" fmla="*/ 187 h 1402"/>
                  <a:gd name="T64" fmla="*/ 1525 w 2148"/>
                  <a:gd name="T65" fmla="*/ 150 h 1402"/>
                  <a:gd name="T66" fmla="*/ 1666 w 2148"/>
                  <a:gd name="T67" fmla="*/ 74 h 1402"/>
                  <a:gd name="T68" fmla="*/ 1456 w 2148"/>
                  <a:gd name="T69" fmla="*/ 1286 h 1402"/>
                  <a:gd name="T70" fmla="*/ 1144 w 2148"/>
                  <a:gd name="T71" fmla="*/ 728 h 1402"/>
                  <a:gd name="T72" fmla="*/ 1414 w 2148"/>
                  <a:gd name="T73" fmla="*/ 1300 h 1402"/>
                  <a:gd name="T74" fmla="*/ 1226 w 2148"/>
                  <a:gd name="T75" fmla="*/ 1002 h 1402"/>
                  <a:gd name="T76" fmla="*/ 940 w 2148"/>
                  <a:gd name="T77" fmla="*/ 802 h 1402"/>
                  <a:gd name="T78" fmla="*/ 894 w 2148"/>
                  <a:gd name="T79" fmla="*/ 793 h 1402"/>
                  <a:gd name="T80" fmla="*/ 1190 w 2148"/>
                  <a:gd name="T81" fmla="*/ 1028 h 1402"/>
                  <a:gd name="T82" fmla="*/ 1397 w 2148"/>
                  <a:gd name="T83" fmla="*/ 1401 h 1402"/>
                  <a:gd name="T84" fmla="*/ 1006 w 2148"/>
                  <a:gd name="T85" fmla="*/ 273 h 1402"/>
                  <a:gd name="T86" fmla="*/ 996 w 2148"/>
                  <a:gd name="T87" fmla="*/ 111 h 1402"/>
                  <a:gd name="T88" fmla="*/ 929 w 2148"/>
                  <a:gd name="T89" fmla="*/ 242 h 1402"/>
                  <a:gd name="T90" fmla="*/ 969 w 2148"/>
                  <a:gd name="T91" fmla="*/ 276 h 1402"/>
                  <a:gd name="T92" fmla="*/ 988 w 2148"/>
                  <a:gd name="T93" fmla="*/ 248 h 1402"/>
                  <a:gd name="T94" fmla="*/ 787 w 2148"/>
                  <a:gd name="T95" fmla="*/ 74 h 1402"/>
                  <a:gd name="T96" fmla="*/ 835 w 2148"/>
                  <a:gd name="T97" fmla="*/ 187 h 1402"/>
                  <a:gd name="T98" fmla="*/ 878 w 2148"/>
                  <a:gd name="T99" fmla="*/ 149 h 1402"/>
                  <a:gd name="T100" fmla="*/ 933 w 2148"/>
                  <a:gd name="T101" fmla="*/ 87 h 1402"/>
                  <a:gd name="T102" fmla="*/ 1042 w 2148"/>
                  <a:gd name="T103" fmla="*/ 33 h 1402"/>
                  <a:gd name="T104" fmla="*/ 0 w 2148"/>
                  <a:gd name="T105" fmla="*/ 1061 h 1402"/>
                  <a:gd name="T106" fmla="*/ 44 w 2148"/>
                  <a:gd name="T107" fmla="*/ 768 h 1402"/>
                  <a:gd name="T108" fmla="*/ 713 w 2148"/>
                  <a:gd name="T109" fmla="*/ 623 h 1402"/>
                  <a:gd name="T110" fmla="*/ 719 w 2148"/>
                  <a:gd name="T111" fmla="*/ 579 h 1402"/>
                  <a:gd name="T112" fmla="*/ 1454 w 2148"/>
                  <a:gd name="T113" fmla="*/ 623 h 1402"/>
                  <a:gd name="T114" fmla="*/ 1359 w 2148"/>
                  <a:gd name="T115" fmla="*/ 623 h 1402"/>
                  <a:gd name="T116" fmla="*/ 2005 w 2148"/>
                  <a:gd name="T117" fmla="*/ 623 h 1402"/>
                  <a:gd name="T118" fmla="*/ 2126 w 2148"/>
                  <a:gd name="T119" fmla="*/ 579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8" h="1402">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a:extLst>
              <a:ext uri="{FF2B5EF4-FFF2-40B4-BE49-F238E27FC236}">
                <a16:creationId xmlns:a16="http://schemas.microsoft.com/office/drawing/2014/main" id="{62447BEC-3C52-A342-915C-6D5CB1909922}"/>
              </a:ext>
            </a:extLst>
          </p:cNvPr>
          <p:cNvGrpSpPr>
            <a:grpSpLocks noChangeAspect="1"/>
          </p:cNvGrpSpPr>
          <p:nvPr/>
        </p:nvGrpSpPr>
        <p:grpSpPr>
          <a:xfrm>
            <a:off x="387761" y="3589172"/>
            <a:ext cx="617231" cy="617231"/>
            <a:chOff x="5273675" y="2606675"/>
            <a:chExt cx="1644650" cy="1644650"/>
          </a:xfrm>
        </p:grpSpPr>
        <p:sp>
          <p:nvSpPr>
            <p:cNvPr id="25" name="AutoShape 33">
              <a:extLst>
                <a:ext uri="{FF2B5EF4-FFF2-40B4-BE49-F238E27FC236}">
                  <a16:creationId xmlns:a16="http://schemas.microsoft.com/office/drawing/2014/main" id="{29E2C367-C533-4C4C-AA6C-03123F91DC6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a:extLst>
                <a:ext uri="{FF2B5EF4-FFF2-40B4-BE49-F238E27FC236}">
                  <a16:creationId xmlns:a16="http://schemas.microsoft.com/office/drawing/2014/main" id="{A8F3ACEC-B198-6743-A9F3-F03A135017C4}"/>
                </a:ext>
              </a:extLst>
            </p:cNvPr>
            <p:cNvGrpSpPr/>
            <p:nvPr/>
          </p:nvGrpSpPr>
          <p:grpSpPr>
            <a:xfrm>
              <a:off x="5403951" y="2919413"/>
              <a:ext cx="1382512" cy="1098550"/>
              <a:chOff x="5403951" y="2919413"/>
              <a:chExt cx="1382512" cy="1098550"/>
            </a:xfrm>
          </p:grpSpPr>
          <p:sp>
            <p:nvSpPr>
              <p:cNvPr id="27" name="Freeform 26">
                <a:extLst>
                  <a:ext uri="{FF2B5EF4-FFF2-40B4-BE49-F238E27FC236}">
                    <a16:creationId xmlns:a16="http://schemas.microsoft.com/office/drawing/2014/main" id="{7AE7C345-A9E3-9640-84A0-CEFD70911739}"/>
                  </a:ext>
                </a:extLst>
              </p:cNvPr>
              <p:cNvSpPr>
                <a:spLocks/>
              </p:cNvSpPr>
              <p:nvPr/>
            </p:nvSpPr>
            <p:spPr bwMode="auto">
              <a:xfrm>
                <a:off x="5403951" y="2955925"/>
                <a:ext cx="1382512" cy="814388"/>
              </a:xfrm>
              <a:custGeom>
                <a:avLst/>
                <a:gdLst>
                  <a:gd name="connsiteX0" fmla="*/ 1172705 w 1382512"/>
                  <a:gd name="connsiteY0" fmla="*/ 90488 h 814388"/>
                  <a:gd name="connsiteX1" fmla="*/ 1034331 w 1382512"/>
                  <a:gd name="connsiteY1" fmla="*/ 488045 h 814388"/>
                  <a:gd name="connsiteX2" fmla="*/ 1000094 w 1382512"/>
                  <a:gd name="connsiteY2" fmla="*/ 586005 h 814388"/>
                  <a:gd name="connsiteX3" fmla="*/ 996527 w 1382512"/>
                  <a:gd name="connsiteY3" fmla="*/ 633912 h 814388"/>
                  <a:gd name="connsiteX4" fmla="*/ 1172705 w 1382512"/>
                  <a:gd name="connsiteY4" fmla="*/ 782638 h 814388"/>
                  <a:gd name="connsiteX5" fmla="*/ 1349596 w 1382512"/>
                  <a:gd name="connsiteY5" fmla="*/ 633912 h 814388"/>
                  <a:gd name="connsiteX6" fmla="*/ 1345317 w 1382512"/>
                  <a:gd name="connsiteY6" fmla="*/ 586005 h 814388"/>
                  <a:gd name="connsiteX7" fmla="*/ 1311793 w 1382512"/>
                  <a:gd name="connsiteY7" fmla="*/ 488045 h 814388"/>
                  <a:gd name="connsiteX8" fmla="*/ 1172705 w 1382512"/>
                  <a:gd name="connsiteY8" fmla="*/ 90488 h 814388"/>
                  <a:gd name="connsiteX9" fmla="*/ 209806 w 1382512"/>
                  <a:gd name="connsiteY9" fmla="*/ 90488 h 814388"/>
                  <a:gd name="connsiteX10" fmla="*/ 70719 w 1382512"/>
                  <a:gd name="connsiteY10" fmla="*/ 488045 h 814388"/>
                  <a:gd name="connsiteX11" fmla="*/ 37195 w 1382512"/>
                  <a:gd name="connsiteY11" fmla="*/ 586005 h 814388"/>
                  <a:gd name="connsiteX12" fmla="*/ 32915 w 1382512"/>
                  <a:gd name="connsiteY12" fmla="*/ 633912 h 814388"/>
                  <a:gd name="connsiteX13" fmla="*/ 209806 w 1382512"/>
                  <a:gd name="connsiteY13" fmla="*/ 782638 h 814388"/>
                  <a:gd name="connsiteX14" fmla="*/ 385984 w 1382512"/>
                  <a:gd name="connsiteY14" fmla="*/ 633912 h 814388"/>
                  <a:gd name="connsiteX15" fmla="*/ 382418 w 1382512"/>
                  <a:gd name="connsiteY15" fmla="*/ 586005 h 814388"/>
                  <a:gd name="connsiteX16" fmla="*/ 348181 w 1382512"/>
                  <a:gd name="connsiteY16" fmla="*/ 488045 h 814388"/>
                  <a:gd name="connsiteX17" fmla="*/ 793649 w 1382512"/>
                  <a:gd name="connsiteY17" fmla="*/ 0 h 814388"/>
                  <a:gd name="connsiteX18" fmla="*/ 1174511 w 1382512"/>
                  <a:gd name="connsiteY18" fmla="*/ 27170 h 814388"/>
                  <a:gd name="connsiteX19" fmla="*/ 1176651 w 1382512"/>
                  <a:gd name="connsiteY19" fmla="*/ 27885 h 814388"/>
                  <a:gd name="connsiteX20" fmla="*/ 1177364 w 1382512"/>
                  <a:gd name="connsiteY20" fmla="*/ 27885 h 814388"/>
                  <a:gd name="connsiteX21" fmla="*/ 1179504 w 1382512"/>
                  <a:gd name="connsiteY21" fmla="*/ 28600 h 814388"/>
                  <a:gd name="connsiteX22" fmla="*/ 1180217 w 1382512"/>
                  <a:gd name="connsiteY22" fmla="*/ 28600 h 814388"/>
                  <a:gd name="connsiteX23" fmla="*/ 1182357 w 1382512"/>
                  <a:gd name="connsiteY23" fmla="*/ 30030 h 814388"/>
                  <a:gd name="connsiteX24" fmla="*/ 1183070 w 1382512"/>
                  <a:gd name="connsiteY24" fmla="*/ 30745 h 814388"/>
                  <a:gd name="connsiteX25" fmla="*/ 1184496 w 1382512"/>
                  <a:gd name="connsiteY25" fmla="*/ 32175 h 814388"/>
                  <a:gd name="connsiteX26" fmla="*/ 1185210 w 1382512"/>
                  <a:gd name="connsiteY26" fmla="*/ 32890 h 814388"/>
                  <a:gd name="connsiteX27" fmla="*/ 1185923 w 1382512"/>
                  <a:gd name="connsiteY27" fmla="*/ 34320 h 814388"/>
                  <a:gd name="connsiteX28" fmla="*/ 1186636 w 1382512"/>
                  <a:gd name="connsiteY28" fmla="*/ 35035 h 814388"/>
                  <a:gd name="connsiteX29" fmla="*/ 1187349 w 1382512"/>
                  <a:gd name="connsiteY29" fmla="*/ 36465 h 814388"/>
                  <a:gd name="connsiteX30" fmla="*/ 1188062 w 1382512"/>
                  <a:gd name="connsiteY30" fmla="*/ 37180 h 814388"/>
                  <a:gd name="connsiteX31" fmla="*/ 1188062 w 1382512"/>
                  <a:gd name="connsiteY31" fmla="*/ 37895 h 814388"/>
                  <a:gd name="connsiteX32" fmla="*/ 1341406 w 1382512"/>
                  <a:gd name="connsiteY32" fmla="*/ 477622 h 814388"/>
                  <a:gd name="connsiteX33" fmla="*/ 1375641 w 1382512"/>
                  <a:gd name="connsiteY33" fmla="*/ 576292 h 814388"/>
                  <a:gd name="connsiteX34" fmla="*/ 1380633 w 1382512"/>
                  <a:gd name="connsiteY34" fmla="*/ 639213 h 814388"/>
                  <a:gd name="connsiteX35" fmla="*/ 1173085 w 1382512"/>
                  <a:gd name="connsiteY35" fmla="*/ 814388 h 814388"/>
                  <a:gd name="connsiteX36" fmla="*/ 965536 w 1382512"/>
                  <a:gd name="connsiteY36" fmla="*/ 639213 h 814388"/>
                  <a:gd name="connsiteX37" fmla="*/ 971242 w 1382512"/>
                  <a:gd name="connsiteY37" fmla="*/ 576292 h 814388"/>
                  <a:gd name="connsiteX38" fmla="*/ 1004764 w 1382512"/>
                  <a:gd name="connsiteY38" fmla="*/ 478337 h 814388"/>
                  <a:gd name="connsiteX39" fmla="*/ 1150262 w 1382512"/>
                  <a:gd name="connsiteY39" fmla="*/ 60060 h 814388"/>
                  <a:gd name="connsiteX40" fmla="*/ 793649 w 1382512"/>
                  <a:gd name="connsiteY40" fmla="*/ 85800 h 814388"/>
                  <a:gd name="connsiteX41" fmla="*/ 802208 w 1382512"/>
                  <a:gd name="connsiteY41" fmla="*/ 53625 h 814388"/>
                  <a:gd name="connsiteX42" fmla="*/ 953412 w 1382512"/>
                  <a:gd name="connsiteY42" fmla="*/ 42900 h 814388"/>
                  <a:gd name="connsiteX43" fmla="*/ 802208 w 1382512"/>
                  <a:gd name="connsiteY43" fmla="*/ 32175 h 814388"/>
                  <a:gd name="connsiteX44" fmla="*/ 793649 w 1382512"/>
                  <a:gd name="connsiteY44" fmla="*/ 0 h 814388"/>
                  <a:gd name="connsiteX45" fmla="*/ 588862 w 1382512"/>
                  <a:gd name="connsiteY45" fmla="*/ 0 h 814388"/>
                  <a:gd name="connsiteX46" fmla="*/ 580304 w 1382512"/>
                  <a:gd name="connsiteY46" fmla="*/ 32175 h 814388"/>
                  <a:gd name="connsiteX47" fmla="*/ 429100 w 1382512"/>
                  <a:gd name="connsiteY47" fmla="*/ 42900 h 814388"/>
                  <a:gd name="connsiteX48" fmla="*/ 580304 w 1382512"/>
                  <a:gd name="connsiteY48" fmla="*/ 53625 h 814388"/>
                  <a:gd name="connsiteX49" fmla="*/ 588862 w 1382512"/>
                  <a:gd name="connsiteY49" fmla="*/ 85800 h 814388"/>
                  <a:gd name="connsiteX50" fmla="*/ 232250 w 1382512"/>
                  <a:gd name="connsiteY50" fmla="*/ 60060 h 814388"/>
                  <a:gd name="connsiteX51" fmla="*/ 377748 w 1382512"/>
                  <a:gd name="connsiteY51" fmla="*/ 477622 h 814388"/>
                  <a:gd name="connsiteX52" fmla="*/ 411269 w 1382512"/>
                  <a:gd name="connsiteY52" fmla="*/ 576292 h 814388"/>
                  <a:gd name="connsiteX53" fmla="*/ 416975 w 1382512"/>
                  <a:gd name="connsiteY53" fmla="*/ 639213 h 814388"/>
                  <a:gd name="connsiteX54" fmla="*/ 209427 w 1382512"/>
                  <a:gd name="connsiteY54" fmla="*/ 814388 h 814388"/>
                  <a:gd name="connsiteX55" fmla="*/ 1878 w 1382512"/>
                  <a:gd name="connsiteY55" fmla="*/ 639213 h 814388"/>
                  <a:gd name="connsiteX56" fmla="*/ 6871 w 1382512"/>
                  <a:gd name="connsiteY56" fmla="*/ 576292 h 814388"/>
                  <a:gd name="connsiteX57" fmla="*/ 41106 w 1382512"/>
                  <a:gd name="connsiteY57" fmla="*/ 478337 h 814388"/>
                  <a:gd name="connsiteX58" fmla="*/ 194449 w 1382512"/>
                  <a:gd name="connsiteY58" fmla="*/ 37895 h 814388"/>
                  <a:gd name="connsiteX59" fmla="*/ 194449 w 1382512"/>
                  <a:gd name="connsiteY59" fmla="*/ 37180 h 814388"/>
                  <a:gd name="connsiteX60" fmla="*/ 195162 w 1382512"/>
                  <a:gd name="connsiteY60" fmla="*/ 36465 h 814388"/>
                  <a:gd name="connsiteX61" fmla="*/ 195875 w 1382512"/>
                  <a:gd name="connsiteY61" fmla="*/ 35035 h 814388"/>
                  <a:gd name="connsiteX62" fmla="*/ 196589 w 1382512"/>
                  <a:gd name="connsiteY62" fmla="*/ 34320 h 814388"/>
                  <a:gd name="connsiteX63" fmla="*/ 197302 w 1382512"/>
                  <a:gd name="connsiteY63" fmla="*/ 32890 h 814388"/>
                  <a:gd name="connsiteX64" fmla="*/ 198015 w 1382512"/>
                  <a:gd name="connsiteY64" fmla="*/ 32175 h 814388"/>
                  <a:gd name="connsiteX65" fmla="*/ 199442 w 1382512"/>
                  <a:gd name="connsiteY65" fmla="*/ 30745 h 814388"/>
                  <a:gd name="connsiteX66" fmla="*/ 200155 w 1382512"/>
                  <a:gd name="connsiteY66" fmla="*/ 30030 h 814388"/>
                  <a:gd name="connsiteX67" fmla="*/ 202294 w 1382512"/>
                  <a:gd name="connsiteY67" fmla="*/ 28600 h 814388"/>
                  <a:gd name="connsiteX68" fmla="*/ 203008 w 1382512"/>
                  <a:gd name="connsiteY68" fmla="*/ 28600 h 814388"/>
                  <a:gd name="connsiteX69" fmla="*/ 205147 w 1382512"/>
                  <a:gd name="connsiteY69" fmla="*/ 27885 h 814388"/>
                  <a:gd name="connsiteX70" fmla="*/ 205861 w 1382512"/>
                  <a:gd name="connsiteY70" fmla="*/ 27885 h 814388"/>
                  <a:gd name="connsiteX71" fmla="*/ 208000 w 1382512"/>
                  <a:gd name="connsiteY71" fmla="*/ 27170 h 814388"/>
                  <a:gd name="connsiteX72" fmla="*/ 588862 w 1382512"/>
                  <a:gd name="connsiteY72" fmla="*/ 0 h 81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82512" h="814388">
                    <a:moveTo>
                      <a:pt x="1172705" y="90488"/>
                    </a:moveTo>
                    <a:cubicBezTo>
                      <a:pt x="1172705" y="90488"/>
                      <a:pt x="1172705" y="90488"/>
                      <a:pt x="1034331" y="488045"/>
                    </a:cubicBezTo>
                    <a:cubicBezTo>
                      <a:pt x="1034331" y="488045"/>
                      <a:pt x="1034331" y="488045"/>
                      <a:pt x="1000094" y="586005"/>
                    </a:cubicBezTo>
                    <a:cubicBezTo>
                      <a:pt x="995101" y="601735"/>
                      <a:pt x="993674" y="618181"/>
                      <a:pt x="996527" y="633912"/>
                    </a:cubicBezTo>
                    <a:cubicBezTo>
                      <a:pt x="1010793" y="719715"/>
                      <a:pt x="1084973" y="782638"/>
                      <a:pt x="1172705" y="782638"/>
                    </a:cubicBezTo>
                    <a:cubicBezTo>
                      <a:pt x="1260437" y="782638"/>
                      <a:pt x="1334617" y="719715"/>
                      <a:pt x="1349596" y="633912"/>
                    </a:cubicBezTo>
                    <a:cubicBezTo>
                      <a:pt x="1352449" y="618181"/>
                      <a:pt x="1351023" y="601735"/>
                      <a:pt x="1345317" y="586005"/>
                    </a:cubicBezTo>
                    <a:cubicBezTo>
                      <a:pt x="1345317" y="586005"/>
                      <a:pt x="1345317" y="586005"/>
                      <a:pt x="1311793" y="488045"/>
                    </a:cubicBezTo>
                    <a:cubicBezTo>
                      <a:pt x="1311793" y="488045"/>
                      <a:pt x="1311793" y="488045"/>
                      <a:pt x="1172705" y="90488"/>
                    </a:cubicBezTo>
                    <a:close/>
                    <a:moveTo>
                      <a:pt x="209806" y="90488"/>
                    </a:moveTo>
                    <a:cubicBezTo>
                      <a:pt x="209806" y="90488"/>
                      <a:pt x="209806" y="90488"/>
                      <a:pt x="70719" y="488045"/>
                    </a:cubicBezTo>
                    <a:cubicBezTo>
                      <a:pt x="70719" y="488045"/>
                      <a:pt x="70719" y="488045"/>
                      <a:pt x="37195" y="586005"/>
                    </a:cubicBezTo>
                    <a:cubicBezTo>
                      <a:pt x="31489" y="601735"/>
                      <a:pt x="30062" y="618181"/>
                      <a:pt x="32915" y="633912"/>
                    </a:cubicBezTo>
                    <a:cubicBezTo>
                      <a:pt x="47894" y="719715"/>
                      <a:pt x="122074" y="782638"/>
                      <a:pt x="209806" y="782638"/>
                    </a:cubicBezTo>
                    <a:cubicBezTo>
                      <a:pt x="297539" y="782638"/>
                      <a:pt x="371719" y="719715"/>
                      <a:pt x="385984" y="633912"/>
                    </a:cubicBezTo>
                    <a:cubicBezTo>
                      <a:pt x="388837" y="618181"/>
                      <a:pt x="387411" y="601735"/>
                      <a:pt x="382418" y="586005"/>
                    </a:cubicBezTo>
                    <a:cubicBezTo>
                      <a:pt x="382418" y="586005"/>
                      <a:pt x="382418" y="586005"/>
                      <a:pt x="348181" y="488045"/>
                    </a:cubicBezTo>
                    <a:close/>
                    <a:moveTo>
                      <a:pt x="793649" y="0"/>
                    </a:moveTo>
                    <a:cubicBezTo>
                      <a:pt x="793649" y="0"/>
                      <a:pt x="793649" y="0"/>
                      <a:pt x="1174511" y="27170"/>
                    </a:cubicBezTo>
                    <a:cubicBezTo>
                      <a:pt x="1175224" y="27170"/>
                      <a:pt x="1175938" y="27885"/>
                      <a:pt x="1176651" y="27885"/>
                    </a:cubicBezTo>
                    <a:cubicBezTo>
                      <a:pt x="1177364" y="27885"/>
                      <a:pt x="1177364" y="27885"/>
                      <a:pt x="1177364" y="27885"/>
                    </a:cubicBezTo>
                    <a:cubicBezTo>
                      <a:pt x="1178077" y="27885"/>
                      <a:pt x="1178791" y="28600"/>
                      <a:pt x="1179504" y="28600"/>
                    </a:cubicBezTo>
                    <a:cubicBezTo>
                      <a:pt x="1179504" y="28600"/>
                      <a:pt x="1180217" y="28600"/>
                      <a:pt x="1180217" y="28600"/>
                    </a:cubicBezTo>
                    <a:cubicBezTo>
                      <a:pt x="1180930" y="29315"/>
                      <a:pt x="1181643" y="30030"/>
                      <a:pt x="1182357" y="30030"/>
                    </a:cubicBezTo>
                    <a:cubicBezTo>
                      <a:pt x="1182357" y="30745"/>
                      <a:pt x="1183070" y="30745"/>
                      <a:pt x="1183070" y="30745"/>
                    </a:cubicBezTo>
                    <a:cubicBezTo>
                      <a:pt x="1183783" y="31460"/>
                      <a:pt x="1183783" y="31460"/>
                      <a:pt x="1184496" y="32175"/>
                    </a:cubicBezTo>
                    <a:cubicBezTo>
                      <a:pt x="1184496" y="32175"/>
                      <a:pt x="1185210" y="32175"/>
                      <a:pt x="1185210" y="32890"/>
                    </a:cubicBezTo>
                    <a:cubicBezTo>
                      <a:pt x="1185210" y="32890"/>
                      <a:pt x="1185923" y="33605"/>
                      <a:pt x="1185923" y="34320"/>
                    </a:cubicBezTo>
                    <a:cubicBezTo>
                      <a:pt x="1186636" y="34320"/>
                      <a:pt x="1186636" y="35035"/>
                      <a:pt x="1186636" y="35035"/>
                    </a:cubicBezTo>
                    <a:cubicBezTo>
                      <a:pt x="1186636" y="35750"/>
                      <a:pt x="1187349" y="35750"/>
                      <a:pt x="1187349" y="36465"/>
                    </a:cubicBezTo>
                    <a:cubicBezTo>
                      <a:pt x="1187349" y="36465"/>
                      <a:pt x="1188062" y="37180"/>
                      <a:pt x="1188062" y="37180"/>
                    </a:cubicBezTo>
                    <a:cubicBezTo>
                      <a:pt x="1188062" y="37895"/>
                      <a:pt x="1188062" y="37895"/>
                      <a:pt x="1188062" y="37895"/>
                    </a:cubicBezTo>
                    <a:cubicBezTo>
                      <a:pt x="1188062" y="37895"/>
                      <a:pt x="1188062" y="37895"/>
                      <a:pt x="1341406" y="477622"/>
                    </a:cubicBezTo>
                    <a:lnTo>
                      <a:pt x="1375641" y="576292"/>
                    </a:lnTo>
                    <a:cubicBezTo>
                      <a:pt x="1382773" y="597027"/>
                      <a:pt x="1384199" y="618477"/>
                      <a:pt x="1380633" y="639213"/>
                    </a:cubicBezTo>
                    <a:cubicBezTo>
                      <a:pt x="1363516" y="740743"/>
                      <a:pt x="1275789" y="814388"/>
                      <a:pt x="1173085" y="814388"/>
                    </a:cubicBezTo>
                    <a:cubicBezTo>
                      <a:pt x="1070380" y="814388"/>
                      <a:pt x="982654" y="740743"/>
                      <a:pt x="965536" y="639213"/>
                    </a:cubicBezTo>
                    <a:cubicBezTo>
                      <a:pt x="961970" y="618477"/>
                      <a:pt x="964110" y="597027"/>
                      <a:pt x="971242" y="576292"/>
                    </a:cubicBezTo>
                    <a:cubicBezTo>
                      <a:pt x="971242" y="576292"/>
                      <a:pt x="971242" y="576292"/>
                      <a:pt x="1004764" y="478337"/>
                    </a:cubicBezTo>
                    <a:cubicBezTo>
                      <a:pt x="1004764" y="478337"/>
                      <a:pt x="1004764" y="478337"/>
                      <a:pt x="1150262" y="60060"/>
                    </a:cubicBezTo>
                    <a:cubicBezTo>
                      <a:pt x="1150262" y="60060"/>
                      <a:pt x="1150262" y="60060"/>
                      <a:pt x="793649" y="85800"/>
                    </a:cubicBezTo>
                    <a:cubicBezTo>
                      <a:pt x="797929" y="75790"/>
                      <a:pt x="800781" y="65065"/>
                      <a:pt x="802208" y="53625"/>
                    </a:cubicBezTo>
                    <a:cubicBezTo>
                      <a:pt x="802208" y="53625"/>
                      <a:pt x="802208" y="53625"/>
                      <a:pt x="953412" y="42900"/>
                    </a:cubicBezTo>
                    <a:cubicBezTo>
                      <a:pt x="953412" y="42900"/>
                      <a:pt x="953412" y="42900"/>
                      <a:pt x="802208" y="32175"/>
                    </a:cubicBezTo>
                    <a:cubicBezTo>
                      <a:pt x="800781" y="20735"/>
                      <a:pt x="797929" y="10010"/>
                      <a:pt x="793649" y="0"/>
                    </a:cubicBezTo>
                    <a:close/>
                    <a:moveTo>
                      <a:pt x="588862" y="0"/>
                    </a:moveTo>
                    <a:cubicBezTo>
                      <a:pt x="584583" y="10010"/>
                      <a:pt x="581730" y="20735"/>
                      <a:pt x="580304" y="32175"/>
                    </a:cubicBezTo>
                    <a:cubicBezTo>
                      <a:pt x="580304" y="32175"/>
                      <a:pt x="580304" y="32175"/>
                      <a:pt x="429100" y="42900"/>
                    </a:cubicBezTo>
                    <a:cubicBezTo>
                      <a:pt x="429100" y="42900"/>
                      <a:pt x="429100" y="42900"/>
                      <a:pt x="580304" y="53625"/>
                    </a:cubicBezTo>
                    <a:cubicBezTo>
                      <a:pt x="581730" y="65065"/>
                      <a:pt x="584583" y="75790"/>
                      <a:pt x="588862" y="85800"/>
                    </a:cubicBezTo>
                    <a:cubicBezTo>
                      <a:pt x="588862" y="85800"/>
                      <a:pt x="588862" y="85800"/>
                      <a:pt x="232250" y="60060"/>
                    </a:cubicBezTo>
                    <a:cubicBezTo>
                      <a:pt x="232250" y="60060"/>
                      <a:pt x="232250" y="60060"/>
                      <a:pt x="377748" y="477622"/>
                    </a:cubicBezTo>
                    <a:cubicBezTo>
                      <a:pt x="377748" y="477622"/>
                      <a:pt x="377748" y="477622"/>
                      <a:pt x="411269" y="576292"/>
                    </a:cubicBezTo>
                    <a:cubicBezTo>
                      <a:pt x="418402" y="597027"/>
                      <a:pt x="420541" y="618477"/>
                      <a:pt x="416975" y="639213"/>
                    </a:cubicBezTo>
                    <a:cubicBezTo>
                      <a:pt x="399858" y="740743"/>
                      <a:pt x="312131" y="814388"/>
                      <a:pt x="209427" y="814388"/>
                    </a:cubicBezTo>
                    <a:cubicBezTo>
                      <a:pt x="106722" y="814388"/>
                      <a:pt x="18996" y="740743"/>
                      <a:pt x="1878" y="639213"/>
                    </a:cubicBezTo>
                    <a:cubicBezTo>
                      <a:pt x="-1688" y="618477"/>
                      <a:pt x="-261" y="597027"/>
                      <a:pt x="6871" y="576292"/>
                    </a:cubicBezTo>
                    <a:cubicBezTo>
                      <a:pt x="6871" y="576292"/>
                      <a:pt x="6871" y="576292"/>
                      <a:pt x="41106" y="478337"/>
                    </a:cubicBezTo>
                    <a:cubicBezTo>
                      <a:pt x="41106" y="478337"/>
                      <a:pt x="41106" y="478337"/>
                      <a:pt x="194449" y="37895"/>
                    </a:cubicBezTo>
                    <a:cubicBezTo>
                      <a:pt x="194449" y="37895"/>
                      <a:pt x="194449" y="37895"/>
                      <a:pt x="194449" y="37180"/>
                    </a:cubicBezTo>
                    <a:cubicBezTo>
                      <a:pt x="194449" y="37180"/>
                      <a:pt x="195162" y="36465"/>
                      <a:pt x="195162" y="36465"/>
                    </a:cubicBezTo>
                    <a:cubicBezTo>
                      <a:pt x="195162" y="35750"/>
                      <a:pt x="195875" y="35750"/>
                      <a:pt x="195875" y="35035"/>
                    </a:cubicBezTo>
                    <a:cubicBezTo>
                      <a:pt x="195875" y="35035"/>
                      <a:pt x="195875" y="34320"/>
                      <a:pt x="196589" y="34320"/>
                    </a:cubicBezTo>
                    <a:cubicBezTo>
                      <a:pt x="196589" y="33605"/>
                      <a:pt x="197302" y="32890"/>
                      <a:pt x="197302" y="32890"/>
                    </a:cubicBezTo>
                    <a:cubicBezTo>
                      <a:pt x="197302" y="32175"/>
                      <a:pt x="198015" y="32175"/>
                      <a:pt x="198015" y="32175"/>
                    </a:cubicBezTo>
                    <a:cubicBezTo>
                      <a:pt x="198728" y="31460"/>
                      <a:pt x="198728" y="31460"/>
                      <a:pt x="199442" y="30745"/>
                    </a:cubicBezTo>
                    <a:cubicBezTo>
                      <a:pt x="199442" y="30745"/>
                      <a:pt x="200155" y="30745"/>
                      <a:pt x="200155" y="30030"/>
                    </a:cubicBezTo>
                    <a:cubicBezTo>
                      <a:pt x="200868" y="30030"/>
                      <a:pt x="201581" y="29315"/>
                      <a:pt x="202294" y="28600"/>
                    </a:cubicBezTo>
                    <a:cubicBezTo>
                      <a:pt x="202294" y="28600"/>
                      <a:pt x="203008" y="28600"/>
                      <a:pt x="203008" y="28600"/>
                    </a:cubicBezTo>
                    <a:cubicBezTo>
                      <a:pt x="203721" y="28600"/>
                      <a:pt x="204434" y="27885"/>
                      <a:pt x="205147" y="27885"/>
                    </a:cubicBezTo>
                    <a:cubicBezTo>
                      <a:pt x="205147" y="27885"/>
                      <a:pt x="205147" y="27885"/>
                      <a:pt x="205861" y="27885"/>
                    </a:cubicBezTo>
                    <a:cubicBezTo>
                      <a:pt x="206574" y="27885"/>
                      <a:pt x="207287" y="27170"/>
                      <a:pt x="208000" y="27170"/>
                    </a:cubicBezTo>
                    <a:cubicBezTo>
                      <a:pt x="208000" y="27170"/>
                      <a:pt x="208000" y="27170"/>
                      <a:pt x="58886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8" name="Freeform 27">
                <a:extLst>
                  <a:ext uri="{FF2B5EF4-FFF2-40B4-BE49-F238E27FC236}">
                    <a16:creationId xmlns:a16="http://schemas.microsoft.com/office/drawing/2014/main" id="{348822FF-8B4B-9E46-916B-9CE0E345A977}"/>
                  </a:ext>
                </a:extLst>
              </p:cNvPr>
              <p:cNvSpPr>
                <a:spLocks/>
              </p:cNvSpPr>
              <p:nvPr/>
            </p:nvSpPr>
            <p:spPr bwMode="auto">
              <a:xfrm>
                <a:off x="5465763" y="2919413"/>
                <a:ext cx="1258887" cy="1098550"/>
              </a:xfrm>
              <a:custGeom>
                <a:avLst/>
                <a:gdLst>
                  <a:gd name="connsiteX0" fmla="*/ 963612 w 1258887"/>
                  <a:gd name="connsiteY0" fmla="*/ 644525 h 1098550"/>
                  <a:gd name="connsiteX1" fmla="*/ 1258887 w 1258887"/>
                  <a:gd name="connsiteY1" fmla="*/ 644525 h 1098550"/>
                  <a:gd name="connsiteX2" fmla="*/ 1111250 w 1258887"/>
                  <a:gd name="connsiteY2" fmla="*/ 787400 h 1098550"/>
                  <a:gd name="connsiteX3" fmla="*/ 963612 w 1258887"/>
                  <a:gd name="connsiteY3" fmla="*/ 644525 h 1098550"/>
                  <a:gd name="connsiteX4" fmla="*/ 0 w 1258887"/>
                  <a:gd name="connsiteY4" fmla="*/ 644525 h 1098550"/>
                  <a:gd name="connsiteX5" fmla="*/ 295275 w 1258887"/>
                  <a:gd name="connsiteY5" fmla="*/ 644525 h 1098550"/>
                  <a:gd name="connsiteX6" fmla="*/ 147637 w 1258887"/>
                  <a:gd name="connsiteY6" fmla="*/ 787400 h 1098550"/>
                  <a:gd name="connsiteX7" fmla="*/ 0 w 1258887"/>
                  <a:gd name="connsiteY7" fmla="*/ 644525 h 1098550"/>
                  <a:gd name="connsiteX8" fmla="*/ 629881 w 1258887"/>
                  <a:gd name="connsiteY8" fmla="*/ 0 h 1098550"/>
                  <a:gd name="connsiteX9" fmla="*/ 634873 w 1258887"/>
                  <a:gd name="connsiteY9" fmla="*/ 0 h 1098550"/>
                  <a:gd name="connsiteX10" fmla="*/ 694786 w 1258887"/>
                  <a:gd name="connsiteY10" fmla="*/ 33571 h 1098550"/>
                  <a:gd name="connsiteX11" fmla="*/ 708338 w 1258887"/>
                  <a:gd name="connsiteY11" fmla="*/ 66427 h 1098550"/>
                  <a:gd name="connsiteX12" fmla="*/ 709051 w 1258887"/>
                  <a:gd name="connsiteY12" fmla="*/ 74999 h 1098550"/>
                  <a:gd name="connsiteX13" fmla="*/ 708338 w 1258887"/>
                  <a:gd name="connsiteY13" fmla="*/ 92855 h 1098550"/>
                  <a:gd name="connsiteX14" fmla="*/ 694786 w 1258887"/>
                  <a:gd name="connsiteY14" fmla="*/ 124998 h 1098550"/>
                  <a:gd name="connsiteX15" fmla="*/ 670536 w 1258887"/>
                  <a:gd name="connsiteY15" fmla="*/ 147854 h 1098550"/>
                  <a:gd name="connsiteX16" fmla="*/ 670536 w 1258887"/>
                  <a:gd name="connsiteY16" fmla="*/ 987838 h 1098550"/>
                  <a:gd name="connsiteX17" fmla="*/ 682661 w 1258887"/>
                  <a:gd name="connsiteY17" fmla="*/ 1002838 h 1098550"/>
                  <a:gd name="connsiteX18" fmla="*/ 939431 w 1258887"/>
                  <a:gd name="connsiteY18" fmla="*/ 1067837 h 1098550"/>
                  <a:gd name="connsiteX19" fmla="*/ 935865 w 1258887"/>
                  <a:gd name="connsiteY19" fmla="*/ 1098550 h 1098550"/>
                  <a:gd name="connsiteX20" fmla="*/ 324610 w 1258887"/>
                  <a:gd name="connsiteY20" fmla="*/ 1098550 h 1098550"/>
                  <a:gd name="connsiteX21" fmla="*/ 321043 w 1258887"/>
                  <a:gd name="connsiteY21" fmla="*/ 1067837 h 1098550"/>
                  <a:gd name="connsiteX22" fmla="*/ 581380 w 1258887"/>
                  <a:gd name="connsiteY22" fmla="*/ 1002838 h 1098550"/>
                  <a:gd name="connsiteX23" fmla="*/ 593505 w 1258887"/>
                  <a:gd name="connsiteY23" fmla="*/ 987838 h 1098550"/>
                  <a:gd name="connsiteX24" fmla="*/ 593505 w 1258887"/>
                  <a:gd name="connsiteY24" fmla="*/ 149997 h 1098550"/>
                  <a:gd name="connsiteX25" fmla="*/ 564975 w 1258887"/>
                  <a:gd name="connsiteY25" fmla="*/ 124998 h 1098550"/>
                  <a:gd name="connsiteX26" fmla="*/ 551423 w 1258887"/>
                  <a:gd name="connsiteY26" fmla="*/ 92855 h 1098550"/>
                  <a:gd name="connsiteX27" fmla="*/ 550710 w 1258887"/>
                  <a:gd name="connsiteY27" fmla="*/ 79284 h 1098550"/>
                  <a:gd name="connsiteX28" fmla="*/ 551423 w 1258887"/>
                  <a:gd name="connsiteY28" fmla="*/ 66427 h 1098550"/>
                  <a:gd name="connsiteX29" fmla="*/ 564975 w 1258887"/>
                  <a:gd name="connsiteY29" fmla="*/ 33571 h 1098550"/>
                  <a:gd name="connsiteX30" fmla="*/ 629881 w 1258887"/>
                  <a:gd name="connsiteY30"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8887" h="1098550">
                    <a:moveTo>
                      <a:pt x="963612" y="644525"/>
                    </a:moveTo>
                    <a:cubicBezTo>
                      <a:pt x="963612" y="644525"/>
                      <a:pt x="963612" y="644525"/>
                      <a:pt x="1258887" y="644525"/>
                    </a:cubicBezTo>
                    <a:cubicBezTo>
                      <a:pt x="1256748" y="723106"/>
                      <a:pt x="1190418" y="787400"/>
                      <a:pt x="1111250" y="787400"/>
                    </a:cubicBezTo>
                    <a:cubicBezTo>
                      <a:pt x="1032795" y="787400"/>
                      <a:pt x="966465" y="723106"/>
                      <a:pt x="963612" y="644525"/>
                    </a:cubicBezTo>
                    <a:close/>
                    <a:moveTo>
                      <a:pt x="0" y="644525"/>
                    </a:moveTo>
                    <a:cubicBezTo>
                      <a:pt x="0" y="644525"/>
                      <a:pt x="0" y="644525"/>
                      <a:pt x="295275" y="644525"/>
                    </a:cubicBezTo>
                    <a:cubicBezTo>
                      <a:pt x="292422" y="723106"/>
                      <a:pt x="226092" y="787400"/>
                      <a:pt x="147637" y="787400"/>
                    </a:cubicBezTo>
                    <a:cubicBezTo>
                      <a:pt x="68469" y="787400"/>
                      <a:pt x="2139" y="723106"/>
                      <a:pt x="0" y="644525"/>
                    </a:cubicBezTo>
                    <a:close/>
                    <a:moveTo>
                      <a:pt x="629881" y="0"/>
                    </a:moveTo>
                    <a:cubicBezTo>
                      <a:pt x="631307" y="0"/>
                      <a:pt x="633447" y="0"/>
                      <a:pt x="634873" y="0"/>
                    </a:cubicBezTo>
                    <a:cubicBezTo>
                      <a:pt x="659837" y="1429"/>
                      <a:pt x="681235" y="14286"/>
                      <a:pt x="694786" y="33571"/>
                    </a:cubicBezTo>
                    <a:cubicBezTo>
                      <a:pt x="701919" y="43571"/>
                      <a:pt x="706198" y="54285"/>
                      <a:pt x="708338" y="66427"/>
                    </a:cubicBezTo>
                    <a:cubicBezTo>
                      <a:pt x="709051" y="69284"/>
                      <a:pt x="709051" y="72142"/>
                      <a:pt x="709051" y="74999"/>
                    </a:cubicBezTo>
                    <a:cubicBezTo>
                      <a:pt x="709765" y="80713"/>
                      <a:pt x="709051" y="87141"/>
                      <a:pt x="708338" y="92855"/>
                    </a:cubicBezTo>
                    <a:cubicBezTo>
                      <a:pt x="706198" y="104284"/>
                      <a:pt x="701919" y="115712"/>
                      <a:pt x="694786" y="124998"/>
                    </a:cubicBezTo>
                    <a:cubicBezTo>
                      <a:pt x="688367" y="134283"/>
                      <a:pt x="680521" y="142140"/>
                      <a:pt x="670536" y="147854"/>
                    </a:cubicBezTo>
                    <a:cubicBezTo>
                      <a:pt x="670536" y="147854"/>
                      <a:pt x="670536" y="147854"/>
                      <a:pt x="670536" y="987838"/>
                    </a:cubicBezTo>
                    <a:cubicBezTo>
                      <a:pt x="670536" y="994981"/>
                      <a:pt x="675529" y="1001409"/>
                      <a:pt x="682661" y="1002838"/>
                    </a:cubicBezTo>
                    <a:cubicBezTo>
                      <a:pt x="682661" y="1002838"/>
                      <a:pt x="682661" y="1002838"/>
                      <a:pt x="939431" y="1067837"/>
                    </a:cubicBezTo>
                    <a:cubicBezTo>
                      <a:pt x="957262" y="1072122"/>
                      <a:pt x="954409" y="1098550"/>
                      <a:pt x="935865" y="1098550"/>
                    </a:cubicBezTo>
                    <a:cubicBezTo>
                      <a:pt x="935865" y="1098550"/>
                      <a:pt x="935865" y="1098550"/>
                      <a:pt x="324610" y="1098550"/>
                    </a:cubicBezTo>
                    <a:cubicBezTo>
                      <a:pt x="306065" y="1098550"/>
                      <a:pt x="303212" y="1072122"/>
                      <a:pt x="321043" y="1067837"/>
                    </a:cubicBezTo>
                    <a:cubicBezTo>
                      <a:pt x="321043" y="1067837"/>
                      <a:pt x="321043" y="1067837"/>
                      <a:pt x="581380" y="1002838"/>
                    </a:cubicBezTo>
                    <a:cubicBezTo>
                      <a:pt x="588512" y="1001409"/>
                      <a:pt x="593505" y="994981"/>
                      <a:pt x="593505" y="987838"/>
                    </a:cubicBezTo>
                    <a:cubicBezTo>
                      <a:pt x="593505" y="987838"/>
                      <a:pt x="593505" y="987838"/>
                      <a:pt x="593505" y="149997"/>
                    </a:cubicBezTo>
                    <a:cubicBezTo>
                      <a:pt x="582093" y="144283"/>
                      <a:pt x="572107" y="135712"/>
                      <a:pt x="564975" y="124998"/>
                    </a:cubicBezTo>
                    <a:cubicBezTo>
                      <a:pt x="557842" y="115712"/>
                      <a:pt x="553563" y="104284"/>
                      <a:pt x="551423" y="92855"/>
                    </a:cubicBezTo>
                    <a:cubicBezTo>
                      <a:pt x="550710" y="88570"/>
                      <a:pt x="550710" y="83570"/>
                      <a:pt x="550710" y="79284"/>
                    </a:cubicBezTo>
                    <a:cubicBezTo>
                      <a:pt x="550710" y="74999"/>
                      <a:pt x="550710" y="70713"/>
                      <a:pt x="551423" y="66427"/>
                    </a:cubicBezTo>
                    <a:cubicBezTo>
                      <a:pt x="553563" y="54285"/>
                      <a:pt x="557842" y="43571"/>
                      <a:pt x="564975" y="33571"/>
                    </a:cubicBezTo>
                    <a:cubicBezTo>
                      <a:pt x="579240" y="12857"/>
                      <a:pt x="602777" y="0"/>
                      <a:pt x="62988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29" name="Group 28">
            <a:extLst>
              <a:ext uri="{FF2B5EF4-FFF2-40B4-BE49-F238E27FC236}">
                <a16:creationId xmlns:a16="http://schemas.microsoft.com/office/drawing/2014/main" id="{EE3E4305-DBAA-874C-9D79-152D488BEA64}"/>
              </a:ext>
            </a:extLst>
          </p:cNvPr>
          <p:cNvGrpSpPr>
            <a:grpSpLocks noChangeAspect="1"/>
          </p:cNvGrpSpPr>
          <p:nvPr/>
        </p:nvGrpSpPr>
        <p:grpSpPr>
          <a:xfrm>
            <a:off x="364111" y="4342269"/>
            <a:ext cx="617231" cy="617231"/>
            <a:chOff x="5256341" y="2517774"/>
            <a:chExt cx="1646238" cy="1646238"/>
          </a:xfrm>
        </p:grpSpPr>
        <p:sp>
          <p:nvSpPr>
            <p:cNvPr id="30" name="AutoShape 107">
              <a:extLst>
                <a:ext uri="{FF2B5EF4-FFF2-40B4-BE49-F238E27FC236}">
                  <a16:creationId xmlns:a16="http://schemas.microsoft.com/office/drawing/2014/main" id="{6E19C7BF-9EF2-ED4D-AB11-7B8C941A4F1A}"/>
                </a:ext>
              </a:extLst>
            </p:cNvPr>
            <p:cNvSpPr>
              <a:spLocks noChangeAspect="1" noChangeArrowheads="1" noTextEdit="1"/>
            </p:cNvSpPr>
            <p:nvPr/>
          </p:nvSpPr>
          <p:spPr bwMode="auto">
            <a:xfrm>
              <a:off x="5256341" y="2517774"/>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 name="Group 30">
              <a:extLst>
                <a:ext uri="{FF2B5EF4-FFF2-40B4-BE49-F238E27FC236}">
                  <a16:creationId xmlns:a16="http://schemas.microsoft.com/office/drawing/2014/main" id="{76667B9F-6FBE-7047-AB74-4E8BEB45E95C}"/>
                </a:ext>
              </a:extLst>
            </p:cNvPr>
            <p:cNvGrpSpPr/>
            <p:nvPr/>
          </p:nvGrpSpPr>
          <p:grpSpPr>
            <a:xfrm>
              <a:off x="5432682" y="2692400"/>
              <a:ext cx="1293556" cy="1296987"/>
              <a:chOff x="5432682" y="2692400"/>
              <a:chExt cx="1293556" cy="1296987"/>
            </a:xfrm>
          </p:grpSpPr>
          <p:sp>
            <p:nvSpPr>
              <p:cNvPr id="32" name="Freeform 31">
                <a:extLst>
                  <a:ext uri="{FF2B5EF4-FFF2-40B4-BE49-F238E27FC236}">
                    <a16:creationId xmlns:a16="http://schemas.microsoft.com/office/drawing/2014/main" id="{02BF4939-EA2F-A148-94D1-DFC969256465}"/>
                  </a:ext>
                </a:extLst>
              </p:cNvPr>
              <p:cNvSpPr>
                <a:spLocks/>
              </p:cNvSpPr>
              <p:nvPr/>
            </p:nvSpPr>
            <p:spPr bwMode="auto">
              <a:xfrm>
                <a:off x="5432682" y="2753317"/>
                <a:ext cx="1285289" cy="1236070"/>
              </a:xfrm>
              <a:custGeom>
                <a:avLst/>
                <a:gdLst>
                  <a:gd name="connsiteX0" fmla="*/ 233276 w 1285289"/>
                  <a:gd name="connsiteY0" fmla="*/ 991595 h 1236070"/>
                  <a:gd name="connsiteX1" fmla="*/ 630639 w 1285289"/>
                  <a:gd name="connsiteY1" fmla="*/ 1202571 h 1236070"/>
                  <a:gd name="connsiteX2" fmla="*/ 1078030 w 1285289"/>
                  <a:gd name="connsiteY2" fmla="*/ 1042201 h 1236070"/>
                  <a:gd name="connsiteX3" fmla="*/ 1008706 w 1285289"/>
                  <a:gd name="connsiteY3" fmla="*/ 1044339 h 1236070"/>
                  <a:gd name="connsiteX4" fmla="*/ 992268 w 1285289"/>
                  <a:gd name="connsiteY4" fmla="*/ 1029371 h 1236070"/>
                  <a:gd name="connsiteX5" fmla="*/ 1007991 w 1285289"/>
                  <a:gd name="connsiteY5" fmla="*/ 1012978 h 1236070"/>
                  <a:gd name="connsiteX6" fmla="*/ 1115908 w 1285289"/>
                  <a:gd name="connsiteY6" fmla="*/ 1010127 h 1236070"/>
                  <a:gd name="connsiteX7" fmla="*/ 1118052 w 1285289"/>
                  <a:gd name="connsiteY7" fmla="*/ 1010127 h 1236070"/>
                  <a:gd name="connsiteX8" fmla="*/ 1118767 w 1285289"/>
                  <a:gd name="connsiteY8" fmla="*/ 1010127 h 1236070"/>
                  <a:gd name="connsiteX9" fmla="*/ 1120911 w 1285289"/>
                  <a:gd name="connsiteY9" fmla="*/ 1010840 h 1236070"/>
                  <a:gd name="connsiteX10" fmla="*/ 1121626 w 1285289"/>
                  <a:gd name="connsiteY10" fmla="*/ 1010840 h 1236070"/>
                  <a:gd name="connsiteX11" fmla="*/ 1123770 w 1285289"/>
                  <a:gd name="connsiteY11" fmla="*/ 1012265 h 1236070"/>
                  <a:gd name="connsiteX12" fmla="*/ 1124484 w 1285289"/>
                  <a:gd name="connsiteY12" fmla="*/ 1012265 h 1236070"/>
                  <a:gd name="connsiteX13" fmla="*/ 1126628 w 1285289"/>
                  <a:gd name="connsiteY13" fmla="*/ 1013691 h 1236070"/>
                  <a:gd name="connsiteX14" fmla="*/ 1127343 w 1285289"/>
                  <a:gd name="connsiteY14" fmla="*/ 1014403 h 1236070"/>
                  <a:gd name="connsiteX15" fmla="*/ 1128772 w 1285289"/>
                  <a:gd name="connsiteY15" fmla="*/ 1015829 h 1236070"/>
                  <a:gd name="connsiteX16" fmla="*/ 1128772 w 1285289"/>
                  <a:gd name="connsiteY16" fmla="*/ 1016542 h 1236070"/>
                  <a:gd name="connsiteX17" fmla="*/ 1130202 w 1285289"/>
                  <a:gd name="connsiteY17" fmla="*/ 1018680 h 1236070"/>
                  <a:gd name="connsiteX18" fmla="*/ 1130202 w 1285289"/>
                  <a:gd name="connsiteY18" fmla="*/ 1019393 h 1236070"/>
                  <a:gd name="connsiteX19" fmla="*/ 1131631 w 1285289"/>
                  <a:gd name="connsiteY19" fmla="*/ 1021531 h 1236070"/>
                  <a:gd name="connsiteX20" fmla="*/ 1131631 w 1285289"/>
                  <a:gd name="connsiteY20" fmla="*/ 1022244 h 1236070"/>
                  <a:gd name="connsiteX21" fmla="*/ 1131631 w 1285289"/>
                  <a:gd name="connsiteY21" fmla="*/ 1024382 h 1236070"/>
                  <a:gd name="connsiteX22" fmla="*/ 1131631 w 1285289"/>
                  <a:gd name="connsiteY22" fmla="*/ 1025095 h 1236070"/>
                  <a:gd name="connsiteX23" fmla="*/ 1131631 w 1285289"/>
                  <a:gd name="connsiteY23" fmla="*/ 1026520 h 1236070"/>
                  <a:gd name="connsiteX24" fmla="*/ 1126628 w 1285289"/>
                  <a:gd name="connsiteY24" fmla="*/ 1132008 h 1236070"/>
                  <a:gd name="connsiteX25" fmla="*/ 1110905 w 1285289"/>
                  <a:gd name="connsiteY25" fmla="*/ 1147689 h 1236070"/>
                  <a:gd name="connsiteX26" fmla="*/ 1110191 w 1285289"/>
                  <a:gd name="connsiteY26" fmla="*/ 1147689 h 1236070"/>
                  <a:gd name="connsiteX27" fmla="*/ 1095182 w 1285289"/>
                  <a:gd name="connsiteY27" fmla="*/ 1130582 h 1236070"/>
                  <a:gd name="connsiteX28" fmla="*/ 1098041 w 1285289"/>
                  <a:gd name="connsiteY28" fmla="*/ 1066434 h 1236070"/>
                  <a:gd name="connsiteX29" fmla="*/ 905077 w 1285289"/>
                  <a:gd name="connsiteY29" fmla="*/ 1192592 h 1236070"/>
                  <a:gd name="connsiteX30" fmla="*/ 679952 w 1285289"/>
                  <a:gd name="connsiteY30" fmla="*/ 1236070 h 1236070"/>
                  <a:gd name="connsiteX31" fmla="*/ 627780 w 1285289"/>
                  <a:gd name="connsiteY31" fmla="*/ 1233932 h 1236070"/>
                  <a:gd name="connsiteX32" fmla="*/ 361918 w 1285289"/>
                  <a:gd name="connsiteY32" fmla="*/ 1146263 h 1236070"/>
                  <a:gd name="connsiteX33" fmla="*/ 206118 w 1285289"/>
                  <a:gd name="connsiteY33" fmla="*/ 1007988 h 1236070"/>
                  <a:gd name="connsiteX34" fmla="*/ 233276 w 1285289"/>
                  <a:gd name="connsiteY34" fmla="*/ 991595 h 1236070"/>
                  <a:gd name="connsiteX35" fmla="*/ 520755 w 1285289"/>
                  <a:gd name="connsiteY35" fmla="*/ 47032 h 1236070"/>
                  <a:gd name="connsiteX36" fmla="*/ 520755 w 1285289"/>
                  <a:gd name="connsiteY36" fmla="*/ 49891 h 1236070"/>
                  <a:gd name="connsiteX37" fmla="*/ 523619 w 1285289"/>
                  <a:gd name="connsiteY37" fmla="*/ 78479 h 1236070"/>
                  <a:gd name="connsiteX38" fmla="*/ 108403 w 1285289"/>
                  <a:gd name="connsiteY38" fmla="*/ 563049 h 1236070"/>
                  <a:gd name="connsiteX39" fmla="*/ 106255 w 1285289"/>
                  <a:gd name="connsiteY39" fmla="*/ 678831 h 1236070"/>
                  <a:gd name="connsiteX40" fmla="*/ 147061 w 1285289"/>
                  <a:gd name="connsiteY40" fmla="*/ 624513 h 1236070"/>
                  <a:gd name="connsiteX41" fmla="*/ 169253 w 1285289"/>
                  <a:gd name="connsiteY41" fmla="*/ 620940 h 1236070"/>
                  <a:gd name="connsiteX42" fmla="*/ 172833 w 1285289"/>
                  <a:gd name="connsiteY42" fmla="*/ 643096 h 1236070"/>
                  <a:gd name="connsiteX43" fmla="*/ 108403 w 1285289"/>
                  <a:gd name="connsiteY43" fmla="*/ 728860 h 1236070"/>
                  <a:gd name="connsiteX44" fmla="*/ 107687 w 1285289"/>
                  <a:gd name="connsiteY44" fmla="*/ 729575 h 1236070"/>
                  <a:gd name="connsiteX45" fmla="*/ 106255 w 1285289"/>
                  <a:gd name="connsiteY45" fmla="*/ 731719 h 1236070"/>
                  <a:gd name="connsiteX46" fmla="*/ 105539 w 1285289"/>
                  <a:gd name="connsiteY46" fmla="*/ 731719 h 1236070"/>
                  <a:gd name="connsiteX47" fmla="*/ 104107 w 1285289"/>
                  <a:gd name="connsiteY47" fmla="*/ 733148 h 1236070"/>
                  <a:gd name="connsiteX48" fmla="*/ 102676 w 1285289"/>
                  <a:gd name="connsiteY48" fmla="*/ 733863 h 1236070"/>
                  <a:gd name="connsiteX49" fmla="*/ 101244 w 1285289"/>
                  <a:gd name="connsiteY49" fmla="*/ 734578 h 1236070"/>
                  <a:gd name="connsiteX50" fmla="*/ 98380 w 1285289"/>
                  <a:gd name="connsiteY50" fmla="*/ 735292 h 1236070"/>
                  <a:gd name="connsiteX51" fmla="*/ 97664 w 1285289"/>
                  <a:gd name="connsiteY51" fmla="*/ 735292 h 1236070"/>
                  <a:gd name="connsiteX52" fmla="*/ 96949 w 1285289"/>
                  <a:gd name="connsiteY52" fmla="*/ 735292 h 1236070"/>
                  <a:gd name="connsiteX53" fmla="*/ 96949 w 1285289"/>
                  <a:gd name="connsiteY53" fmla="*/ 736007 h 1236070"/>
                  <a:gd name="connsiteX54" fmla="*/ 95517 w 1285289"/>
                  <a:gd name="connsiteY54" fmla="*/ 736007 h 1236070"/>
                  <a:gd name="connsiteX55" fmla="*/ 92653 w 1285289"/>
                  <a:gd name="connsiteY55" fmla="*/ 735292 h 1236070"/>
                  <a:gd name="connsiteX56" fmla="*/ 89790 w 1285289"/>
                  <a:gd name="connsiteY56" fmla="*/ 734578 h 1236070"/>
                  <a:gd name="connsiteX57" fmla="*/ 87642 w 1285289"/>
                  <a:gd name="connsiteY57" fmla="*/ 733863 h 1236070"/>
                  <a:gd name="connsiteX58" fmla="*/ 85494 w 1285289"/>
                  <a:gd name="connsiteY58" fmla="*/ 732434 h 1236070"/>
                  <a:gd name="connsiteX59" fmla="*/ 84778 w 1285289"/>
                  <a:gd name="connsiteY59" fmla="*/ 731719 h 1236070"/>
                  <a:gd name="connsiteX60" fmla="*/ 5315 w 1285289"/>
                  <a:gd name="connsiteY60" fmla="*/ 660963 h 1236070"/>
                  <a:gd name="connsiteX61" fmla="*/ 3883 w 1285289"/>
                  <a:gd name="connsiteY61" fmla="*/ 638807 h 1236070"/>
                  <a:gd name="connsiteX62" fmla="*/ 26075 w 1285289"/>
                  <a:gd name="connsiteY62" fmla="*/ 637378 h 1236070"/>
                  <a:gd name="connsiteX63" fmla="*/ 74756 w 1285289"/>
                  <a:gd name="connsiteY63" fmla="*/ 680975 h 1236070"/>
                  <a:gd name="connsiteX64" fmla="*/ 76904 w 1285289"/>
                  <a:gd name="connsiteY64" fmla="*/ 559475 h 1236070"/>
                  <a:gd name="connsiteX65" fmla="*/ 520755 w 1285289"/>
                  <a:gd name="connsiteY65" fmla="*/ 47032 h 1236070"/>
                  <a:gd name="connsiteX66" fmla="*/ 932443 w 1285289"/>
                  <a:gd name="connsiteY66" fmla="*/ 1029 h 1236070"/>
                  <a:gd name="connsiteX67" fmla="*/ 941187 w 1285289"/>
                  <a:gd name="connsiteY67" fmla="*/ 9230 h 1236070"/>
                  <a:gd name="connsiteX68" fmla="*/ 933335 w 1285289"/>
                  <a:gd name="connsiteY68" fmla="*/ 29910 h 1236070"/>
                  <a:gd name="connsiteX69" fmla="*/ 874090 w 1285289"/>
                  <a:gd name="connsiteY69" fmla="*/ 57009 h 1236070"/>
                  <a:gd name="connsiteX70" fmla="*/ 1283809 w 1285289"/>
                  <a:gd name="connsiteY70" fmla="*/ 671716 h 1236070"/>
                  <a:gd name="connsiteX71" fmla="*/ 1270960 w 1285289"/>
                  <a:gd name="connsiteY71" fmla="*/ 762995 h 1236070"/>
                  <a:gd name="connsiteX72" fmla="*/ 1242409 w 1285289"/>
                  <a:gd name="connsiteY72" fmla="*/ 745880 h 1236070"/>
                  <a:gd name="connsiteX73" fmla="*/ 1252402 w 1285289"/>
                  <a:gd name="connsiteY73" fmla="*/ 669577 h 1236070"/>
                  <a:gd name="connsiteX74" fmla="*/ 862669 w 1285289"/>
                  <a:gd name="connsiteY74" fmla="*/ 86247 h 1236070"/>
                  <a:gd name="connsiteX75" fmla="*/ 896932 w 1285289"/>
                  <a:gd name="connsiteY75" fmla="*/ 146149 h 1236070"/>
                  <a:gd name="connsiteX76" fmla="*/ 890507 w 1285289"/>
                  <a:gd name="connsiteY76" fmla="*/ 167542 h 1236070"/>
                  <a:gd name="connsiteX77" fmla="*/ 882656 w 1285289"/>
                  <a:gd name="connsiteY77" fmla="*/ 169681 h 1236070"/>
                  <a:gd name="connsiteX78" fmla="*/ 869094 w 1285289"/>
                  <a:gd name="connsiteY78" fmla="*/ 161837 h 1236070"/>
                  <a:gd name="connsiteX79" fmla="*/ 815559 w 1285289"/>
                  <a:gd name="connsiteY79" fmla="*/ 67706 h 1236070"/>
                  <a:gd name="connsiteX80" fmla="*/ 815559 w 1285289"/>
                  <a:gd name="connsiteY80" fmla="*/ 66993 h 1236070"/>
                  <a:gd name="connsiteX81" fmla="*/ 815559 w 1285289"/>
                  <a:gd name="connsiteY81" fmla="*/ 66279 h 1236070"/>
                  <a:gd name="connsiteX82" fmla="*/ 814845 w 1285289"/>
                  <a:gd name="connsiteY82" fmla="*/ 65566 h 1236070"/>
                  <a:gd name="connsiteX83" fmla="*/ 814845 w 1285289"/>
                  <a:gd name="connsiteY83" fmla="*/ 64853 h 1236070"/>
                  <a:gd name="connsiteX84" fmla="*/ 814845 w 1285289"/>
                  <a:gd name="connsiteY84" fmla="*/ 64140 h 1236070"/>
                  <a:gd name="connsiteX85" fmla="*/ 814131 w 1285289"/>
                  <a:gd name="connsiteY85" fmla="*/ 63427 h 1236070"/>
                  <a:gd name="connsiteX86" fmla="*/ 814131 w 1285289"/>
                  <a:gd name="connsiteY86" fmla="*/ 62714 h 1236070"/>
                  <a:gd name="connsiteX87" fmla="*/ 814131 w 1285289"/>
                  <a:gd name="connsiteY87" fmla="*/ 62001 h 1236070"/>
                  <a:gd name="connsiteX88" fmla="*/ 814131 w 1285289"/>
                  <a:gd name="connsiteY88" fmla="*/ 61288 h 1236070"/>
                  <a:gd name="connsiteX89" fmla="*/ 814131 w 1285289"/>
                  <a:gd name="connsiteY89" fmla="*/ 60574 h 1236070"/>
                  <a:gd name="connsiteX90" fmla="*/ 814131 w 1285289"/>
                  <a:gd name="connsiteY90" fmla="*/ 59861 h 1236070"/>
                  <a:gd name="connsiteX91" fmla="*/ 814131 w 1285289"/>
                  <a:gd name="connsiteY91" fmla="*/ 58435 h 1236070"/>
                  <a:gd name="connsiteX92" fmla="*/ 814131 w 1285289"/>
                  <a:gd name="connsiteY92" fmla="*/ 57722 h 1236070"/>
                  <a:gd name="connsiteX93" fmla="*/ 814131 w 1285289"/>
                  <a:gd name="connsiteY93" fmla="*/ 57009 h 1236070"/>
                  <a:gd name="connsiteX94" fmla="*/ 814131 w 1285289"/>
                  <a:gd name="connsiteY94" fmla="*/ 56296 h 1236070"/>
                  <a:gd name="connsiteX95" fmla="*/ 814845 w 1285289"/>
                  <a:gd name="connsiteY95" fmla="*/ 55583 h 1236070"/>
                  <a:gd name="connsiteX96" fmla="*/ 814845 w 1285289"/>
                  <a:gd name="connsiteY96" fmla="*/ 54870 h 1236070"/>
                  <a:gd name="connsiteX97" fmla="*/ 815559 w 1285289"/>
                  <a:gd name="connsiteY97" fmla="*/ 52017 h 1236070"/>
                  <a:gd name="connsiteX98" fmla="*/ 816273 w 1285289"/>
                  <a:gd name="connsiteY98" fmla="*/ 52017 h 1236070"/>
                  <a:gd name="connsiteX99" fmla="*/ 817700 w 1285289"/>
                  <a:gd name="connsiteY99" fmla="*/ 49878 h 1236070"/>
                  <a:gd name="connsiteX100" fmla="*/ 819842 w 1285289"/>
                  <a:gd name="connsiteY100" fmla="*/ 47738 h 1236070"/>
                  <a:gd name="connsiteX101" fmla="*/ 820555 w 1285289"/>
                  <a:gd name="connsiteY101" fmla="*/ 47738 h 1236070"/>
                  <a:gd name="connsiteX102" fmla="*/ 822697 w 1285289"/>
                  <a:gd name="connsiteY102" fmla="*/ 45599 h 1236070"/>
                  <a:gd name="connsiteX103" fmla="*/ 920487 w 1285289"/>
                  <a:gd name="connsiteY103" fmla="*/ 1386 h 1236070"/>
                  <a:gd name="connsiteX104" fmla="*/ 932443 w 1285289"/>
                  <a:gd name="connsiteY104" fmla="*/ 1029 h 123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5289" h="1236070">
                    <a:moveTo>
                      <a:pt x="233276" y="991595"/>
                    </a:moveTo>
                    <a:cubicBezTo>
                      <a:pt x="331187" y="1112763"/>
                      <a:pt x="472694" y="1189741"/>
                      <a:pt x="630639" y="1202571"/>
                    </a:cubicBezTo>
                    <a:cubicBezTo>
                      <a:pt x="797874" y="1216826"/>
                      <a:pt x="958678" y="1159093"/>
                      <a:pt x="1078030" y="1042201"/>
                    </a:cubicBezTo>
                    <a:cubicBezTo>
                      <a:pt x="1078030" y="1042201"/>
                      <a:pt x="1078030" y="1042201"/>
                      <a:pt x="1008706" y="1044339"/>
                    </a:cubicBezTo>
                    <a:cubicBezTo>
                      <a:pt x="1000130" y="1045052"/>
                      <a:pt x="992983" y="1037924"/>
                      <a:pt x="992268" y="1029371"/>
                    </a:cubicBezTo>
                    <a:cubicBezTo>
                      <a:pt x="992268" y="1020818"/>
                      <a:pt x="999415" y="1013691"/>
                      <a:pt x="1007991" y="1012978"/>
                    </a:cubicBezTo>
                    <a:cubicBezTo>
                      <a:pt x="1007991" y="1012978"/>
                      <a:pt x="1007991" y="1012978"/>
                      <a:pt x="1115908" y="1010127"/>
                    </a:cubicBezTo>
                    <a:cubicBezTo>
                      <a:pt x="1116623" y="1010127"/>
                      <a:pt x="1117338" y="1010127"/>
                      <a:pt x="1118052" y="1010127"/>
                    </a:cubicBezTo>
                    <a:cubicBezTo>
                      <a:pt x="1118052" y="1010127"/>
                      <a:pt x="1118052" y="1010127"/>
                      <a:pt x="1118767" y="1010127"/>
                    </a:cubicBezTo>
                    <a:cubicBezTo>
                      <a:pt x="1119482" y="1010127"/>
                      <a:pt x="1120196" y="1010127"/>
                      <a:pt x="1120911" y="1010840"/>
                    </a:cubicBezTo>
                    <a:cubicBezTo>
                      <a:pt x="1120911" y="1010840"/>
                      <a:pt x="1120911" y="1010840"/>
                      <a:pt x="1121626" y="1010840"/>
                    </a:cubicBezTo>
                    <a:cubicBezTo>
                      <a:pt x="1122340" y="1010840"/>
                      <a:pt x="1123055" y="1011552"/>
                      <a:pt x="1123770" y="1012265"/>
                    </a:cubicBezTo>
                    <a:cubicBezTo>
                      <a:pt x="1123770" y="1012265"/>
                      <a:pt x="1123770" y="1012265"/>
                      <a:pt x="1124484" y="1012265"/>
                    </a:cubicBezTo>
                    <a:cubicBezTo>
                      <a:pt x="1125199" y="1012265"/>
                      <a:pt x="1125914" y="1012978"/>
                      <a:pt x="1126628" y="1013691"/>
                    </a:cubicBezTo>
                    <a:cubicBezTo>
                      <a:pt x="1126628" y="1014403"/>
                      <a:pt x="1127343" y="1014403"/>
                      <a:pt x="1127343" y="1014403"/>
                    </a:cubicBezTo>
                    <a:cubicBezTo>
                      <a:pt x="1128058" y="1015116"/>
                      <a:pt x="1128058" y="1015829"/>
                      <a:pt x="1128772" y="1015829"/>
                    </a:cubicBezTo>
                    <a:cubicBezTo>
                      <a:pt x="1128772" y="1016542"/>
                      <a:pt x="1128772" y="1016542"/>
                      <a:pt x="1128772" y="1016542"/>
                    </a:cubicBezTo>
                    <a:cubicBezTo>
                      <a:pt x="1129487" y="1017254"/>
                      <a:pt x="1130202" y="1017967"/>
                      <a:pt x="1130202" y="1018680"/>
                    </a:cubicBezTo>
                    <a:cubicBezTo>
                      <a:pt x="1130202" y="1018680"/>
                      <a:pt x="1130202" y="1018680"/>
                      <a:pt x="1130202" y="1019393"/>
                    </a:cubicBezTo>
                    <a:cubicBezTo>
                      <a:pt x="1130917" y="1020105"/>
                      <a:pt x="1130917" y="1020818"/>
                      <a:pt x="1131631" y="1021531"/>
                    </a:cubicBezTo>
                    <a:cubicBezTo>
                      <a:pt x="1131631" y="1021531"/>
                      <a:pt x="1131631" y="1021531"/>
                      <a:pt x="1131631" y="1022244"/>
                    </a:cubicBezTo>
                    <a:cubicBezTo>
                      <a:pt x="1131631" y="1022956"/>
                      <a:pt x="1131631" y="1023669"/>
                      <a:pt x="1131631" y="1024382"/>
                    </a:cubicBezTo>
                    <a:cubicBezTo>
                      <a:pt x="1131631" y="1024382"/>
                      <a:pt x="1131631" y="1024382"/>
                      <a:pt x="1131631" y="1025095"/>
                    </a:cubicBezTo>
                    <a:cubicBezTo>
                      <a:pt x="1131631" y="1025095"/>
                      <a:pt x="1131631" y="1025807"/>
                      <a:pt x="1131631" y="1026520"/>
                    </a:cubicBezTo>
                    <a:cubicBezTo>
                      <a:pt x="1131631" y="1026520"/>
                      <a:pt x="1131631" y="1026520"/>
                      <a:pt x="1126628" y="1132008"/>
                    </a:cubicBezTo>
                    <a:cubicBezTo>
                      <a:pt x="1125914" y="1140561"/>
                      <a:pt x="1118767" y="1147689"/>
                      <a:pt x="1110905" y="1147689"/>
                    </a:cubicBezTo>
                    <a:cubicBezTo>
                      <a:pt x="1110191" y="1147689"/>
                      <a:pt x="1110191" y="1147689"/>
                      <a:pt x="1110191" y="1147689"/>
                    </a:cubicBezTo>
                    <a:cubicBezTo>
                      <a:pt x="1100900" y="1147689"/>
                      <a:pt x="1094468" y="1139135"/>
                      <a:pt x="1095182" y="1130582"/>
                    </a:cubicBezTo>
                    <a:cubicBezTo>
                      <a:pt x="1095182" y="1130582"/>
                      <a:pt x="1095182" y="1130582"/>
                      <a:pt x="1098041" y="1066434"/>
                    </a:cubicBezTo>
                    <a:cubicBezTo>
                      <a:pt x="1042296" y="1119891"/>
                      <a:pt x="976545" y="1163369"/>
                      <a:pt x="905077" y="1192592"/>
                    </a:cubicBezTo>
                    <a:cubicBezTo>
                      <a:pt x="833609" y="1221815"/>
                      <a:pt x="757852" y="1236070"/>
                      <a:pt x="679952" y="1236070"/>
                    </a:cubicBezTo>
                    <a:cubicBezTo>
                      <a:pt x="662799" y="1236070"/>
                      <a:pt x="645647" y="1235357"/>
                      <a:pt x="627780" y="1233932"/>
                    </a:cubicBezTo>
                    <a:cubicBezTo>
                      <a:pt x="532013" y="1226092"/>
                      <a:pt x="441963" y="1196156"/>
                      <a:pt x="361918" y="1146263"/>
                    </a:cubicBezTo>
                    <a:cubicBezTo>
                      <a:pt x="302600" y="1109200"/>
                      <a:pt x="249713" y="1062158"/>
                      <a:pt x="206118" y="1007988"/>
                    </a:cubicBezTo>
                    <a:cubicBezTo>
                      <a:pt x="216123" y="1003712"/>
                      <a:pt x="224699" y="998010"/>
                      <a:pt x="233276" y="991595"/>
                    </a:cubicBezTo>
                    <a:close/>
                    <a:moveTo>
                      <a:pt x="520755" y="47032"/>
                    </a:moveTo>
                    <a:cubicBezTo>
                      <a:pt x="520755" y="47747"/>
                      <a:pt x="520755" y="49176"/>
                      <a:pt x="520755" y="49891"/>
                    </a:cubicBezTo>
                    <a:cubicBezTo>
                      <a:pt x="520755" y="59897"/>
                      <a:pt x="521471" y="69188"/>
                      <a:pt x="523619" y="78479"/>
                    </a:cubicBezTo>
                    <a:cubicBezTo>
                      <a:pt x="303841" y="139944"/>
                      <a:pt x="136322" y="329340"/>
                      <a:pt x="108403" y="563049"/>
                    </a:cubicBezTo>
                    <a:cubicBezTo>
                      <a:pt x="104107" y="601643"/>
                      <a:pt x="103392" y="640237"/>
                      <a:pt x="106255" y="678831"/>
                    </a:cubicBezTo>
                    <a:cubicBezTo>
                      <a:pt x="106255" y="678831"/>
                      <a:pt x="106255" y="678831"/>
                      <a:pt x="147061" y="624513"/>
                    </a:cubicBezTo>
                    <a:cubicBezTo>
                      <a:pt x="152788" y="617366"/>
                      <a:pt x="162094" y="615937"/>
                      <a:pt x="169253" y="620940"/>
                    </a:cubicBezTo>
                    <a:cubicBezTo>
                      <a:pt x="176412" y="625943"/>
                      <a:pt x="177844" y="635949"/>
                      <a:pt x="172833" y="643096"/>
                    </a:cubicBezTo>
                    <a:cubicBezTo>
                      <a:pt x="172833" y="643096"/>
                      <a:pt x="172833" y="643096"/>
                      <a:pt x="108403" y="728860"/>
                    </a:cubicBezTo>
                    <a:cubicBezTo>
                      <a:pt x="108403" y="728860"/>
                      <a:pt x="108403" y="728860"/>
                      <a:pt x="107687" y="729575"/>
                    </a:cubicBezTo>
                    <a:cubicBezTo>
                      <a:pt x="106971" y="730290"/>
                      <a:pt x="106255" y="731004"/>
                      <a:pt x="106255" y="731719"/>
                    </a:cubicBezTo>
                    <a:cubicBezTo>
                      <a:pt x="105539" y="731719"/>
                      <a:pt x="105539" y="731719"/>
                      <a:pt x="105539" y="731719"/>
                    </a:cubicBezTo>
                    <a:cubicBezTo>
                      <a:pt x="104823" y="732434"/>
                      <a:pt x="104107" y="733148"/>
                      <a:pt x="104107" y="733148"/>
                    </a:cubicBezTo>
                    <a:cubicBezTo>
                      <a:pt x="103392" y="733148"/>
                      <a:pt x="103392" y="733863"/>
                      <a:pt x="102676" y="733863"/>
                    </a:cubicBezTo>
                    <a:cubicBezTo>
                      <a:pt x="101960" y="733863"/>
                      <a:pt x="101960" y="734578"/>
                      <a:pt x="101244" y="734578"/>
                    </a:cubicBezTo>
                    <a:cubicBezTo>
                      <a:pt x="100528" y="734578"/>
                      <a:pt x="99096" y="735292"/>
                      <a:pt x="98380" y="735292"/>
                    </a:cubicBezTo>
                    <a:cubicBezTo>
                      <a:pt x="98380" y="735292"/>
                      <a:pt x="98380" y="735292"/>
                      <a:pt x="97664" y="735292"/>
                    </a:cubicBezTo>
                    <a:cubicBezTo>
                      <a:pt x="97664" y="735292"/>
                      <a:pt x="97664" y="735292"/>
                      <a:pt x="96949" y="735292"/>
                    </a:cubicBezTo>
                    <a:cubicBezTo>
                      <a:pt x="96949" y="735292"/>
                      <a:pt x="96949" y="735292"/>
                      <a:pt x="96949" y="736007"/>
                    </a:cubicBezTo>
                    <a:cubicBezTo>
                      <a:pt x="96233" y="736007"/>
                      <a:pt x="96233" y="736007"/>
                      <a:pt x="95517" y="736007"/>
                    </a:cubicBezTo>
                    <a:cubicBezTo>
                      <a:pt x="94085" y="736007"/>
                      <a:pt x="93369" y="736007"/>
                      <a:pt x="92653" y="735292"/>
                    </a:cubicBezTo>
                    <a:cubicBezTo>
                      <a:pt x="91937" y="735292"/>
                      <a:pt x="90506" y="735292"/>
                      <a:pt x="89790" y="734578"/>
                    </a:cubicBezTo>
                    <a:cubicBezTo>
                      <a:pt x="89074" y="734578"/>
                      <a:pt x="88358" y="734578"/>
                      <a:pt x="87642" y="733863"/>
                    </a:cubicBezTo>
                    <a:cubicBezTo>
                      <a:pt x="86926" y="733148"/>
                      <a:pt x="86210" y="733148"/>
                      <a:pt x="85494" y="732434"/>
                    </a:cubicBezTo>
                    <a:cubicBezTo>
                      <a:pt x="85494" y="732434"/>
                      <a:pt x="84778" y="732434"/>
                      <a:pt x="84778" y="731719"/>
                    </a:cubicBezTo>
                    <a:cubicBezTo>
                      <a:pt x="84778" y="731719"/>
                      <a:pt x="84778" y="731719"/>
                      <a:pt x="5315" y="660963"/>
                    </a:cubicBezTo>
                    <a:cubicBezTo>
                      <a:pt x="-1128" y="655246"/>
                      <a:pt x="-1844" y="645954"/>
                      <a:pt x="3883" y="638807"/>
                    </a:cubicBezTo>
                    <a:cubicBezTo>
                      <a:pt x="9610" y="632375"/>
                      <a:pt x="19632" y="631660"/>
                      <a:pt x="26075" y="637378"/>
                    </a:cubicBezTo>
                    <a:cubicBezTo>
                      <a:pt x="26075" y="637378"/>
                      <a:pt x="26075" y="637378"/>
                      <a:pt x="74756" y="680975"/>
                    </a:cubicBezTo>
                    <a:cubicBezTo>
                      <a:pt x="71176" y="640237"/>
                      <a:pt x="72608" y="599499"/>
                      <a:pt x="76904" y="559475"/>
                    </a:cubicBezTo>
                    <a:cubicBezTo>
                      <a:pt x="106971" y="310758"/>
                      <a:pt x="286659" y="109926"/>
                      <a:pt x="520755" y="47032"/>
                    </a:cubicBezTo>
                    <a:close/>
                    <a:moveTo>
                      <a:pt x="932443" y="1029"/>
                    </a:moveTo>
                    <a:cubicBezTo>
                      <a:pt x="936190" y="2455"/>
                      <a:pt x="939402" y="5308"/>
                      <a:pt x="941187" y="9230"/>
                    </a:cubicBezTo>
                    <a:cubicBezTo>
                      <a:pt x="944756" y="17074"/>
                      <a:pt x="941187" y="26345"/>
                      <a:pt x="933335" y="29910"/>
                    </a:cubicBezTo>
                    <a:cubicBezTo>
                      <a:pt x="933335" y="29910"/>
                      <a:pt x="933335" y="29910"/>
                      <a:pt x="874090" y="57009"/>
                    </a:cubicBezTo>
                    <a:cubicBezTo>
                      <a:pt x="1132484" y="144009"/>
                      <a:pt x="1303081" y="395740"/>
                      <a:pt x="1283809" y="671716"/>
                    </a:cubicBezTo>
                    <a:cubicBezTo>
                      <a:pt x="1281667" y="702380"/>
                      <a:pt x="1277385" y="733044"/>
                      <a:pt x="1270960" y="762995"/>
                    </a:cubicBezTo>
                    <a:cubicBezTo>
                      <a:pt x="1261681" y="755864"/>
                      <a:pt x="1252402" y="750159"/>
                      <a:pt x="1242409" y="745880"/>
                    </a:cubicBezTo>
                    <a:cubicBezTo>
                      <a:pt x="1247405" y="720921"/>
                      <a:pt x="1250974" y="695249"/>
                      <a:pt x="1252402" y="669577"/>
                    </a:cubicBezTo>
                    <a:cubicBezTo>
                      <a:pt x="1270960" y="407150"/>
                      <a:pt x="1108215" y="168255"/>
                      <a:pt x="862669" y="86247"/>
                    </a:cubicBezTo>
                    <a:cubicBezTo>
                      <a:pt x="862669" y="86247"/>
                      <a:pt x="862669" y="86247"/>
                      <a:pt x="896932" y="146149"/>
                    </a:cubicBezTo>
                    <a:cubicBezTo>
                      <a:pt x="901214" y="153993"/>
                      <a:pt x="898359" y="163263"/>
                      <a:pt x="890507" y="167542"/>
                    </a:cubicBezTo>
                    <a:cubicBezTo>
                      <a:pt x="887652" y="168968"/>
                      <a:pt x="884797" y="169681"/>
                      <a:pt x="882656" y="169681"/>
                    </a:cubicBezTo>
                    <a:cubicBezTo>
                      <a:pt x="876945" y="169681"/>
                      <a:pt x="871949" y="166829"/>
                      <a:pt x="869094" y="161837"/>
                    </a:cubicBezTo>
                    <a:cubicBezTo>
                      <a:pt x="869094" y="161837"/>
                      <a:pt x="869094" y="161837"/>
                      <a:pt x="815559" y="67706"/>
                    </a:cubicBezTo>
                    <a:cubicBezTo>
                      <a:pt x="815559" y="67706"/>
                      <a:pt x="815559" y="67706"/>
                      <a:pt x="815559" y="66993"/>
                    </a:cubicBezTo>
                    <a:cubicBezTo>
                      <a:pt x="815559" y="66993"/>
                      <a:pt x="815559" y="66993"/>
                      <a:pt x="815559" y="66279"/>
                    </a:cubicBezTo>
                    <a:cubicBezTo>
                      <a:pt x="814845" y="66279"/>
                      <a:pt x="814845" y="66279"/>
                      <a:pt x="814845" y="65566"/>
                    </a:cubicBezTo>
                    <a:cubicBezTo>
                      <a:pt x="814845" y="65566"/>
                      <a:pt x="814845" y="65566"/>
                      <a:pt x="814845" y="64853"/>
                    </a:cubicBezTo>
                    <a:cubicBezTo>
                      <a:pt x="814845" y="64853"/>
                      <a:pt x="814845" y="64853"/>
                      <a:pt x="814845" y="64140"/>
                    </a:cubicBezTo>
                    <a:cubicBezTo>
                      <a:pt x="814131" y="64140"/>
                      <a:pt x="814131" y="63427"/>
                      <a:pt x="814131" y="63427"/>
                    </a:cubicBezTo>
                    <a:cubicBezTo>
                      <a:pt x="814131" y="63427"/>
                      <a:pt x="814131" y="63427"/>
                      <a:pt x="814131" y="62714"/>
                    </a:cubicBezTo>
                    <a:cubicBezTo>
                      <a:pt x="814131" y="62714"/>
                      <a:pt x="814131" y="62714"/>
                      <a:pt x="814131" y="62001"/>
                    </a:cubicBezTo>
                    <a:cubicBezTo>
                      <a:pt x="814131" y="62001"/>
                      <a:pt x="814131" y="62001"/>
                      <a:pt x="814131" y="61288"/>
                    </a:cubicBezTo>
                    <a:cubicBezTo>
                      <a:pt x="814131" y="61288"/>
                      <a:pt x="814131" y="61288"/>
                      <a:pt x="814131" y="60574"/>
                    </a:cubicBezTo>
                    <a:cubicBezTo>
                      <a:pt x="814131" y="59861"/>
                      <a:pt x="814131" y="59861"/>
                      <a:pt x="814131" y="59861"/>
                    </a:cubicBezTo>
                    <a:cubicBezTo>
                      <a:pt x="814131" y="59148"/>
                      <a:pt x="814131" y="59148"/>
                      <a:pt x="814131" y="58435"/>
                    </a:cubicBezTo>
                    <a:cubicBezTo>
                      <a:pt x="814131" y="58435"/>
                      <a:pt x="814131" y="58435"/>
                      <a:pt x="814131" y="57722"/>
                    </a:cubicBezTo>
                    <a:cubicBezTo>
                      <a:pt x="814131" y="57722"/>
                      <a:pt x="814131" y="57722"/>
                      <a:pt x="814131" y="57009"/>
                    </a:cubicBezTo>
                    <a:cubicBezTo>
                      <a:pt x="814131" y="57009"/>
                      <a:pt x="814131" y="57009"/>
                      <a:pt x="814131" y="56296"/>
                    </a:cubicBezTo>
                    <a:cubicBezTo>
                      <a:pt x="814131" y="55583"/>
                      <a:pt x="814845" y="55583"/>
                      <a:pt x="814845" y="55583"/>
                    </a:cubicBezTo>
                    <a:cubicBezTo>
                      <a:pt x="814845" y="55583"/>
                      <a:pt x="814845" y="55583"/>
                      <a:pt x="814845" y="54870"/>
                    </a:cubicBezTo>
                    <a:cubicBezTo>
                      <a:pt x="814845" y="54156"/>
                      <a:pt x="815559" y="53443"/>
                      <a:pt x="815559" y="52017"/>
                    </a:cubicBezTo>
                    <a:cubicBezTo>
                      <a:pt x="816273" y="52017"/>
                      <a:pt x="816273" y="52017"/>
                      <a:pt x="816273" y="52017"/>
                    </a:cubicBezTo>
                    <a:cubicBezTo>
                      <a:pt x="816273" y="51304"/>
                      <a:pt x="816986" y="50591"/>
                      <a:pt x="817700" y="49878"/>
                    </a:cubicBezTo>
                    <a:cubicBezTo>
                      <a:pt x="818414" y="49165"/>
                      <a:pt x="819128" y="48451"/>
                      <a:pt x="819842" y="47738"/>
                    </a:cubicBezTo>
                    <a:cubicBezTo>
                      <a:pt x="820555" y="47738"/>
                      <a:pt x="820555" y="47738"/>
                      <a:pt x="820555" y="47738"/>
                    </a:cubicBezTo>
                    <a:cubicBezTo>
                      <a:pt x="821269" y="47025"/>
                      <a:pt x="821983" y="46312"/>
                      <a:pt x="822697" y="45599"/>
                    </a:cubicBezTo>
                    <a:cubicBezTo>
                      <a:pt x="822697" y="45599"/>
                      <a:pt x="822697" y="45599"/>
                      <a:pt x="920487" y="1386"/>
                    </a:cubicBezTo>
                    <a:cubicBezTo>
                      <a:pt x="924413" y="-397"/>
                      <a:pt x="928696" y="-397"/>
                      <a:pt x="932443" y="10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3" name="Freeform 32">
                <a:extLst>
                  <a:ext uri="{FF2B5EF4-FFF2-40B4-BE49-F238E27FC236}">
                    <a16:creationId xmlns:a16="http://schemas.microsoft.com/office/drawing/2014/main" id="{A2DF5D86-3E2A-9748-883D-22DA54FFB26F}"/>
                  </a:ext>
                </a:extLst>
              </p:cNvPr>
              <p:cNvSpPr>
                <a:spLocks/>
              </p:cNvSpPr>
              <p:nvPr/>
            </p:nvSpPr>
            <p:spPr bwMode="auto">
              <a:xfrm>
                <a:off x="5468938" y="2692400"/>
                <a:ext cx="1257300" cy="1049338"/>
              </a:xfrm>
              <a:custGeom>
                <a:avLst/>
                <a:gdLst>
                  <a:gd name="connsiteX0" fmla="*/ 1202365 w 1257300"/>
                  <a:gd name="connsiteY0" fmla="*/ 890162 h 1049338"/>
                  <a:gd name="connsiteX1" fmla="*/ 1194553 w 1257300"/>
                  <a:gd name="connsiteY1" fmla="*/ 893290 h 1049338"/>
                  <a:gd name="connsiteX2" fmla="*/ 1188871 w 1257300"/>
                  <a:gd name="connsiteY2" fmla="*/ 899010 h 1049338"/>
                  <a:gd name="connsiteX3" fmla="*/ 1131345 w 1257300"/>
                  <a:gd name="connsiteY3" fmla="*/ 956209 h 1049338"/>
                  <a:gd name="connsiteX4" fmla="*/ 1099386 w 1257300"/>
                  <a:gd name="connsiteY4" fmla="*/ 929754 h 1049338"/>
                  <a:gd name="connsiteX5" fmla="*/ 1083761 w 1257300"/>
                  <a:gd name="connsiteY5" fmla="*/ 931184 h 1049338"/>
                  <a:gd name="connsiteX6" fmla="*/ 1085182 w 1257300"/>
                  <a:gd name="connsiteY6" fmla="*/ 947629 h 1049338"/>
                  <a:gd name="connsiteX7" fmla="*/ 1124953 w 1257300"/>
                  <a:gd name="connsiteY7" fmla="*/ 979803 h 1049338"/>
                  <a:gd name="connsiteX8" fmla="*/ 1132055 w 1257300"/>
                  <a:gd name="connsiteY8" fmla="*/ 982663 h 1049338"/>
                  <a:gd name="connsiteX9" fmla="*/ 1139157 w 1257300"/>
                  <a:gd name="connsiteY9" fmla="*/ 979088 h 1049338"/>
                  <a:gd name="connsiteX10" fmla="*/ 1210177 w 1257300"/>
                  <a:gd name="connsiteY10" fmla="*/ 909735 h 1049338"/>
                  <a:gd name="connsiteX11" fmla="*/ 1212308 w 1257300"/>
                  <a:gd name="connsiteY11" fmla="*/ 896150 h 1049338"/>
                  <a:gd name="connsiteX12" fmla="*/ 1210177 w 1257300"/>
                  <a:gd name="connsiteY12" fmla="*/ 894005 h 1049338"/>
                  <a:gd name="connsiteX13" fmla="*/ 1202365 w 1257300"/>
                  <a:gd name="connsiteY13" fmla="*/ 890162 h 1049338"/>
                  <a:gd name="connsiteX14" fmla="*/ 111919 w 1257300"/>
                  <a:gd name="connsiteY14" fmla="*/ 877406 h 1049338"/>
                  <a:gd name="connsiteX15" fmla="*/ 111210 w 1257300"/>
                  <a:gd name="connsiteY15" fmla="*/ 893816 h 1049338"/>
                  <a:gd name="connsiteX16" fmla="*/ 140963 w 1257300"/>
                  <a:gd name="connsiteY16" fmla="*/ 927350 h 1049338"/>
                  <a:gd name="connsiteX17" fmla="*/ 57372 w 1257300"/>
                  <a:gd name="connsiteY17" fmla="*/ 927350 h 1049338"/>
                  <a:gd name="connsiteX18" fmla="*/ 46037 w 1257300"/>
                  <a:gd name="connsiteY18" fmla="*/ 938766 h 1049338"/>
                  <a:gd name="connsiteX19" fmla="*/ 57372 w 1257300"/>
                  <a:gd name="connsiteY19" fmla="*/ 950181 h 1049338"/>
                  <a:gd name="connsiteX20" fmla="*/ 140255 w 1257300"/>
                  <a:gd name="connsiteY20" fmla="*/ 950181 h 1049338"/>
                  <a:gd name="connsiteX21" fmla="*/ 111210 w 1257300"/>
                  <a:gd name="connsiteY21" fmla="*/ 980861 h 1049338"/>
                  <a:gd name="connsiteX22" fmla="*/ 111919 w 1257300"/>
                  <a:gd name="connsiteY22" fmla="*/ 997271 h 1049338"/>
                  <a:gd name="connsiteX23" fmla="*/ 119711 w 1257300"/>
                  <a:gd name="connsiteY23" fmla="*/ 1000125 h 1049338"/>
                  <a:gd name="connsiteX24" fmla="*/ 128212 w 1257300"/>
                  <a:gd name="connsiteY24" fmla="*/ 996558 h 1049338"/>
                  <a:gd name="connsiteX25" fmla="*/ 174258 w 1257300"/>
                  <a:gd name="connsiteY25" fmla="*/ 946614 h 1049338"/>
                  <a:gd name="connsiteX26" fmla="*/ 174967 w 1257300"/>
                  <a:gd name="connsiteY26" fmla="*/ 946614 h 1049338"/>
                  <a:gd name="connsiteX27" fmla="*/ 175675 w 1257300"/>
                  <a:gd name="connsiteY27" fmla="*/ 945187 h 1049338"/>
                  <a:gd name="connsiteX28" fmla="*/ 176383 w 1257300"/>
                  <a:gd name="connsiteY28" fmla="*/ 944473 h 1049338"/>
                  <a:gd name="connsiteX29" fmla="*/ 176383 w 1257300"/>
                  <a:gd name="connsiteY29" fmla="*/ 943760 h 1049338"/>
                  <a:gd name="connsiteX30" fmla="*/ 177092 w 1257300"/>
                  <a:gd name="connsiteY30" fmla="*/ 943046 h 1049338"/>
                  <a:gd name="connsiteX31" fmla="*/ 177092 w 1257300"/>
                  <a:gd name="connsiteY31" fmla="*/ 942333 h 1049338"/>
                  <a:gd name="connsiteX32" fmla="*/ 177092 w 1257300"/>
                  <a:gd name="connsiteY32" fmla="*/ 940906 h 1049338"/>
                  <a:gd name="connsiteX33" fmla="*/ 177800 w 1257300"/>
                  <a:gd name="connsiteY33" fmla="*/ 940906 h 1049338"/>
                  <a:gd name="connsiteX34" fmla="*/ 177800 w 1257300"/>
                  <a:gd name="connsiteY34" fmla="*/ 938766 h 1049338"/>
                  <a:gd name="connsiteX35" fmla="*/ 177800 w 1257300"/>
                  <a:gd name="connsiteY35" fmla="*/ 938052 h 1049338"/>
                  <a:gd name="connsiteX36" fmla="*/ 177800 w 1257300"/>
                  <a:gd name="connsiteY36" fmla="*/ 936625 h 1049338"/>
                  <a:gd name="connsiteX37" fmla="*/ 177092 w 1257300"/>
                  <a:gd name="connsiteY37" fmla="*/ 935912 h 1049338"/>
                  <a:gd name="connsiteX38" fmla="*/ 177092 w 1257300"/>
                  <a:gd name="connsiteY38" fmla="*/ 934485 h 1049338"/>
                  <a:gd name="connsiteX39" fmla="*/ 176383 w 1257300"/>
                  <a:gd name="connsiteY39" fmla="*/ 934485 h 1049338"/>
                  <a:gd name="connsiteX40" fmla="*/ 175675 w 1257300"/>
                  <a:gd name="connsiteY40" fmla="*/ 932344 h 1049338"/>
                  <a:gd name="connsiteX41" fmla="*/ 174967 w 1257300"/>
                  <a:gd name="connsiteY41" fmla="*/ 930917 h 1049338"/>
                  <a:gd name="connsiteX42" fmla="*/ 128212 w 1257300"/>
                  <a:gd name="connsiteY42" fmla="*/ 878120 h 1049338"/>
                  <a:gd name="connsiteX43" fmla="*/ 111919 w 1257300"/>
                  <a:gd name="connsiteY43" fmla="*/ 877406 h 1049338"/>
                  <a:gd name="connsiteX44" fmla="*/ 1146614 w 1257300"/>
                  <a:gd name="connsiteY44" fmla="*/ 825500 h 1049338"/>
                  <a:gd name="connsiteX45" fmla="*/ 1197700 w 1257300"/>
                  <a:gd name="connsiteY45" fmla="*/ 838363 h 1049338"/>
                  <a:gd name="connsiteX46" fmla="*/ 1224662 w 1257300"/>
                  <a:gd name="connsiteY46" fmla="*/ 857658 h 1049338"/>
                  <a:gd name="connsiteX47" fmla="*/ 1257300 w 1257300"/>
                  <a:gd name="connsiteY47" fmla="*/ 936982 h 1049338"/>
                  <a:gd name="connsiteX48" fmla="*/ 1146614 w 1257300"/>
                  <a:gd name="connsiteY48" fmla="*/ 1047750 h 1049338"/>
                  <a:gd name="connsiteX49" fmla="*/ 1036637 w 1257300"/>
                  <a:gd name="connsiteY49" fmla="*/ 936268 h 1049338"/>
                  <a:gd name="connsiteX50" fmla="*/ 1146614 w 1257300"/>
                  <a:gd name="connsiteY50" fmla="*/ 825500 h 1049338"/>
                  <a:gd name="connsiteX51" fmla="*/ 111919 w 1257300"/>
                  <a:gd name="connsiteY51" fmla="*/ 825500 h 1049338"/>
                  <a:gd name="connsiteX52" fmla="*/ 223838 w 1257300"/>
                  <a:gd name="connsiteY52" fmla="*/ 937777 h 1049338"/>
                  <a:gd name="connsiteX53" fmla="*/ 179358 w 1257300"/>
                  <a:gd name="connsiteY53" fmla="*/ 1026454 h 1049338"/>
                  <a:gd name="connsiteX54" fmla="*/ 151378 w 1257300"/>
                  <a:gd name="connsiteY54" fmla="*/ 1042187 h 1049338"/>
                  <a:gd name="connsiteX55" fmla="*/ 111919 w 1257300"/>
                  <a:gd name="connsiteY55" fmla="*/ 1049338 h 1049338"/>
                  <a:gd name="connsiteX56" fmla="*/ 0 w 1257300"/>
                  <a:gd name="connsiteY56" fmla="*/ 937062 h 1049338"/>
                  <a:gd name="connsiteX57" fmla="*/ 111919 w 1257300"/>
                  <a:gd name="connsiteY57" fmla="*/ 825500 h 1049338"/>
                  <a:gd name="connsiteX58" fmla="*/ 582076 w 1257300"/>
                  <a:gd name="connsiteY58" fmla="*/ 64618 h 1049338"/>
                  <a:gd name="connsiteX59" fmla="*/ 582076 w 1257300"/>
                  <a:gd name="connsiteY59" fmla="*/ 81074 h 1049338"/>
                  <a:gd name="connsiteX60" fmla="*/ 590528 w 1257300"/>
                  <a:gd name="connsiteY60" fmla="*/ 89660 h 1049338"/>
                  <a:gd name="connsiteX61" fmla="*/ 611657 w 1257300"/>
                  <a:gd name="connsiteY61" fmla="*/ 111841 h 1049338"/>
                  <a:gd name="connsiteX62" fmla="*/ 603206 w 1257300"/>
                  <a:gd name="connsiteY62" fmla="*/ 120427 h 1049338"/>
                  <a:gd name="connsiteX63" fmla="*/ 582076 w 1257300"/>
                  <a:gd name="connsiteY63" fmla="*/ 142607 h 1049338"/>
                  <a:gd name="connsiteX64" fmla="*/ 582076 w 1257300"/>
                  <a:gd name="connsiteY64" fmla="*/ 159063 h 1049338"/>
                  <a:gd name="connsiteX65" fmla="*/ 589824 w 1257300"/>
                  <a:gd name="connsiteY65" fmla="*/ 161925 h 1049338"/>
                  <a:gd name="connsiteX66" fmla="*/ 598275 w 1257300"/>
                  <a:gd name="connsiteY66" fmla="*/ 159063 h 1049338"/>
                  <a:gd name="connsiteX67" fmla="*/ 627857 w 1257300"/>
                  <a:gd name="connsiteY67" fmla="*/ 128297 h 1049338"/>
                  <a:gd name="connsiteX68" fmla="*/ 657438 w 1257300"/>
                  <a:gd name="connsiteY68" fmla="*/ 159063 h 1049338"/>
                  <a:gd name="connsiteX69" fmla="*/ 665890 w 1257300"/>
                  <a:gd name="connsiteY69" fmla="*/ 161925 h 1049338"/>
                  <a:gd name="connsiteX70" fmla="*/ 673637 w 1257300"/>
                  <a:gd name="connsiteY70" fmla="*/ 159063 h 1049338"/>
                  <a:gd name="connsiteX71" fmla="*/ 673637 w 1257300"/>
                  <a:gd name="connsiteY71" fmla="*/ 142607 h 1049338"/>
                  <a:gd name="connsiteX72" fmla="*/ 644056 w 1257300"/>
                  <a:gd name="connsiteY72" fmla="*/ 111841 h 1049338"/>
                  <a:gd name="connsiteX73" fmla="*/ 673637 w 1257300"/>
                  <a:gd name="connsiteY73" fmla="*/ 81074 h 1049338"/>
                  <a:gd name="connsiteX74" fmla="*/ 673637 w 1257300"/>
                  <a:gd name="connsiteY74" fmla="*/ 64618 h 1049338"/>
                  <a:gd name="connsiteX75" fmla="*/ 657438 w 1257300"/>
                  <a:gd name="connsiteY75" fmla="*/ 64618 h 1049338"/>
                  <a:gd name="connsiteX76" fmla="*/ 627857 w 1257300"/>
                  <a:gd name="connsiteY76" fmla="*/ 95384 h 1049338"/>
                  <a:gd name="connsiteX77" fmla="*/ 598275 w 1257300"/>
                  <a:gd name="connsiteY77" fmla="*/ 64618 h 1049338"/>
                  <a:gd name="connsiteX78" fmla="*/ 582076 w 1257300"/>
                  <a:gd name="connsiteY78" fmla="*/ 64618 h 1049338"/>
                  <a:gd name="connsiteX79" fmla="*/ 627856 w 1257300"/>
                  <a:gd name="connsiteY79" fmla="*/ 0 h 1049338"/>
                  <a:gd name="connsiteX80" fmla="*/ 739775 w 1257300"/>
                  <a:gd name="connsiteY80" fmla="*/ 111562 h 1049338"/>
                  <a:gd name="connsiteX81" fmla="*/ 627856 w 1257300"/>
                  <a:gd name="connsiteY81" fmla="*/ 223838 h 1049338"/>
                  <a:gd name="connsiteX82" fmla="*/ 518076 w 1257300"/>
                  <a:gd name="connsiteY82" fmla="*/ 133016 h 1049338"/>
                  <a:gd name="connsiteX83" fmla="*/ 515937 w 1257300"/>
                  <a:gd name="connsiteY83" fmla="*/ 110846 h 1049338"/>
                  <a:gd name="connsiteX84" fmla="*/ 516650 w 1257300"/>
                  <a:gd name="connsiteY84" fmla="*/ 100119 h 1049338"/>
                  <a:gd name="connsiteX85" fmla="*/ 627856 w 1257300"/>
                  <a:gd name="connsiteY85" fmla="*/ 0 h 104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57300" h="1049338">
                    <a:moveTo>
                      <a:pt x="1202365" y="890162"/>
                    </a:moveTo>
                    <a:cubicBezTo>
                      <a:pt x="1199524" y="890073"/>
                      <a:pt x="1196684" y="891145"/>
                      <a:pt x="1194553" y="893290"/>
                    </a:cubicBezTo>
                    <a:cubicBezTo>
                      <a:pt x="1194553" y="893290"/>
                      <a:pt x="1194553" y="893290"/>
                      <a:pt x="1188871" y="899010"/>
                    </a:cubicBezTo>
                    <a:cubicBezTo>
                      <a:pt x="1188871" y="899010"/>
                      <a:pt x="1188871" y="899010"/>
                      <a:pt x="1131345" y="956209"/>
                    </a:cubicBezTo>
                    <a:cubicBezTo>
                      <a:pt x="1131345" y="956209"/>
                      <a:pt x="1131345" y="956209"/>
                      <a:pt x="1099386" y="929754"/>
                    </a:cubicBezTo>
                    <a:cubicBezTo>
                      <a:pt x="1094414" y="925464"/>
                      <a:pt x="1087312" y="926179"/>
                      <a:pt x="1083761" y="931184"/>
                    </a:cubicBezTo>
                    <a:cubicBezTo>
                      <a:pt x="1079500" y="936189"/>
                      <a:pt x="1080210" y="943339"/>
                      <a:pt x="1085182" y="947629"/>
                    </a:cubicBezTo>
                    <a:cubicBezTo>
                      <a:pt x="1085182" y="947629"/>
                      <a:pt x="1085182" y="947629"/>
                      <a:pt x="1124953" y="979803"/>
                    </a:cubicBezTo>
                    <a:cubicBezTo>
                      <a:pt x="1127084" y="981233"/>
                      <a:pt x="1129214" y="982663"/>
                      <a:pt x="1132055" y="982663"/>
                    </a:cubicBezTo>
                    <a:cubicBezTo>
                      <a:pt x="1134186" y="982663"/>
                      <a:pt x="1137026" y="981233"/>
                      <a:pt x="1139157" y="979088"/>
                    </a:cubicBezTo>
                    <a:cubicBezTo>
                      <a:pt x="1139157" y="979088"/>
                      <a:pt x="1139157" y="979088"/>
                      <a:pt x="1210177" y="909735"/>
                    </a:cubicBezTo>
                    <a:cubicBezTo>
                      <a:pt x="1213728" y="906160"/>
                      <a:pt x="1214438" y="900440"/>
                      <a:pt x="1212308" y="896150"/>
                    </a:cubicBezTo>
                    <a:cubicBezTo>
                      <a:pt x="1211597" y="895435"/>
                      <a:pt x="1210887" y="894720"/>
                      <a:pt x="1210177" y="894005"/>
                    </a:cubicBezTo>
                    <a:cubicBezTo>
                      <a:pt x="1208047" y="891503"/>
                      <a:pt x="1205206" y="890251"/>
                      <a:pt x="1202365" y="890162"/>
                    </a:cubicBezTo>
                    <a:close/>
                    <a:moveTo>
                      <a:pt x="111919" y="877406"/>
                    </a:moveTo>
                    <a:cubicBezTo>
                      <a:pt x="107668" y="881687"/>
                      <a:pt x="106960" y="888822"/>
                      <a:pt x="111210" y="893816"/>
                    </a:cubicBezTo>
                    <a:cubicBezTo>
                      <a:pt x="111210" y="893816"/>
                      <a:pt x="111210" y="893816"/>
                      <a:pt x="140963" y="927350"/>
                    </a:cubicBezTo>
                    <a:cubicBezTo>
                      <a:pt x="140963" y="927350"/>
                      <a:pt x="140963" y="927350"/>
                      <a:pt x="57372" y="927350"/>
                    </a:cubicBezTo>
                    <a:cubicBezTo>
                      <a:pt x="50996" y="927350"/>
                      <a:pt x="46037" y="932344"/>
                      <a:pt x="46037" y="938766"/>
                    </a:cubicBezTo>
                    <a:cubicBezTo>
                      <a:pt x="46037" y="945187"/>
                      <a:pt x="50996" y="950181"/>
                      <a:pt x="57372" y="950181"/>
                    </a:cubicBezTo>
                    <a:cubicBezTo>
                      <a:pt x="57372" y="950181"/>
                      <a:pt x="57372" y="950181"/>
                      <a:pt x="140255" y="950181"/>
                    </a:cubicBezTo>
                    <a:cubicBezTo>
                      <a:pt x="140255" y="950181"/>
                      <a:pt x="140255" y="950181"/>
                      <a:pt x="111210" y="980861"/>
                    </a:cubicBezTo>
                    <a:cubicBezTo>
                      <a:pt x="106960" y="985142"/>
                      <a:pt x="106960" y="992990"/>
                      <a:pt x="111919" y="997271"/>
                    </a:cubicBezTo>
                    <a:cubicBezTo>
                      <a:pt x="114044" y="999412"/>
                      <a:pt x="116878" y="1000125"/>
                      <a:pt x="119711" y="1000125"/>
                    </a:cubicBezTo>
                    <a:cubicBezTo>
                      <a:pt x="122545" y="1000125"/>
                      <a:pt x="125378" y="998698"/>
                      <a:pt x="128212" y="996558"/>
                    </a:cubicBezTo>
                    <a:cubicBezTo>
                      <a:pt x="128212" y="996558"/>
                      <a:pt x="128212" y="996558"/>
                      <a:pt x="174258" y="946614"/>
                    </a:cubicBezTo>
                    <a:cubicBezTo>
                      <a:pt x="174967" y="946614"/>
                      <a:pt x="174967" y="946614"/>
                      <a:pt x="174967" y="946614"/>
                    </a:cubicBezTo>
                    <a:cubicBezTo>
                      <a:pt x="174967" y="945900"/>
                      <a:pt x="175675" y="945900"/>
                      <a:pt x="175675" y="945187"/>
                    </a:cubicBezTo>
                    <a:cubicBezTo>
                      <a:pt x="175675" y="945187"/>
                      <a:pt x="175675" y="945187"/>
                      <a:pt x="176383" y="944473"/>
                    </a:cubicBezTo>
                    <a:cubicBezTo>
                      <a:pt x="176383" y="944473"/>
                      <a:pt x="176383" y="944473"/>
                      <a:pt x="176383" y="943760"/>
                    </a:cubicBezTo>
                    <a:cubicBezTo>
                      <a:pt x="177092" y="943760"/>
                      <a:pt x="177092" y="943046"/>
                      <a:pt x="177092" y="943046"/>
                    </a:cubicBezTo>
                    <a:cubicBezTo>
                      <a:pt x="177092" y="943046"/>
                      <a:pt x="177092" y="943046"/>
                      <a:pt x="177092" y="942333"/>
                    </a:cubicBezTo>
                    <a:cubicBezTo>
                      <a:pt x="177092" y="942333"/>
                      <a:pt x="177092" y="941620"/>
                      <a:pt x="177092" y="940906"/>
                    </a:cubicBezTo>
                    <a:cubicBezTo>
                      <a:pt x="177800" y="940906"/>
                      <a:pt x="177800" y="940906"/>
                      <a:pt x="177800" y="940906"/>
                    </a:cubicBezTo>
                    <a:cubicBezTo>
                      <a:pt x="177800" y="940193"/>
                      <a:pt x="177800" y="939479"/>
                      <a:pt x="177800" y="938766"/>
                    </a:cubicBezTo>
                    <a:cubicBezTo>
                      <a:pt x="177800" y="938766"/>
                      <a:pt x="177800" y="938766"/>
                      <a:pt x="177800" y="938052"/>
                    </a:cubicBezTo>
                    <a:cubicBezTo>
                      <a:pt x="177800" y="938052"/>
                      <a:pt x="177800" y="937339"/>
                      <a:pt x="177800" y="936625"/>
                    </a:cubicBezTo>
                    <a:cubicBezTo>
                      <a:pt x="177092" y="936625"/>
                      <a:pt x="177092" y="936625"/>
                      <a:pt x="177092" y="935912"/>
                    </a:cubicBezTo>
                    <a:cubicBezTo>
                      <a:pt x="177092" y="935912"/>
                      <a:pt x="177092" y="935198"/>
                      <a:pt x="177092" y="934485"/>
                    </a:cubicBezTo>
                    <a:cubicBezTo>
                      <a:pt x="177092" y="934485"/>
                      <a:pt x="177092" y="934485"/>
                      <a:pt x="176383" y="934485"/>
                    </a:cubicBezTo>
                    <a:cubicBezTo>
                      <a:pt x="176383" y="933771"/>
                      <a:pt x="176383" y="933058"/>
                      <a:pt x="175675" y="932344"/>
                    </a:cubicBezTo>
                    <a:cubicBezTo>
                      <a:pt x="174967" y="931631"/>
                      <a:pt x="174967" y="931631"/>
                      <a:pt x="174967" y="930917"/>
                    </a:cubicBezTo>
                    <a:cubicBezTo>
                      <a:pt x="174967" y="930917"/>
                      <a:pt x="174967" y="930917"/>
                      <a:pt x="128212" y="878120"/>
                    </a:cubicBezTo>
                    <a:cubicBezTo>
                      <a:pt x="123962" y="873839"/>
                      <a:pt x="116878" y="873125"/>
                      <a:pt x="111919" y="877406"/>
                    </a:cubicBezTo>
                    <a:close/>
                    <a:moveTo>
                      <a:pt x="1146614" y="825500"/>
                    </a:moveTo>
                    <a:cubicBezTo>
                      <a:pt x="1165062" y="825500"/>
                      <a:pt x="1182800" y="829788"/>
                      <a:pt x="1197700" y="838363"/>
                    </a:cubicBezTo>
                    <a:cubicBezTo>
                      <a:pt x="1207633" y="843366"/>
                      <a:pt x="1216857" y="849798"/>
                      <a:pt x="1224662" y="857658"/>
                    </a:cubicBezTo>
                    <a:cubicBezTo>
                      <a:pt x="1245238" y="878383"/>
                      <a:pt x="1257300" y="906253"/>
                      <a:pt x="1257300" y="936982"/>
                    </a:cubicBezTo>
                    <a:cubicBezTo>
                      <a:pt x="1257300" y="997726"/>
                      <a:pt x="1207633" y="1047750"/>
                      <a:pt x="1146614" y="1047750"/>
                    </a:cubicBezTo>
                    <a:cubicBezTo>
                      <a:pt x="1086304" y="1047750"/>
                      <a:pt x="1036637" y="997726"/>
                      <a:pt x="1036637" y="936268"/>
                    </a:cubicBezTo>
                    <a:cubicBezTo>
                      <a:pt x="1036637" y="874810"/>
                      <a:pt x="1086304" y="825500"/>
                      <a:pt x="1146614" y="825500"/>
                    </a:cubicBezTo>
                    <a:close/>
                    <a:moveTo>
                      <a:pt x="111919" y="825500"/>
                    </a:moveTo>
                    <a:cubicBezTo>
                      <a:pt x="173618" y="825500"/>
                      <a:pt x="223838" y="875560"/>
                      <a:pt x="223838" y="937777"/>
                    </a:cubicBezTo>
                    <a:cubicBezTo>
                      <a:pt x="223838" y="974249"/>
                      <a:pt x="205903" y="1006430"/>
                      <a:pt x="179358" y="1026454"/>
                    </a:cubicBezTo>
                    <a:cubicBezTo>
                      <a:pt x="170748" y="1032890"/>
                      <a:pt x="161422" y="1037896"/>
                      <a:pt x="151378" y="1042187"/>
                    </a:cubicBezTo>
                    <a:cubicBezTo>
                      <a:pt x="139182" y="1046478"/>
                      <a:pt x="125550" y="1049338"/>
                      <a:pt x="111919" y="1049338"/>
                    </a:cubicBezTo>
                    <a:cubicBezTo>
                      <a:pt x="50220" y="1049338"/>
                      <a:pt x="0" y="999279"/>
                      <a:pt x="0" y="937062"/>
                    </a:cubicBezTo>
                    <a:cubicBezTo>
                      <a:pt x="0" y="874845"/>
                      <a:pt x="50220" y="825500"/>
                      <a:pt x="111919" y="825500"/>
                    </a:cubicBezTo>
                    <a:close/>
                    <a:moveTo>
                      <a:pt x="582076" y="64618"/>
                    </a:moveTo>
                    <a:cubicBezTo>
                      <a:pt x="577850" y="69627"/>
                      <a:pt x="577850" y="76781"/>
                      <a:pt x="582076" y="81074"/>
                    </a:cubicBezTo>
                    <a:cubicBezTo>
                      <a:pt x="582076" y="81074"/>
                      <a:pt x="582076" y="81074"/>
                      <a:pt x="590528" y="89660"/>
                    </a:cubicBezTo>
                    <a:cubicBezTo>
                      <a:pt x="590528" y="89660"/>
                      <a:pt x="590528" y="89660"/>
                      <a:pt x="611657" y="111841"/>
                    </a:cubicBezTo>
                    <a:cubicBezTo>
                      <a:pt x="611657" y="111841"/>
                      <a:pt x="611657" y="111841"/>
                      <a:pt x="603206" y="120427"/>
                    </a:cubicBezTo>
                    <a:cubicBezTo>
                      <a:pt x="603206" y="120427"/>
                      <a:pt x="603206" y="120427"/>
                      <a:pt x="582076" y="142607"/>
                    </a:cubicBezTo>
                    <a:cubicBezTo>
                      <a:pt x="577850" y="146900"/>
                      <a:pt x="577850" y="154055"/>
                      <a:pt x="582076" y="159063"/>
                    </a:cubicBezTo>
                    <a:cubicBezTo>
                      <a:pt x="584189" y="161210"/>
                      <a:pt x="587006" y="161925"/>
                      <a:pt x="589824" y="161925"/>
                    </a:cubicBezTo>
                    <a:cubicBezTo>
                      <a:pt x="592641" y="161925"/>
                      <a:pt x="595458" y="161210"/>
                      <a:pt x="598275" y="159063"/>
                    </a:cubicBezTo>
                    <a:cubicBezTo>
                      <a:pt x="598275" y="159063"/>
                      <a:pt x="598275" y="159063"/>
                      <a:pt x="627857" y="128297"/>
                    </a:cubicBezTo>
                    <a:cubicBezTo>
                      <a:pt x="627857" y="128297"/>
                      <a:pt x="627857" y="128297"/>
                      <a:pt x="657438" y="159063"/>
                    </a:cubicBezTo>
                    <a:cubicBezTo>
                      <a:pt x="660255" y="161210"/>
                      <a:pt x="663073" y="161925"/>
                      <a:pt x="665890" y="161925"/>
                    </a:cubicBezTo>
                    <a:cubicBezTo>
                      <a:pt x="668707" y="161925"/>
                      <a:pt x="671524" y="161210"/>
                      <a:pt x="673637" y="159063"/>
                    </a:cubicBezTo>
                    <a:cubicBezTo>
                      <a:pt x="677863" y="154055"/>
                      <a:pt x="677863" y="146900"/>
                      <a:pt x="673637" y="142607"/>
                    </a:cubicBezTo>
                    <a:cubicBezTo>
                      <a:pt x="673637" y="142607"/>
                      <a:pt x="673637" y="142607"/>
                      <a:pt x="644056" y="111841"/>
                    </a:cubicBezTo>
                    <a:cubicBezTo>
                      <a:pt x="644056" y="111841"/>
                      <a:pt x="644056" y="111841"/>
                      <a:pt x="673637" y="81074"/>
                    </a:cubicBezTo>
                    <a:cubicBezTo>
                      <a:pt x="677863" y="76781"/>
                      <a:pt x="677863" y="69627"/>
                      <a:pt x="673637" y="64618"/>
                    </a:cubicBezTo>
                    <a:cubicBezTo>
                      <a:pt x="669411" y="60325"/>
                      <a:pt x="662368" y="60325"/>
                      <a:pt x="657438" y="64618"/>
                    </a:cubicBezTo>
                    <a:cubicBezTo>
                      <a:pt x="657438" y="64618"/>
                      <a:pt x="657438" y="64618"/>
                      <a:pt x="627857" y="95384"/>
                    </a:cubicBezTo>
                    <a:cubicBezTo>
                      <a:pt x="627857" y="95384"/>
                      <a:pt x="627857" y="95384"/>
                      <a:pt x="598275" y="64618"/>
                    </a:cubicBezTo>
                    <a:cubicBezTo>
                      <a:pt x="593345" y="60325"/>
                      <a:pt x="586302" y="60325"/>
                      <a:pt x="582076" y="64618"/>
                    </a:cubicBezTo>
                    <a:close/>
                    <a:moveTo>
                      <a:pt x="627856" y="0"/>
                    </a:moveTo>
                    <a:cubicBezTo>
                      <a:pt x="689875" y="0"/>
                      <a:pt x="739775" y="50060"/>
                      <a:pt x="739775" y="111562"/>
                    </a:cubicBezTo>
                    <a:cubicBezTo>
                      <a:pt x="739775" y="173779"/>
                      <a:pt x="689875" y="223838"/>
                      <a:pt x="627856" y="223838"/>
                    </a:cubicBezTo>
                    <a:cubicBezTo>
                      <a:pt x="573679" y="223123"/>
                      <a:pt x="527343" y="184506"/>
                      <a:pt x="518076" y="133016"/>
                    </a:cubicBezTo>
                    <a:cubicBezTo>
                      <a:pt x="516650" y="125149"/>
                      <a:pt x="515937" y="117998"/>
                      <a:pt x="515937" y="110846"/>
                    </a:cubicBezTo>
                    <a:cubicBezTo>
                      <a:pt x="515937" y="107271"/>
                      <a:pt x="515937" y="103695"/>
                      <a:pt x="516650" y="100119"/>
                    </a:cubicBezTo>
                    <a:cubicBezTo>
                      <a:pt x="521640" y="43624"/>
                      <a:pt x="570115" y="0"/>
                      <a:pt x="6278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sp>
        <p:nvSpPr>
          <p:cNvPr id="34" name="NavigationTriangle">
            <a:extLst>
              <a:ext uri="{FF2B5EF4-FFF2-40B4-BE49-F238E27FC236}">
                <a16:creationId xmlns:a16="http://schemas.microsoft.com/office/drawing/2014/main" id="{A12C297A-07C6-491A-AE9C-687BFC02D196}"/>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NavigationIcon">
            <a:extLst>
              <a:ext uri="{FF2B5EF4-FFF2-40B4-BE49-F238E27FC236}">
                <a16:creationId xmlns:a16="http://schemas.microsoft.com/office/drawing/2014/main" id="{644515E2-1DE4-4081-AF5E-2252DF8BC7DE}"/>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3</a:t>
            </a:r>
          </a:p>
        </p:txBody>
      </p:sp>
    </p:spTree>
    <p:extLst>
      <p:ext uri="{BB962C8B-B14F-4D97-AF65-F5344CB8AC3E}">
        <p14:creationId xmlns:p14="http://schemas.microsoft.com/office/powerpoint/2010/main" val="876422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row: Right 23">
            <a:extLst>
              <a:ext uri="{FF2B5EF4-FFF2-40B4-BE49-F238E27FC236}">
                <a16:creationId xmlns:a16="http://schemas.microsoft.com/office/drawing/2014/main" id="{B2408F43-E537-ED43-853C-5993F363D12D}"/>
              </a:ext>
            </a:extLst>
          </p:cNvPr>
          <p:cNvSpPr/>
          <p:nvPr/>
        </p:nvSpPr>
        <p:spPr>
          <a:xfrm>
            <a:off x="6735229" y="3034220"/>
            <a:ext cx="832108" cy="1205170"/>
          </a:xfrm>
          <a:prstGeom prst="rightArrow">
            <a:avLst/>
          </a:prstGeom>
          <a:solidFill>
            <a:schemeClr val="bg1"/>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4" name="Object 3" hidden="1">
            <a:extLst>
              <a:ext uri="{FF2B5EF4-FFF2-40B4-BE49-F238E27FC236}">
                <a16:creationId xmlns:a16="http://schemas.microsoft.com/office/drawing/2014/main" id="{B18236F7-A026-4387-AA3B-3761B8F3860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0" name="think-cell Slide" r:id="rId7" imgW="381" imgH="381" progId="TCLayout.ActiveDocument.1">
                  <p:embed/>
                </p:oleObj>
              </mc:Choice>
              <mc:Fallback>
                <p:oleObj name="think-cell Slide" r:id="rId7" imgW="381" imgH="381" progId="TCLayout.ActiveDocument.1">
                  <p:embed/>
                  <p:pic>
                    <p:nvPicPr>
                      <p:cNvPr id="4" name="Object 3" hidden="1">
                        <a:extLst>
                          <a:ext uri="{FF2B5EF4-FFF2-40B4-BE49-F238E27FC236}">
                            <a16:creationId xmlns:a16="http://schemas.microsoft.com/office/drawing/2014/main" id="{B18236F7-A026-4387-AA3B-3761B8F3860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467893"/>
            <a:ext cx="10933350" cy="775597"/>
          </a:xfrm>
        </p:spPr>
        <p:txBody>
          <a:bodyPr vert="horz"/>
          <a:lstStyle/>
          <a:p>
            <a:r>
              <a:rPr lang="en-US" dirty="0"/>
              <a:t>Digital products developed by Business product teams &amp; Platform product teams</a:t>
            </a:r>
          </a:p>
        </p:txBody>
      </p:sp>
      <p:sp>
        <p:nvSpPr>
          <p:cNvPr id="12" name="ee4pContent1">
            <a:extLst>
              <a:ext uri="{FF2B5EF4-FFF2-40B4-BE49-F238E27FC236}">
                <a16:creationId xmlns:a16="http://schemas.microsoft.com/office/drawing/2014/main" id="{F101F13B-845C-483B-AEC3-69A110E579AA}"/>
              </a:ext>
            </a:extLst>
          </p:cNvPr>
          <p:cNvSpPr txBox="1"/>
          <p:nvPr/>
        </p:nvSpPr>
        <p:spPr>
          <a:xfrm>
            <a:off x="632955" y="2410140"/>
            <a:ext cx="3981425" cy="242880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a:rPr>
              <a:t>Aligned to single, valuable stream of work for BU’s customers</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a:endParaRP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a:rPr>
              <a:t>Primary team type in a Digital org</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a:endParaRP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a:rPr>
              <a:t>Maintains full ownership of building, running, and fixing their application</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a:endParaRP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panose="020B0604020202020204" pitchFamily="34" charset="0"/>
                <a:cs typeface="Arial"/>
              </a:rPr>
              <a:t>B</a:t>
            </a: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cs typeface="Arial"/>
              </a:rPr>
              <a:t>uild</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a:rPr>
              <a:t> and deliver user value as quickly, safely, and independently</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a:endParaRPr>
          </a:p>
        </p:txBody>
      </p:sp>
      <p:sp>
        <p:nvSpPr>
          <p:cNvPr id="13" name="ee4pContent2">
            <a:extLst>
              <a:ext uri="{FF2B5EF4-FFF2-40B4-BE49-F238E27FC236}">
                <a16:creationId xmlns:a16="http://schemas.microsoft.com/office/drawing/2014/main" id="{4ECD0911-E421-44C2-B1E5-9E7F3CBB826A}"/>
              </a:ext>
            </a:extLst>
          </p:cNvPr>
          <p:cNvSpPr txBox="1"/>
          <p:nvPr/>
        </p:nvSpPr>
        <p:spPr>
          <a:xfrm>
            <a:off x="5190108" y="1989668"/>
            <a:ext cx="1811786" cy="583120"/>
          </a:xfrm>
          <a:prstGeom prst="rect">
            <a:avLst/>
          </a:prstGeom>
          <a:solidFill>
            <a:schemeClr val="tx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pPr algn="ctr" defTabSz="914377">
              <a:buNone/>
            </a:pPr>
            <a:r>
              <a:rPr lang="en-US" sz="1600" i="1" dirty="0">
                <a:solidFill>
                  <a:schemeClr val="bg1"/>
                </a:solidFill>
                <a:latin typeface="Arial" panose="020B0604020202020204" pitchFamily="34" charset="0"/>
              </a:rPr>
              <a:t>Service line enabling teams</a:t>
            </a:r>
          </a:p>
          <a:p>
            <a:pPr marL="228594" indent="-228594" algn="ctr" defTabSz="914377">
              <a:buFont typeface="Arial" panose="020B0604020202020204" pitchFamily="34" charset="0"/>
              <a:buChar char="•"/>
            </a:pPr>
            <a:endParaRPr lang="en-US" sz="1200" dirty="0">
              <a:solidFill>
                <a:schemeClr val="bg1"/>
              </a:solidFill>
              <a:latin typeface="Arial" panose="020B0604020202020204" pitchFamily="34" charset="0"/>
            </a:endParaRPr>
          </a:p>
          <a:p>
            <a:pPr marL="228594" indent="-228594" algn="ctr" defTabSz="914377">
              <a:buFont typeface="Arial" panose="020B0604020202020204" pitchFamily="34" charset="0"/>
              <a:buChar char="•"/>
            </a:pPr>
            <a:endParaRPr lang="en-US" dirty="0">
              <a:solidFill>
                <a:schemeClr val="bg1"/>
              </a:solidFill>
              <a:latin typeface="Arial" panose="020B0604020202020204" pitchFamily="34" charset="0"/>
            </a:endParaRPr>
          </a:p>
          <a:p>
            <a:pPr marL="108000" lvl="1" indent="0" algn="ctr" defTabSz="914377">
              <a:buNone/>
            </a:pPr>
            <a:endParaRPr lang="en-US" sz="1400" dirty="0">
              <a:solidFill>
                <a:schemeClr val="bg1"/>
              </a:solidFill>
              <a:latin typeface="Arial" panose="020B0604020202020204" pitchFamily="34" charset="0"/>
            </a:endParaRPr>
          </a:p>
          <a:p>
            <a:pPr marL="108000" lvl="1" indent="0" algn="ctr" defTabSz="914377">
              <a:buNone/>
            </a:pPr>
            <a:endParaRPr lang="en-US" sz="1400" dirty="0">
              <a:solidFill>
                <a:schemeClr val="bg1"/>
              </a:solidFill>
              <a:latin typeface="Arial" panose="020B0604020202020204" pitchFamily="34" charset="0"/>
            </a:endParaRPr>
          </a:p>
          <a:p>
            <a:pPr marL="108000" lvl="1" indent="0" algn="ctr" defTabSz="914377">
              <a:buNone/>
            </a:pPr>
            <a:endParaRPr lang="en-US" sz="1400" dirty="0">
              <a:solidFill>
                <a:schemeClr val="bg1"/>
              </a:solidFill>
              <a:latin typeface="Arial" panose="020B0604020202020204" pitchFamily="34" charset="0"/>
            </a:endParaRPr>
          </a:p>
          <a:p>
            <a:pPr marL="108000" lvl="1" indent="0" algn="ctr" defTabSz="914377">
              <a:buNone/>
            </a:pPr>
            <a:r>
              <a:rPr lang="en-US" sz="1400" dirty="0">
                <a:solidFill>
                  <a:schemeClr val="bg1"/>
                </a:solidFill>
                <a:latin typeface="Arial" panose="020B0604020202020204" pitchFamily="34" charset="0"/>
              </a:rPr>
              <a:t>Provides key capabilities and</a:t>
            </a:r>
          </a:p>
          <a:p>
            <a:pPr marL="108000" lvl="1" indent="0" algn="ctr" defTabSz="914377">
              <a:buNone/>
            </a:pPr>
            <a:r>
              <a:rPr lang="en-US" sz="1400" dirty="0">
                <a:solidFill>
                  <a:schemeClr val="bg1"/>
                </a:solidFill>
                <a:latin typeface="Arial" panose="020B0604020202020204" pitchFamily="34" charset="0"/>
              </a:rPr>
              <a:t>skill-sets that are embedded into business product teams and platform product teams </a:t>
            </a:r>
          </a:p>
        </p:txBody>
      </p:sp>
      <p:sp>
        <p:nvSpPr>
          <p:cNvPr id="14" name="ee4pContent3">
            <a:extLst>
              <a:ext uri="{FF2B5EF4-FFF2-40B4-BE49-F238E27FC236}">
                <a16:creationId xmlns:a16="http://schemas.microsoft.com/office/drawing/2014/main" id="{8127EB96-412C-4914-92E3-C2DF32FB4A4D}"/>
              </a:ext>
            </a:extLst>
          </p:cNvPr>
          <p:cNvSpPr txBox="1"/>
          <p:nvPr/>
        </p:nvSpPr>
        <p:spPr>
          <a:xfrm>
            <a:off x="7837301" y="2410140"/>
            <a:ext cx="3954105" cy="242880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pPr marL="228594" indent="-228594" defTabSz="914377">
              <a:buFont typeface="Arial" panose="020B0604020202020204" pitchFamily="34" charset="0"/>
              <a:buChar char="•"/>
            </a:pPr>
            <a:r>
              <a:rPr lang="en-US" sz="1400" dirty="0">
                <a:solidFill>
                  <a:srgbClr val="000000"/>
                </a:solidFill>
                <a:latin typeface="Arial" panose="020B0604020202020204" pitchFamily="34" charset="0"/>
              </a:rPr>
              <a:t>Provide underlying reusable, modular services required for </a:t>
            </a:r>
            <a:r>
              <a:rPr lang="en-US" sz="1400" dirty="0">
                <a:latin typeface="Arial" panose="020B0604020202020204" pitchFamily="34" charset="0"/>
              </a:rPr>
              <a:t>business </a:t>
            </a:r>
            <a:r>
              <a:rPr lang="en-US" sz="1400" dirty="0">
                <a:solidFill>
                  <a:srgbClr val="000000"/>
                </a:solidFill>
                <a:latin typeface="Arial" panose="020B0604020202020204" pitchFamily="34" charset="0"/>
              </a:rPr>
              <a:t>product teams</a:t>
            </a:r>
          </a:p>
          <a:p>
            <a:pPr marL="228594" indent="-228594" defTabSz="914377">
              <a:buFont typeface="Arial" panose="020B0604020202020204" pitchFamily="34" charset="0"/>
              <a:buChar char="•"/>
            </a:pPr>
            <a:endParaRPr lang="en-US" sz="1400" dirty="0">
              <a:solidFill>
                <a:srgbClr val="000000"/>
              </a:solidFill>
              <a:latin typeface="Arial" panose="020B0604020202020204" pitchFamily="34" charset="0"/>
            </a:endParaRPr>
          </a:p>
          <a:p>
            <a:pPr marL="228594" indent="-228594" defTabSz="914377">
              <a:buFont typeface="Arial" panose="020B0604020202020204" pitchFamily="34" charset="0"/>
              <a:buChar char="•"/>
            </a:pPr>
            <a:r>
              <a:rPr lang="en-US" sz="1400" dirty="0">
                <a:solidFill>
                  <a:srgbClr val="000000"/>
                </a:solidFill>
                <a:latin typeface="Arial" panose="020B0604020202020204" pitchFamily="34" charset="0"/>
              </a:rPr>
              <a:t>Focused on enabling business product teams with substantial autonomy</a:t>
            </a:r>
          </a:p>
          <a:p>
            <a:pPr defTabSz="914377"/>
            <a:endParaRPr lang="en-US" sz="1400" dirty="0">
              <a:solidFill>
                <a:srgbClr val="000000"/>
              </a:solidFill>
              <a:latin typeface="Arial" panose="020B0604020202020204" pitchFamily="34" charset="0"/>
            </a:endParaRPr>
          </a:p>
          <a:p>
            <a:pPr marL="228594" indent="-228594" defTabSz="914377">
              <a:buFont typeface="Arial" panose="020B0604020202020204" pitchFamily="34" charset="0"/>
              <a:buChar char="•"/>
            </a:pPr>
            <a:r>
              <a:rPr lang="en-US" sz="1400" dirty="0">
                <a:solidFill>
                  <a:srgbClr val="000000"/>
                </a:solidFill>
                <a:latin typeface="Arial" panose="020B0604020202020204" pitchFamily="34" charset="0"/>
              </a:rPr>
              <a:t>Relies on fast prototyping techniques and strong collaboration with business for feedback</a:t>
            </a:r>
          </a:p>
          <a:p>
            <a:pPr marL="228594" indent="-228594" defTabSz="914377">
              <a:buFont typeface="Arial" panose="020B0604020202020204" pitchFamily="34" charset="0"/>
              <a:buChar char="•"/>
            </a:pPr>
            <a:endParaRPr lang="en-US" sz="1400" dirty="0">
              <a:solidFill>
                <a:srgbClr val="000000"/>
              </a:solidFill>
              <a:latin typeface="Arial" panose="020B0604020202020204" pitchFamily="34" charset="0"/>
            </a:endParaRPr>
          </a:p>
          <a:p>
            <a:pPr marL="228594" indent="-228594" defTabSz="914377">
              <a:buFont typeface="Arial" panose="020B0604020202020204" pitchFamily="34" charset="0"/>
              <a:buChar char="•"/>
            </a:pPr>
            <a:r>
              <a:rPr lang="en-US" sz="1400" dirty="0">
                <a:solidFill>
                  <a:srgbClr val="000000"/>
                </a:solidFill>
                <a:latin typeface="Arial" panose="020B0604020202020204" pitchFamily="34" charset="0"/>
              </a:rPr>
              <a:t>Strong focus on usability and reliability (treating the platform as a product)</a:t>
            </a:r>
          </a:p>
        </p:txBody>
      </p:sp>
      <p:sp>
        <p:nvSpPr>
          <p:cNvPr id="15" name="ee4pHeader1">
            <a:extLst>
              <a:ext uri="{FF2B5EF4-FFF2-40B4-BE49-F238E27FC236}">
                <a16:creationId xmlns:a16="http://schemas.microsoft.com/office/drawing/2014/main" id="{D892D7C7-C1AC-4CAC-AF8A-73A179CAE937}"/>
              </a:ext>
            </a:extLst>
          </p:cNvPr>
          <p:cNvSpPr txBox="1"/>
          <p:nvPr/>
        </p:nvSpPr>
        <p:spPr>
          <a:xfrm>
            <a:off x="630000" y="1647833"/>
            <a:ext cx="3123862" cy="657599"/>
          </a:xfrm>
          <a:prstGeom prst="rect">
            <a:avLst/>
          </a:prstGeom>
          <a:noFill/>
          <a:ln cap="rnd">
            <a:noFill/>
          </a:ln>
        </p:spPr>
        <p:txBody>
          <a:bodyPr vert="horz" wrap="square" lIns="0" tIns="0" rIns="0" bIns="0" rtlCol="0" anchor="b" anchorCtr="0">
            <a:noAutofit/>
          </a:bodyPr>
          <a:lstStyle/>
          <a:p>
            <a:pPr marL="0" lvl="3"/>
            <a:r>
              <a:rPr lang="en-US" sz="1600" b="1" dirty="0">
                <a:solidFill>
                  <a:srgbClr val="00148C">
                    <a:lumMod val="100000"/>
                  </a:srgbClr>
                </a:solidFill>
                <a:latin typeface="Arial" panose="020B0604020202020204" pitchFamily="34" charset="0"/>
              </a:rPr>
              <a:t>Digital Business product teams</a:t>
            </a:r>
          </a:p>
        </p:txBody>
      </p:sp>
      <p:sp>
        <p:nvSpPr>
          <p:cNvPr id="17" name="ee4pHeader3">
            <a:extLst>
              <a:ext uri="{FF2B5EF4-FFF2-40B4-BE49-F238E27FC236}">
                <a16:creationId xmlns:a16="http://schemas.microsoft.com/office/drawing/2014/main" id="{A906F1D2-F864-4C82-9573-113EC2C14B5F}"/>
              </a:ext>
            </a:extLst>
          </p:cNvPr>
          <p:cNvSpPr txBox="1"/>
          <p:nvPr/>
        </p:nvSpPr>
        <p:spPr>
          <a:xfrm>
            <a:off x="7972996" y="1647833"/>
            <a:ext cx="3125941" cy="657599"/>
          </a:xfrm>
          <a:prstGeom prst="rect">
            <a:avLst/>
          </a:prstGeom>
          <a:noFill/>
          <a:ln cap="rnd">
            <a:noFill/>
          </a:ln>
        </p:spPr>
        <p:txBody>
          <a:bodyPr vert="horz" wrap="square" lIns="0" tIns="0" rIns="0" bIns="0" rtlCol="0" anchor="b" anchorCtr="0">
            <a:noAutofit/>
          </a:bodyPr>
          <a:lstStyle/>
          <a:p>
            <a:pPr marL="0" lvl="3"/>
            <a:r>
              <a:rPr lang="en-US" sz="1600" b="1" dirty="0">
                <a:solidFill>
                  <a:srgbClr val="00148C">
                    <a:lumMod val="100000"/>
                  </a:srgbClr>
                </a:solidFill>
                <a:latin typeface="Arial" panose="020B0604020202020204" pitchFamily="34" charset="0"/>
              </a:rPr>
              <a:t>Digital Platform product teams</a:t>
            </a:r>
          </a:p>
        </p:txBody>
      </p:sp>
      <p:sp>
        <p:nvSpPr>
          <p:cNvPr id="24" name="Arrow: Right 23">
            <a:extLst>
              <a:ext uri="{FF2B5EF4-FFF2-40B4-BE49-F238E27FC236}">
                <a16:creationId xmlns:a16="http://schemas.microsoft.com/office/drawing/2014/main" id="{8A9FC699-10AF-4498-AC90-02A9057CE23F}"/>
              </a:ext>
            </a:extLst>
          </p:cNvPr>
          <p:cNvSpPr/>
          <p:nvPr/>
        </p:nvSpPr>
        <p:spPr>
          <a:xfrm rot="10800000">
            <a:off x="4640508" y="3034220"/>
            <a:ext cx="832108" cy="1205170"/>
          </a:xfrm>
          <a:prstGeom prst="rightArrow">
            <a:avLst/>
          </a:prstGeom>
          <a:solidFill>
            <a:schemeClr val="bg1"/>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5" name="bcgIcons_Digital">
            <a:extLst>
              <a:ext uri="{FF2B5EF4-FFF2-40B4-BE49-F238E27FC236}">
                <a16:creationId xmlns:a16="http://schemas.microsoft.com/office/drawing/2014/main" id="{91A725EA-3F22-4E7A-A552-DAC1B42F034E}"/>
              </a:ext>
            </a:extLst>
          </p:cNvPr>
          <p:cNvGrpSpPr>
            <a:grpSpLocks noChangeAspect="1"/>
          </p:cNvGrpSpPr>
          <p:nvPr/>
        </p:nvGrpSpPr>
        <p:grpSpPr bwMode="auto">
          <a:xfrm>
            <a:off x="630000" y="1259167"/>
            <a:ext cx="809379" cy="810129"/>
            <a:chOff x="1682" y="0"/>
            <a:chExt cx="4316" cy="4320"/>
          </a:xfrm>
        </p:grpSpPr>
        <p:sp>
          <p:nvSpPr>
            <p:cNvPr id="26" name="AutoShape 8">
              <a:extLst>
                <a:ext uri="{FF2B5EF4-FFF2-40B4-BE49-F238E27FC236}">
                  <a16:creationId xmlns:a16="http://schemas.microsoft.com/office/drawing/2014/main" id="{70BE516A-21C9-473C-9FF9-528FA19674D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a:extLst>
                <a:ext uri="{FF2B5EF4-FFF2-40B4-BE49-F238E27FC236}">
                  <a16:creationId xmlns:a16="http://schemas.microsoft.com/office/drawing/2014/main" id="{BFED4A19-3D28-466B-8D48-94A59F3E2153}"/>
                </a:ext>
              </a:extLst>
            </p:cNvPr>
            <p:cNvSpPr>
              <a:spLocks noEditPoints="1"/>
            </p:cNvSpPr>
            <p:nvPr/>
          </p:nvSpPr>
          <p:spPr bwMode="auto">
            <a:xfrm>
              <a:off x="2727" y="919"/>
              <a:ext cx="2797" cy="2512"/>
            </a:xfrm>
            <a:custGeom>
              <a:avLst/>
              <a:gdLst>
                <a:gd name="T0" fmla="*/ 263 w 1493"/>
                <a:gd name="T1" fmla="*/ 1282 h 1340"/>
                <a:gd name="T2" fmla="*/ 379 w 1493"/>
                <a:gd name="T3" fmla="*/ 1282 h 1340"/>
                <a:gd name="T4" fmla="*/ 469 w 1493"/>
                <a:gd name="T5" fmla="*/ 22 h 1340"/>
                <a:gd name="T6" fmla="*/ 195 w 1493"/>
                <a:gd name="T7" fmla="*/ 0 h 1340"/>
                <a:gd name="T8" fmla="*/ 195 w 1493"/>
                <a:gd name="T9" fmla="*/ 44 h 1340"/>
                <a:gd name="T10" fmla="*/ 469 w 1493"/>
                <a:gd name="T11" fmla="*/ 22 h 1340"/>
                <a:gd name="T12" fmla="*/ 390 w 1493"/>
                <a:gd name="T13" fmla="*/ 564 h 1340"/>
                <a:gd name="T14" fmla="*/ 368 w 1493"/>
                <a:gd name="T15" fmla="*/ 701 h 1340"/>
                <a:gd name="T16" fmla="*/ 504 w 1493"/>
                <a:gd name="T17" fmla="*/ 723 h 1340"/>
                <a:gd name="T18" fmla="*/ 526 w 1493"/>
                <a:gd name="T19" fmla="*/ 586 h 1340"/>
                <a:gd name="T20" fmla="*/ 758 w 1493"/>
                <a:gd name="T21" fmla="*/ 347 h 1340"/>
                <a:gd name="T22" fmla="*/ 578 w 1493"/>
                <a:gd name="T23" fmla="*/ 369 h 1340"/>
                <a:gd name="T24" fmla="*/ 600 w 1493"/>
                <a:gd name="T25" fmla="*/ 549 h 1340"/>
                <a:gd name="T26" fmla="*/ 780 w 1493"/>
                <a:gd name="T27" fmla="*/ 527 h 1340"/>
                <a:gd name="T28" fmla="*/ 758 w 1493"/>
                <a:gd name="T29" fmla="*/ 347 h 1340"/>
                <a:gd name="T30" fmla="*/ 570 w 1493"/>
                <a:gd name="T31" fmla="*/ 586 h 1340"/>
                <a:gd name="T32" fmla="*/ 570 w 1493"/>
                <a:gd name="T33" fmla="*/ 701 h 1340"/>
                <a:gd name="T34" fmla="*/ 390 w 1493"/>
                <a:gd name="T35" fmla="*/ 767 h 1340"/>
                <a:gd name="T36" fmla="*/ 324 w 1493"/>
                <a:gd name="T37" fmla="*/ 586 h 1340"/>
                <a:gd name="T38" fmla="*/ 504 w 1493"/>
                <a:gd name="T39" fmla="*/ 520 h 1340"/>
                <a:gd name="T40" fmla="*/ 534 w 1493"/>
                <a:gd name="T41" fmla="*/ 527 h 1340"/>
                <a:gd name="T42" fmla="*/ 600 w 1493"/>
                <a:gd name="T43" fmla="*/ 303 h 1340"/>
                <a:gd name="T44" fmla="*/ 638 w 1493"/>
                <a:gd name="T45" fmla="*/ 115 h 1340"/>
                <a:gd name="T46" fmla="*/ 10 w 1493"/>
                <a:gd name="T47" fmla="*/ 105 h 1340"/>
                <a:gd name="T48" fmla="*/ 0 w 1493"/>
                <a:gd name="T49" fmla="*/ 1092 h 1340"/>
                <a:gd name="T50" fmla="*/ 628 w 1493"/>
                <a:gd name="T51" fmla="*/ 1102 h 1340"/>
                <a:gd name="T52" fmla="*/ 638 w 1493"/>
                <a:gd name="T53" fmla="*/ 593 h 1340"/>
                <a:gd name="T54" fmla="*/ 1095 w 1493"/>
                <a:gd name="T55" fmla="*/ 105 h 1340"/>
                <a:gd name="T56" fmla="*/ 874 w 1493"/>
                <a:gd name="T57" fmla="*/ 127 h 1340"/>
                <a:gd name="T58" fmla="*/ 896 w 1493"/>
                <a:gd name="T59" fmla="*/ 348 h 1340"/>
                <a:gd name="T60" fmla="*/ 1117 w 1493"/>
                <a:gd name="T61" fmla="*/ 326 h 1340"/>
                <a:gd name="T62" fmla="*/ 1095 w 1493"/>
                <a:gd name="T63" fmla="*/ 105 h 1340"/>
                <a:gd name="T64" fmla="*/ 1493 w 1493"/>
                <a:gd name="T65" fmla="*/ 222 h 1340"/>
                <a:gd name="T66" fmla="*/ 1197 w 1493"/>
                <a:gd name="T67" fmla="*/ 200 h 1340"/>
                <a:gd name="T68" fmla="*/ 1175 w 1493"/>
                <a:gd name="T69" fmla="*/ 496 h 1340"/>
                <a:gd name="T70" fmla="*/ 1471 w 1493"/>
                <a:gd name="T71" fmla="*/ 518 h 1340"/>
                <a:gd name="T72" fmla="*/ 1117 w 1493"/>
                <a:gd name="T73" fmla="*/ 667 h 1340"/>
                <a:gd name="T74" fmla="*/ 1095 w 1493"/>
                <a:gd name="T75" fmla="*/ 409 h 1340"/>
                <a:gd name="T76" fmla="*/ 838 w 1493"/>
                <a:gd name="T77" fmla="*/ 431 h 1340"/>
                <a:gd name="T78" fmla="*/ 860 w 1493"/>
                <a:gd name="T79" fmla="*/ 689 h 1340"/>
                <a:gd name="T80" fmla="*/ 1117 w 1493"/>
                <a:gd name="T81" fmla="*/ 667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3" h="1340">
                  <a:moveTo>
                    <a:pt x="321" y="1340"/>
                  </a:moveTo>
                  <a:cubicBezTo>
                    <a:pt x="289" y="1340"/>
                    <a:pt x="263" y="1314"/>
                    <a:pt x="263" y="1282"/>
                  </a:cubicBezTo>
                  <a:cubicBezTo>
                    <a:pt x="263" y="1250"/>
                    <a:pt x="289" y="1224"/>
                    <a:pt x="321" y="1224"/>
                  </a:cubicBezTo>
                  <a:cubicBezTo>
                    <a:pt x="353" y="1224"/>
                    <a:pt x="379" y="1250"/>
                    <a:pt x="379" y="1282"/>
                  </a:cubicBezTo>
                  <a:cubicBezTo>
                    <a:pt x="379" y="1314"/>
                    <a:pt x="353" y="1340"/>
                    <a:pt x="321" y="1340"/>
                  </a:cubicBezTo>
                  <a:close/>
                  <a:moveTo>
                    <a:pt x="469" y="22"/>
                  </a:moveTo>
                  <a:cubicBezTo>
                    <a:pt x="469" y="10"/>
                    <a:pt x="459" y="0"/>
                    <a:pt x="447" y="0"/>
                  </a:cubicBezTo>
                  <a:cubicBezTo>
                    <a:pt x="195" y="0"/>
                    <a:pt x="195" y="0"/>
                    <a:pt x="195" y="0"/>
                  </a:cubicBezTo>
                  <a:cubicBezTo>
                    <a:pt x="183" y="0"/>
                    <a:pt x="173" y="10"/>
                    <a:pt x="173" y="22"/>
                  </a:cubicBezTo>
                  <a:cubicBezTo>
                    <a:pt x="173" y="34"/>
                    <a:pt x="183" y="44"/>
                    <a:pt x="195" y="44"/>
                  </a:cubicBezTo>
                  <a:cubicBezTo>
                    <a:pt x="447" y="44"/>
                    <a:pt x="447" y="44"/>
                    <a:pt x="447" y="44"/>
                  </a:cubicBezTo>
                  <a:cubicBezTo>
                    <a:pt x="459" y="44"/>
                    <a:pt x="469" y="34"/>
                    <a:pt x="469" y="22"/>
                  </a:cubicBezTo>
                  <a:close/>
                  <a:moveTo>
                    <a:pt x="504" y="564"/>
                  </a:moveTo>
                  <a:cubicBezTo>
                    <a:pt x="390" y="564"/>
                    <a:pt x="390" y="564"/>
                    <a:pt x="390" y="564"/>
                  </a:cubicBezTo>
                  <a:cubicBezTo>
                    <a:pt x="377" y="564"/>
                    <a:pt x="368" y="574"/>
                    <a:pt x="368" y="586"/>
                  </a:cubicBezTo>
                  <a:cubicBezTo>
                    <a:pt x="368" y="701"/>
                    <a:pt x="368" y="701"/>
                    <a:pt x="368" y="701"/>
                  </a:cubicBezTo>
                  <a:cubicBezTo>
                    <a:pt x="368" y="713"/>
                    <a:pt x="377" y="723"/>
                    <a:pt x="390" y="723"/>
                  </a:cubicBezTo>
                  <a:cubicBezTo>
                    <a:pt x="504" y="723"/>
                    <a:pt x="504" y="723"/>
                    <a:pt x="504" y="723"/>
                  </a:cubicBezTo>
                  <a:cubicBezTo>
                    <a:pt x="516" y="723"/>
                    <a:pt x="526" y="713"/>
                    <a:pt x="526" y="701"/>
                  </a:cubicBezTo>
                  <a:cubicBezTo>
                    <a:pt x="526" y="586"/>
                    <a:pt x="526" y="586"/>
                    <a:pt x="526" y="586"/>
                  </a:cubicBezTo>
                  <a:cubicBezTo>
                    <a:pt x="526" y="574"/>
                    <a:pt x="516" y="564"/>
                    <a:pt x="504" y="564"/>
                  </a:cubicBezTo>
                  <a:moveTo>
                    <a:pt x="758" y="347"/>
                  </a:moveTo>
                  <a:cubicBezTo>
                    <a:pt x="600" y="347"/>
                    <a:pt x="600" y="347"/>
                    <a:pt x="600" y="347"/>
                  </a:cubicBezTo>
                  <a:cubicBezTo>
                    <a:pt x="588" y="347"/>
                    <a:pt x="578" y="357"/>
                    <a:pt x="578" y="369"/>
                  </a:cubicBezTo>
                  <a:cubicBezTo>
                    <a:pt x="578" y="527"/>
                    <a:pt x="578" y="527"/>
                    <a:pt x="578" y="527"/>
                  </a:cubicBezTo>
                  <a:cubicBezTo>
                    <a:pt x="578" y="539"/>
                    <a:pt x="588" y="549"/>
                    <a:pt x="600" y="549"/>
                  </a:cubicBezTo>
                  <a:cubicBezTo>
                    <a:pt x="758" y="549"/>
                    <a:pt x="758" y="549"/>
                    <a:pt x="758" y="549"/>
                  </a:cubicBezTo>
                  <a:cubicBezTo>
                    <a:pt x="770" y="549"/>
                    <a:pt x="780" y="539"/>
                    <a:pt x="780" y="527"/>
                  </a:cubicBezTo>
                  <a:cubicBezTo>
                    <a:pt x="780" y="369"/>
                    <a:pt x="780" y="369"/>
                    <a:pt x="780" y="369"/>
                  </a:cubicBezTo>
                  <a:cubicBezTo>
                    <a:pt x="780" y="357"/>
                    <a:pt x="770" y="347"/>
                    <a:pt x="758" y="347"/>
                  </a:cubicBezTo>
                  <a:moveTo>
                    <a:pt x="600" y="593"/>
                  </a:moveTo>
                  <a:cubicBezTo>
                    <a:pt x="589" y="593"/>
                    <a:pt x="579" y="590"/>
                    <a:pt x="570" y="586"/>
                  </a:cubicBezTo>
                  <a:cubicBezTo>
                    <a:pt x="570" y="586"/>
                    <a:pt x="570" y="586"/>
                    <a:pt x="570" y="586"/>
                  </a:cubicBezTo>
                  <a:cubicBezTo>
                    <a:pt x="570" y="701"/>
                    <a:pt x="570" y="701"/>
                    <a:pt x="570" y="701"/>
                  </a:cubicBezTo>
                  <a:cubicBezTo>
                    <a:pt x="570" y="737"/>
                    <a:pt x="541" y="767"/>
                    <a:pt x="504" y="767"/>
                  </a:cubicBezTo>
                  <a:cubicBezTo>
                    <a:pt x="390" y="767"/>
                    <a:pt x="390" y="767"/>
                    <a:pt x="390" y="767"/>
                  </a:cubicBezTo>
                  <a:cubicBezTo>
                    <a:pt x="353" y="767"/>
                    <a:pt x="324" y="737"/>
                    <a:pt x="324" y="701"/>
                  </a:cubicBezTo>
                  <a:cubicBezTo>
                    <a:pt x="324" y="586"/>
                    <a:pt x="324" y="586"/>
                    <a:pt x="324" y="586"/>
                  </a:cubicBezTo>
                  <a:cubicBezTo>
                    <a:pt x="324" y="550"/>
                    <a:pt x="353" y="520"/>
                    <a:pt x="390" y="520"/>
                  </a:cubicBezTo>
                  <a:cubicBezTo>
                    <a:pt x="504" y="520"/>
                    <a:pt x="504" y="520"/>
                    <a:pt x="504" y="520"/>
                  </a:cubicBezTo>
                  <a:cubicBezTo>
                    <a:pt x="515" y="520"/>
                    <a:pt x="525" y="523"/>
                    <a:pt x="534" y="528"/>
                  </a:cubicBezTo>
                  <a:cubicBezTo>
                    <a:pt x="534" y="527"/>
                    <a:pt x="534" y="527"/>
                    <a:pt x="534" y="527"/>
                  </a:cubicBezTo>
                  <a:cubicBezTo>
                    <a:pt x="534" y="369"/>
                    <a:pt x="534" y="369"/>
                    <a:pt x="534" y="369"/>
                  </a:cubicBezTo>
                  <a:cubicBezTo>
                    <a:pt x="534" y="333"/>
                    <a:pt x="564" y="303"/>
                    <a:pt x="600" y="303"/>
                  </a:cubicBezTo>
                  <a:cubicBezTo>
                    <a:pt x="638" y="303"/>
                    <a:pt x="638" y="303"/>
                    <a:pt x="638" y="303"/>
                  </a:cubicBezTo>
                  <a:cubicBezTo>
                    <a:pt x="638" y="115"/>
                    <a:pt x="638" y="115"/>
                    <a:pt x="638" y="115"/>
                  </a:cubicBezTo>
                  <a:cubicBezTo>
                    <a:pt x="638" y="110"/>
                    <a:pt x="634" y="105"/>
                    <a:pt x="628" y="105"/>
                  </a:cubicBezTo>
                  <a:cubicBezTo>
                    <a:pt x="10" y="105"/>
                    <a:pt x="10" y="105"/>
                    <a:pt x="10" y="105"/>
                  </a:cubicBezTo>
                  <a:cubicBezTo>
                    <a:pt x="4" y="105"/>
                    <a:pt x="0" y="110"/>
                    <a:pt x="0" y="115"/>
                  </a:cubicBezTo>
                  <a:cubicBezTo>
                    <a:pt x="0" y="1092"/>
                    <a:pt x="0" y="1092"/>
                    <a:pt x="0" y="1092"/>
                  </a:cubicBezTo>
                  <a:cubicBezTo>
                    <a:pt x="0" y="1098"/>
                    <a:pt x="4" y="1102"/>
                    <a:pt x="10" y="1102"/>
                  </a:cubicBezTo>
                  <a:cubicBezTo>
                    <a:pt x="628" y="1102"/>
                    <a:pt x="628" y="1102"/>
                    <a:pt x="628" y="1102"/>
                  </a:cubicBezTo>
                  <a:cubicBezTo>
                    <a:pt x="634" y="1102"/>
                    <a:pt x="638" y="1098"/>
                    <a:pt x="638" y="1092"/>
                  </a:cubicBezTo>
                  <a:cubicBezTo>
                    <a:pt x="638" y="593"/>
                    <a:pt x="638" y="593"/>
                    <a:pt x="638" y="593"/>
                  </a:cubicBezTo>
                  <a:lnTo>
                    <a:pt x="600" y="593"/>
                  </a:lnTo>
                  <a:close/>
                  <a:moveTo>
                    <a:pt x="1095" y="105"/>
                  </a:moveTo>
                  <a:cubicBezTo>
                    <a:pt x="896" y="105"/>
                    <a:pt x="896" y="105"/>
                    <a:pt x="896" y="105"/>
                  </a:cubicBezTo>
                  <a:cubicBezTo>
                    <a:pt x="884" y="105"/>
                    <a:pt x="874" y="115"/>
                    <a:pt x="874" y="127"/>
                  </a:cubicBezTo>
                  <a:cubicBezTo>
                    <a:pt x="874" y="326"/>
                    <a:pt x="874" y="326"/>
                    <a:pt x="874" y="326"/>
                  </a:cubicBezTo>
                  <a:cubicBezTo>
                    <a:pt x="874" y="338"/>
                    <a:pt x="884" y="348"/>
                    <a:pt x="896" y="348"/>
                  </a:cubicBezTo>
                  <a:cubicBezTo>
                    <a:pt x="1095" y="348"/>
                    <a:pt x="1095" y="348"/>
                    <a:pt x="1095" y="348"/>
                  </a:cubicBezTo>
                  <a:cubicBezTo>
                    <a:pt x="1107" y="348"/>
                    <a:pt x="1117" y="338"/>
                    <a:pt x="1117" y="326"/>
                  </a:cubicBezTo>
                  <a:cubicBezTo>
                    <a:pt x="1117" y="127"/>
                    <a:pt x="1117" y="127"/>
                    <a:pt x="1117" y="127"/>
                  </a:cubicBezTo>
                  <a:cubicBezTo>
                    <a:pt x="1117" y="115"/>
                    <a:pt x="1107" y="105"/>
                    <a:pt x="1095" y="105"/>
                  </a:cubicBezTo>
                  <a:moveTo>
                    <a:pt x="1493" y="496"/>
                  </a:moveTo>
                  <a:cubicBezTo>
                    <a:pt x="1493" y="222"/>
                    <a:pt x="1493" y="222"/>
                    <a:pt x="1493" y="222"/>
                  </a:cubicBezTo>
                  <a:cubicBezTo>
                    <a:pt x="1493" y="210"/>
                    <a:pt x="1483" y="200"/>
                    <a:pt x="1471" y="200"/>
                  </a:cubicBezTo>
                  <a:cubicBezTo>
                    <a:pt x="1197" y="200"/>
                    <a:pt x="1197" y="200"/>
                    <a:pt x="1197" y="200"/>
                  </a:cubicBezTo>
                  <a:cubicBezTo>
                    <a:pt x="1185" y="200"/>
                    <a:pt x="1175" y="210"/>
                    <a:pt x="1175" y="222"/>
                  </a:cubicBezTo>
                  <a:cubicBezTo>
                    <a:pt x="1175" y="496"/>
                    <a:pt x="1175" y="496"/>
                    <a:pt x="1175" y="496"/>
                  </a:cubicBezTo>
                  <a:cubicBezTo>
                    <a:pt x="1175" y="508"/>
                    <a:pt x="1185" y="518"/>
                    <a:pt x="1197" y="518"/>
                  </a:cubicBezTo>
                  <a:cubicBezTo>
                    <a:pt x="1471" y="518"/>
                    <a:pt x="1471" y="518"/>
                    <a:pt x="1471" y="518"/>
                  </a:cubicBezTo>
                  <a:cubicBezTo>
                    <a:pt x="1483" y="518"/>
                    <a:pt x="1493" y="508"/>
                    <a:pt x="1493" y="496"/>
                  </a:cubicBezTo>
                  <a:close/>
                  <a:moveTo>
                    <a:pt x="1117" y="667"/>
                  </a:moveTo>
                  <a:cubicBezTo>
                    <a:pt x="1117" y="431"/>
                    <a:pt x="1117" y="431"/>
                    <a:pt x="1117" y="431"/>
                  </a:cubicBezTo>
                  <a:cubicBezTo>
                    <a:pt x="1117" y="419"/>
                    <a:pt x="1107" y="409"/>
                    <a:pt x="1095" y="409"/>
                  </a:cubicBezTo>
                  <a:cubicBezTo>
                    <a:pt x="860" y="409"/>
                    <a:pt x="860" y="409"/>
                    <a:pt x="860" y="409"/>
                  </a:cubicBezTo>
                  <a:cubicBezTo>
                    <a:pt x="848" y="409"/>
                    <a:pt x="838" y="419"/>
                    <a:pt x="838" y="431"/>
                  </a:cubicBezTo>
                  <a:cubicBezTo>
                    <a:pt x="838" y="667"/>
                    <a:pt x="838" y="667"/>
                    <a:pt x="838" y="667"/>
                  </a:cubicBezTo>
                  <a:cubicBezTo>
                    <a:pt x="838" y="679"/>
                    <a:pt x="848" y="689"/>
                    <a:pt x="860" y="689"/>
                  </a:cubicBezTo>
                  <a:cubicBezTo>
                    <a:pt x="1095" y="689"/>
                    <a:pt x="1095" y="689"/>
                    <a:pt x="1095" y="689"/>
                  </a:cubicBezTo>
                  <a:cubicBezTo>
                    <a:pt x="1107" y="689"/>
                    <a:pt x="1117" y="679"/>
                    <a:pt x="1117" y="667"/>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1">
              <a:extLst>
                <a:ext uri="{FF2B5EF4-FFF2-40B4-BE49-F238E27FC236}">
                  <a16:creationId xmlns:a16="http://schemas.microsoft.com/office/drawing/2014/main" id="{DF8DCE48-9FA5-48D7-9484-59D1BD7991AA}"/>
                </a:ext>
              </a:extLst>
            </p:cNvPr>
            <p:cNvSpPr>
              <a:spLocks noEditPoints="1"/>
            </p:cNvSpPr>
            <p:nvPr/>
          </p:nvSpPr>
          <p:spPr bwMode="auto">
            <a:xfrm>
              <a:off x="2574" y="728"/>
              <a:ext cx="1509" cy="2865"/>
            </a:xfrm>
            <a:custGeom>
              <a:avLst/>
              <a:gdLst>
                <a:gd name="T0" fmla="*/ 762 w 806"/>
                <a:gd name="T1" fmla="*/ 695 h 1528"/>
                <a:gd name="T2" fmla="*/ 762 w 806"/>
                <a:gd name="T3" fmla="*/ 1252 h 1528"/>
                <a:gd name="T4" fmla="*/ 44 w 806"/>
                <a:gd name="T5" fmla="*/ 1252 h 1528"/>
                <a:gd name="T6" fmla="*/ 44 w 806"/>
                <a:gd name="T7" fmla="*/ 44 h 1528"/>
                <a:gd name="T8" fmla="*/ 762 w 806"/>
                <a:gd name="T9" fmla="*/ 44 h 1528"/>
                <a:gd name="T10" fmla="*/ 762 w 806"/>
                <a:gd name="T11" fmla="*/ 405 h 1528"/>
                <a:gd name="T12" fmla="*/ 806 w 806"/>
                <a:gd name="T13" fmla="*/ 405 h 1528"/>
                <a:gd name="T14" fmla="*/ 806 w 806"/>
                <a:gd name="T15" fmla="*/ 22 h 1528"/>
                <a:gd name="T16" fmla="*/ 784 w 806"/>
                <a:gd name="T17" fmla="*/ 0 h 1528"/>
                <a:gd name="T18" fmla="*/ 22 w 806"/>
                <a:gd name="T19" fmla="*/ 0 h 1528"/>
                <a:gd name="T20" fmla="*/ 0 w 806"/>
                <a:gd name="T21" fmla="*/ 22 h 1528"/>
                <a:gd name="T22" fmla="*/ 0 w 806"/>
                <a:gd name="T23" fmla="*/ 1252 h 1528"/>
                <a:gd name="T24" fmla="*/ 0 w 806"/>
                <a:gd name="T25" fmla="*/ 1296 h 1528"/>
                <a:gd name="T26" fmla="*/ 0 w 806"/>
                <a:gd name="T27" fmla="*/ 1506 h 1528"/>
                <a:gd name="T28" fmla="*/ 22 w 806"/>
                <a:gd name="T29" fmla="*/ 1528 h 1528"/>
                <a:gd name="T30" fmla="*/ 784 w 806"/>
                <a:gd name="T31" fmla="*/ 1528 h 1528"/>
                <a:gd name="T32" fmla="*/ 806 w 806"/>
                <a:gd name="T33" fmla="*/ 1506 h 1528"/>
                <a:gd name="T34" fmla="*/ 806 w 806"/>
                <a:gd name="T35" fmla="*/ 1296 h 1528"/>
                <a:gd name="T36" fmla="*/ 806 w 806"/>
                <a:gd name="T37" fmla="*/ 1252 h 1528"/>
                <a:gd name="T38" fmla="*/ 806 w 806"/>
                <a:gd name="T39" fmla="*/ 695 h 1528"/>
                <a:gd name="T40" fmla="*/ 762 w 806"/>
                <a:gd name="T41" fmla="*/ 695 h 1528"/>
                <a:gd name="T42" fmla="*/ 762 w 806"/>
                <a:gd name="T43" fmla="*/ 1484 h 1528"/>
                <a:gd name="T44" fmla="*/ 44 w 806"/>
                <a:gd name="T45" fmla="*/ 1484 h 1528"/>
                <a:gd name="T46" fmla="*/ 44 w 806"/>
                <a:gd name="T47" fmla="*/ 1296 h 1528"/>
                <a:gd name="T48" fmla="*/ 762 w 806"/>
                <a:gd name="T49" fmla="*/ 1296 h 1528"/>
                <a:gd name="T50" fmla="*/ 762 w 806"/>
                <a:gd name="T51" fmla="*/ 1484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6" h="1528">
                  <a:moveTo>
                    <a:pt x="762" y="695"/>
                  </a:moveTo>
                  <a:cubicBezTo>
                    <a:pt x="762" y="1252"/>
                    <a:pt x="762" y="1252"/>
                    <a:pt x="762" y="1252"/>
                  </a:cubicBezTo>
                  <a:cubicBezTo>
                    <a:pt x="44" y="1252"/>
                    <a:pt x="44" y="1252"/>
                    <a:pt x="44" y="1252"/>
                  </a:cubicBezTo>
                  <a:cubicBezTo>
                    <a:pt x="44" y="44"/>
                    <a:pt x="44" y="44"/>
                    <a:pt x="44" y="44"/>
                  </a:cubicBezTo>
                  <a:cubicBezTo>
                    <a:pt x="762" y="44"/>
                    <a:pt x="762" y="44"/>
                    <a:pt x="762" y="44"/>
                  </a:cubicBezTo>
                  <a:cubicBezTo>
                    <a:pt x="762" y="405"/>
                    <a:pt x="762" y="405"/>
                    <a:pt x="762" y="405"/>
                  </a:cubicBezTo>
                  <a:cubicBezTo>
                    <a:pt x="806" y="405"/>
                    <a:pt x="806" y="405"/>
                    <a:pt x="806" y="405"/>
                  </a:cubicBezTo>
                  <a:cubicBezTo>
                    <a:pt x="806" y="22"/>
                    <a:pt x="806" y="22"/>
                    <a:pt x="806" y="22"/>
                  </a:cubicBezTo>
                  <a:cubicBezTo>
                    <a:pt x="806" y="10"/>
                    <a:pt x="796" y="0"/>
                    <a:pt x="784" y="0"/>
                  </a:cubicBezTo>
                  <a:cubicBezTo>
                    <a:pt x="22" y="0"/>
                    <a:pt x="22" y="0"/>
                    <a:pt x="22" y="0"/>
                  </a:cubicBezTo>
                  <a:cubicBezTo>
                    <a:pt x="10" y="0"/>
                    <a:pt x="0" y="10"/>
                    <a:pt x="0" y="22"/>
                  </a:cubicBezTo>
                  <a:cubicBezTo>
                    <a:pt x="0" y="1252"/>
                    <a:pt x="0" y="1252"/>
                    <a:pt x="0" y="1252"/>
                  </a:cubicBezTo>
                  <a:cubicBezTo>
                    <a:pt x="0" y="1296"/>
                    <a:pt x="0" y="1296"/>
                    <a:pt x="0" y="1296"/>
                  </a:cubicBezTo>
                  <a:cubicBezTo>
                    <a:pt x="0" y="1506"/>
                    <a:pt x="0" y="1506"/>
                    <a:pt x="0" y="1506"/>
                  </a:cubicBezTo>
                  <a:cubicBezTo>
                    <a:pt x="0" y="1518"/>
                    <a:pt x="10" y="1528"/>
                    <a:pt x="22" y="1528"/>
                  </a:cubicBezTo>
                  <a:cubicBezTo>
                    <a:pt x="784" y="1528"/>
                    <a:pt x="784" y="1528"/>
                    <a:pt x="784" y="1528"/>
                  </a:cubicBezTo>
                  <a:cubicBezTo>
                    <a:pt x="796" y="1528"/>
                    <a:pt x="806" y="1518"/>
                    <a:pt x="806" y="1506"/>
                  </a:cubicBezTo>
                  <a:cubicBezTo>
                    <a:pt x="806" y="1296"/>
                    <a:pt x="806" y="1296"/>
                    <a:pt x="806" y="1296"/>
                  </a:cubicBezTo>
                  <a:cubicBezTo>
                    <a:pt x="806" y="1252"/>
                    <a:pt x="806" y="1252"/>
                    <a:pt x="806" y="1252"/>
                  </a:cubicBezTo>
                  <a:cubicBezTo>
                    <a:pt x="806" y="695"/>
                    <a:pt x="806" y="695"/>
                    <a:pt x="806" y="695"/>
                  </a:cubicBezTo>
                  <a:lnTo>
                    <a:pt x="762" y="695"/>
                  </a:lnTo>
                  <a:close/>
                  <a:moveTo>
                    <a:pt x="762" y="1484"/>
                  </a:moveTo>
                  <a:cubicBezTo>
                    <a:pt x="44" y="1484"/>
                    <a:pt x="44" y="1484"/>
                    <a:pt x="44" y="1484"/>
                  </a:cubicBezTo>
                  <a:cubicBezTo>
                    <a:pt x="44" y="1296"/>
                    <a:pt x="44" y="1296"/>
                    <a:pt x="44" y="1296"/>
                  </a:cubicBezTo>
                  <a:cubicBezTo>
                    <a:pt x="762" y="1296"/>
                    <a:pt x="762" y="1296"/>
                    <a:pt x="762" y="1296"/>
                  </a:cubicBezTo>
                  <a:lnTo>
                    <a:pt x="762" y="1484"/>
                  </a:lnTo>
                  <a:close/>
                </a:path>
              </a:pathLst>
            </a:custGeom>
            <a:solidFill>
              <a:srgbClr val="000A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 name="bcgIcons_DigitalFactory">
            <a:extLst>
              <a:ext uri="{FF2B5EF4-FFF2-40B4-BE49-F238E27FC236}">
                <a16:creationId xmlns:a16="http://schemas.microsoft.com/office/drawing/2014/main" id="{1EEA4830-19B6-444E-9851-18C39E3BDA2E}"/>
              </a:ext>
            </a:extLst>
          </p:cNvPr>
          <p:cNvGrpSpPr>
            <a:grpSpLocks noChangeAspect="1"/>
          </p:cNvGrpSpPr>
          <p:nvPr/>
        </p:nvGrpSpPr>
        <p:grpSpPr bwMode="auto">
          <a:xfrm>
            <a:off x="7972996" y="1259167"/>
            <a:ext cx="809379" cy="810129"/>
            <a:chOff x="1682" y="0"/>
            <a:chExt cx="4316" cy="4320"/>
          </a:xfrm>
        </p:grpSpPr>
        <p:sp>
          <p:nvSpPr>
            <p:cNvPr id="30" name="AutoShape 33">
              <a:extLst>
                <a:ext uri="{FF2B5EF4-FFF2-40B4-BE49-F238E27FC236}">
                  <a16:creationId xmlns:a16="http://schemas.microsoft.com/office/drawing/2014/main" id="{5E92F100-8165-486D-BC41-539A4C6EAF8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5">
              <a:extLst>
                <a:ext uri="{FF2B5EF4-FFF2-40B4-BE49-F238E27FC236}">
                  <a16:creationId xmlns:a16="http://schemas.microsoft.com/office/drawing/2014/main" id="{4A705A2A-0704-4A8B-AB71-D53C7C0DEDB3}"/>
                </a:ext>
              </a:extLst>
            </p:cNvPr>
            <p:cNvSpPr>
              <a:spLocks noEditPoints="1"/>
            </p:cNvSpPr>
            <p:nvPr/>
          </p:nvSpPr>
          <p:spPr bwMode="auto">
            <a:xfrm>
              <a:off x="2030" y="1303"/>
              <a:ext cx="3620" cy="2571"/>
            </a:xfrm>
            <a:custGeom>
              <a:avLst/>
              <a:gdLst>
                <a:gd name="T0" fmla="*/ 1910 w 1932"/>
                <a:gd name="T1" fmla="*/ 1227 h 1371"/>
                <a:gd name="T2" fmla="*/ 1834 w 1932"/>
                <a:gd name="T3" fmla="*/ 1227 h 1371"/>
                <a:gd name="T4" fmla="*/ 1834 w 1932"/>
                <a:gd name="T5" fmla="*/ 1190 h 1371"/>
                <a:gd name="T6" fmla="*/ 1812 w 1932"/>
                <a:gd name="T7" fmla="*/ 1168 h 1371"/>
                <a:gd name="T8" fmla="*/ 120 w 1932"/>
                <a:gd name="T9" fmla="*/ 1168 h 1371"/>
                <a:gd name="T10" fmla="*/ 98 w 1932"/>
                <a:gd name="T11" fmla="*/ 1190 h 1371"/>
                <a:gd name="T12" fmla="*/ 98 w 1932"/>
                <a:gd name="T13" fmla="*/ 1227 h 1371"/>
                <a:gd name="T14" fmla="*/ 22 w 1932"/>
                <a:gd name="T15" fmla="*/ 1227 h 1371"/>
                <a:gd name="T16" fmla="*/ 0 w 1932"/>
                <a:gd name="T17" fmla="*/ 1249 h 1371"/>
                <a:gd name="T18" fmla="*/ 0 w 1932"/>
                <a:gd name="T19" fmla="*/ 1349 h 1371"/>
                <a:gd name="T20" fmla="*/ 22 w 1932"/>
                <a:gd name="T21" fmla="*/ 1371 h 1371"/>
                <a:gd name="T22" fmla="*/ 1910 w 1932"/>
                <a:gd name="T23" fmla="*/ 1371 h 1371"/>
                <a:gd name="T24" fmla="*/ 1932 w 1932"/>
                <a:gd name="T25" fmla="*/ 1349 h 1371"/>
                <a:gd name="T26" fmla="*/ 1932 w 1932"/>
                <a:gd name="T27" fmla="*/ 1249 h 1371"/>
                <a:gd name="T28" fmla="*/ 1910 w 1932"/>
                <a:gd name="T29" fmla="*/ 1227 h 1371"/>
                <a:gd name="T30" fmla="*/ 1812 w 1932"/>
                <a:gd name="T31" fmla="*/ 1124 h 1371"/>
                <a:gd name="T32" fmla="*/ 1768 w 1932"/>
                <a:gd name="T33" fmla="*/ 1124 h 1371"/>
                <a:gd name="T34" fmla="*/ 1768 w 1932"/>
                <a:gd name="T35" fmla="*/ 235 h 1371"/>
                <a:gd name="T36" fmla="*/ 1282 w 1932"/>
                <a:gd name="T37" fmla="*/ 235 h 1371"/>
                <a:gd name="T38" fmla="*/ 1275 w 1932"/>
                <a:gd name="T39" fmla="*/ 234 h 1371"/>
                <a:gd name="T40" fmla="*/ 728 w 1932"/>
                <a:gd name="T41" fmla="*/ 53 h 1371"/>
                <a:gd name="T42" fmla="*/ 728 w 1932"/>
                <a:gd name="T43" fmla="*/ 211 h 1371"/>
                <a:gd name="T44" fmla="*/ 719 w 1932"/>
                <a:gd name="T45" fmla="*/ 229 h 1371"/>
                <a:gd name="T46" fmla="*/ 699 w 1932"/>
                <a:gd name="T47" fmla="*/ 232 h 1371"/>
                <a:gd name="T48" fmla="*/ 162 w 1932"/>
                <a:gd name="T49" fmla="*/ 53 h 1371"/>
                <a:gd name="T50" fmla="*/ 162 w 1932"/>
                <a:gd name="T51" fmla="*/ 1124 h 1371"/>
                <a:gd name="T52" fmla="*/ 118 w 1932"/>
                <a:gd name="T53" fmla="*/ 1124 h 1371"/>
                <a:gd name="T54" fmla="*/ 118 w 1932"/>
                <a:gd name="T55" fmla="*/ 23 h 1371"/>
                <a:gd name="T56" fmla="*/ 127 w 1932"/>
                <a:gd name="T57" fmla="*/ 5 h 1371"/>
                <a:gd name="T58" fmla="*/ 147 w 1932"/>
                <a:gd name="T59" fmla="*/ 2 h 1371"/>
                <a:gd name="T60" fmla="*/ 684 w 1932"/>
                <a:gd name="T61" fmla="*/ 181 h 1371"/>
                <a:gd name="T62" fmla="*/ 684 w 1932"/>
                <a:gd name="T63" fmla="*/ 23 h 1371"/>
                <a:gd name="T64" fmla="*/ 693 w 1932"/>
                <a:gd name="T65" fmla="*/ 5 h 1371"/>
                <a:gd name="T66" fmla="*/ 713 w 1932"/>
                <a:gd name="T67" fmla="*/ 2 h 1371"/>
                <a:gd name="T68" fmla="*/ 1286 w 1932"/>
                <a:gd name="T69" fmla="*/ 191 h 1371"/>
                <a:gd name="T70" fmla="*/ 1790 w 1932"/>
                <a:gd name="T71" fmla="*/ 191 h 1371"/>
                <a:gd name="T72" fmla="*/ 1812 w 1932"/>
                <a:gd name="T73" fmla="*/ 213 h 1371"/>
                <a:gd name="T74" fmla="*/ 1812 w 1932"/>
                <a:gd name="T75" fmla="*/ 1124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2" h="1371">
                  <a:moveTo>
                    <a:pt x="1910" y="1227"/>
                  </a:moveTo>
                  <a:cubicBezTo>
                    <a:pt x="1834" y="1227"/>
                    <a:pt x="1834" y="1227"/>
                    <a:pt x="1834" y="1227"/>
                  </a:cubicBezTo>
                  <a:cubicBezTo>
                    <a:pt x="1834" y="1190"/>
                    <a:pt x="1834" y="1190"/>
                    <a:pt x="1834" y="1190"/>
                  </a:cubicBezTo>
                  <a:cubicBezTo>
                    <a:pt x="1834" y="1178"/>
                    <a:pt x="1824" y="1168"/>
                    <a:pt x="1812" y="1168"/>
                  </a:cubicBezTo>
                  <a:cubicBezTo>
                    <a:pt x="120" y="1168"/>
                    <a:pt x="120" y="1168"/>
                    <a:pt x="120" y="1168"/>
                  </a:cubicBezTo>
                  <a:cubicBezTo>
                    <a:pt x="108" y="1168"/>
                    <a:pt x="98" y="1178"/>
                    <a:pt x="98" y="1190"/>
                  </a:cubicBezTo>
                  <a:cubicBezTo>
                    <a:pt x="98" y="1227"/>
                    <a:pt x="98" y="1227"/>
                    <a:pt x="98" y="1227"/>
                  </a:cubicBezTo>
                  <a:cubicBezTo>
                    <a:pt x="22" y="1227"/>
                    <a:pt x="22" y="1227"/>
                    <a:pt x="22" y="1227"/>
                  </a:cubicBezTo>
                  <a:cubicBezTo>
                    <a:pt x="9" y="1227"/>
                    <a:pt x="0" y="1237"/>
                    <a:pt x="0" y="1249"/>
                  </a:cubicBezTo>
                  <a:cubicBezTo>
                    <a:pt x="0" y="1349"/>
                    <a:pt x="0" y="1349"/>
                    <a:pt x="0" y="1349"/>
                  </a:cubicBezTo>
                  <a:cubicBezTo>
                    <a:pt x="0" y="1361"/>
                    <a:pt x="9" y="1371"/>
                    <a:pt x="22" y="1371"/>
                  </a:cubicBezTo>
                  <a:cubicBezTo>
                    <a:pt x="1910" y="1371"/>
                    <a:pt x="1910" y="1371"/>
                    <a:pt x="1910" y="1371"/>
                  </a:cubicBezTo>
                  <a:cubicBezTo>
                    <a:pt x="1923" y="1371"/>
                    <a:pt x="1932" y="1361"/>
                    <a:pt x="1932" y="1349"/>
                  </a:cubicBezTo>
                  <a:cubicBezTo>
                    <a:pt x="1932" y="1249"/>
                    <a:pt x="1932" y="1249"/>
                    <a:pt x="1932" y="1249"/>
                  </a:cubicBezTo>
                  <a:cubicBezTo>
                    <a:pt x="1932" y="1237"/>
                    <a:pt x="1923" y="1227"/>
                    <a:pt x="1910" y="1227"/>
                  </a:cubicBezTo>
                  <a:close/>
                  <a:moveTo>
                    <a:pt x="1812" y="1124"/>
                  </a:moveTo>
                  <a:cubicBezTo>
                    <a:pt x="1768" y="1124"/>
                    <a:pt x="1768" y="1124"/>
                    <a:pt x="1768" y="1124"/>
                  </a:cubicBezTo>
                  <a:cubicBezTo>
                    <a:pt x="1768" y="235"/>
                    <a:pt x="1768" y="235"/>
                    <a:pt x="1768" y="235"/>
                  </a:cubicBezTo>
                  <a:cubicBezTo>
                    <a:pt x="1282" y="235"/>
                    <a:pt x="1282" y="235"/>
                    <a:pt x="1282" y="235"/>
                  </a:cubicBezTo>
                  <a:cubicBezTo>
                    <a:pt x="1280" y="235"/>
                    <a:pt x="1277" y="235"/>
                    <a:pt x="1275" y="234"/>
                  </a:cubicBezTo>
                  <a:cubicBezTo>
                    <a:pt x="728" y="53"/>
                    <a:pt x="728" y="53"/>
                    <a:pt x="728" y="53"/>
                  </a:cubicBezTo>
                  <a:cubicBezTo>
                    <a:pt x="728" y="211"/>
                    <a:pt x="728" y="211"/>
                    <a:pt x="728" y="211"/>
                  </a:cubicBezTo>
                  <a:cubicBezTo>
                    <a:pt x="728" y="218"/>
                    <a:pt x="725" y="225"/>
                    <a:pt x="719" y="229"/>
                  </a:cubicBezTo>
                  <a:cubicBezTo>
                    <a:pt x="713" y="233"/>
                    <a:pt x="706" y="234"/>
                    <a:pt x="699" y="232"/>
                  </a:cubicBezTo>
                  <a:cubicBezTo>
                    <a:pt x="162" y="53"/>
                    <a:pt x="162" y="53"/>
                    <a:pt x="162" y="53"/>
                  </a:cubicBezTo>
                  <a:cubicBezTo>
                    <a:pt x="162" y="1124"/>
                    <a:pt x="162" y="1124"/>
                    <a:pt x="162" y="1124"/>
                  </a:cubicBezTo>
                  <a:cubicBezTo>
                    <a:pt x="118" y="1124"/>
                    <a:pt x="118" y="1124"/>
                    <a:pt x="118" y="1124"/>
                  </a:cubicBezTo>
                  <a:cubicBezTo>
                    <a:pt x="118" y="23"/>
                    <a:pt x="118" y="23"/>
                    <a:pt x="118" y="23"/>
                  </a:cubicBezTo>
                  <a:cubicBezTo>
                    <a:pt x="118" y="16"/>
                    <a:pt x="121" y="9"/>
                    <a:pt x="127" y="5"/>
                  </a:cubicBezTo>
                  <a:cubicBezTo>
                    <a:pt x="133" y="1"/>
                    <a:pt x="140" y="0"/>
                    <a:pt x="147" y="2"/>
                  </a:cubicBezTo>
                  <a:cubicBezTo>
                    <a:pt x="684" y="181"/>
                    <a:pt x="684" y="181"/>
                    <a:pt x="684" y="181"/>
                  </a:cubicBezTo>
                  <a:cubicBezTo>
                    <a:pt x="684" y="23"/>
                    <a:pt x="684" y="23"/>
                    <a:pt x="684" y="23"/>
                  </a:cubicBezTo>
                  <a:cubicBezTo>
                    <a:pt x="684" y="16"/>
                    <a:pt x="687" y="9"/>
                    <a:pt x="693" y="5"/>
                  </a:cubicBezTo>
                  <a:cubicBezTo>
                    <a:pt x="699" y="1"/>
                    <a:pt x="706" y="0"/>
                    <a:pt x="713" y="2"/>
                  </a:cubicBezTo>
                  <a:cubicBezTo>
                    <a:pt x="1286" y="191"/>
                    <a:pt x="1286" y="191"/>
                    <a:pt x="1286" y="191"/>
                  </a:cubicBezTo>
                  <a:cubicBezTo>
                    <a:pt x="1790" y="191"/>
                    <a:pt x="1790" y="191"/>
                    <a:pt x="1790" y="191"/>
                  </a:cubicBezTo>
                  <a:cubicBezTo>
                    <a:pt x="1802" y="191"/>
                    <a:pt x="1812" y="201"/>
                    <a:pt x="1812" y="213"/>
                  </a:cubicBezTo>
                  <a:lnTo>
                    <a:pt x="1812" y="1124"/>
                  </a:lnTo>
                  <a:close/>
                </a:path>
              </a:pathLst>
            </a:custGeom>
            <a:solidFill>
              <a:srgbClr val="000A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6">
              <a:extLst>
                <a:ext uri="{FF2B5EF4-FFF2-40B4-BE49-F238E27FC236}">
                  <a16:creationId xmlns:a16="http://schemas.microsoft.com/office/drawing/2014/main" id="{40753BFC-F611-4C5A-8C73-FF7E16BC2B02}"/>
                </a:ext>
              </a:extLst>
            </p:cNvPr>
            <p:cNvSpPr>
              <a:spLocks noEditPoints="1"/>
            </p:cNvSpPr>
            <p:nvPr/>
          </p:nvSpPr>
          <p:spPr bwMode="auto">
            <a:xfrm>
              <a:off x="2480" y="446"/>
              <a:ext cx="2802" cy="2854"/>
            </a:xfrm>
            <a:custGeom>
              <a:avLst/>
              <a:gdLst>
                <a:gd name="T0" fmla="*/ 1479 w 1496"/>
                <a:gd name="T1" fmla="*/ 604 h 1522"/>
                <a:gd name="T2" fmla="*/ 1209 w 1496"/>
                <a:gd name="T3" fmla="*/ 15 h 1522"/>
                <a:gd name="T4" fmla="*/ 1447 w 1496"/>
                <a:gd name="T5" fmla="*/ 15 h 1522"/>
                <a:gd name="T6" fmla="*/ 0 w 1496"/>
                <a:gd name="T7" fmla="*/ 915 h 1522"/>
                <a:gd name="T8" fmla="*/ 150 w 1496"/>
                <a:gd name="T9" fmla="*/ 915 h 1522"/>
                <a:gd name="T10" fmla="*/ 97 w 1496"/>
                <a:gd name="T11" fmla="*/ 862 h 1522"/>
                <a:gd name="T12" fmla="*/ 371 w 1496"/>
                <a:gd name="T13" fmla="*/ 840 h 1522"/>
                <a:gd name="T14" fmla="*/ 327 w 1496"/>
                <a:gd name="T15" fmla="*/ 991 h 1522"/>
                <a:gd name="T16" fmla="*/ 698 w 1496"/>
                <a:gd name="T17" fmla="*/ 915 h 1522"/>
                <a:gd name="T18" fmla="*/ 600 w 1496"/>
                <a:gd name="T19" fmla="*/ 1013 h 1522"/>
                <a:gd name="T20" fmla="*/ 600 w 1496"/>
                <a:gd name="T21" fmla="*/ 969 h 1522"/>
                <a:gd name="T22" fmla="*/ 654 w 1496"/>
                <a:gd name="T23" fmla="*/ 915 h 1522"/>
                <a:gd name="T24" fmla="*/ 852 w 1496"/>
                <a:gd name="T25" fmla="*/ 818 h 1522"/>
                <a:gd name="T26" fmla="*/ 852 w 1496"/>
                <a:gd name="T27" fmla="*/ 1013 h 1522"/>
                <a:gd name="T28" fmla="*/ 1125 w 1496"/>
                <a:gd name="T29" fmla="*/ 840 h 1522"/>
                <a:gd name="T30" fmla="*/ 1081 w 1496"/>
                <a:gd name="T31" fmla="*/ 991 h 1522"/>
                <a:gd name="T32" fmla="*/ 194 w 1496"/>
                <a:gd name="T33" fmla="*/ 1170 h 1522"/>
                <a:gd name="T34" fmla="*/ 97 w 1496"/>
                <a:gd name="T35" fmla="*/ 1267 h 1522"/>
                <a:gd name="T36" fmla="*/ 97 w 1496"/>
                <a:gd name="T37" fmla="*/ 1223 h 1522"/>
                <a:gd name="T38" fmla="*/ 150 w 1496"/>
                <a:gd name="T39" fmla="*/ 1170 h 1522"/>
                <a:gd name="T40" fmla="*/ 251 w 1496"/>
                <a:gd name="T41" fmla="*/ 1170 h 1522"/>
                <a:gd name="T42" fmla="*/ 402 w 1496"/>
                <a:gd name="T43" fmla="*/ 1170 h 1522"/>
                <a:gd name="T44" fmla="*/ 349 w 1496"/>
                <a:gd name="T45" fmla="*/ 1117 h 1522"/>
                <a:gd name="T46" fmla="*/ 852 w 1496"/>
                <a:gd name="T47" fmla="*/ 1073 h 1522"/>
                <a:gd name="T48" fmla="*/ 949 w 1496"/>
                <a:gd name="T49" fmla="*/ 1170 h 1522"/>
                <a:gd name="T50" fmla="*/ 798 w 1496"/>
                <a:gd name="T51" fmla="*/ 1170 h 1522"/>
                <a:gd name="T52" fmla="*/ 622 w 1496"/>
                <a:gd name="T53" fmla="*/ 1245 h 1522"/>
                <a:gd name="T54" fmla="*/ 578 w 1496"/>
                <a:gd name="T55" fmla="*/ 1095 h 1522"/>
                <a:gd name="T56" fmla="*/ 622 w 1496"/>
                <a:gd name="T57" fmla="*/ 1245 h 1522"/>
                <a:gd name="T58" fmla="*/ 1103 w 1496"/>
                <a:gd name="T59" fmla="*/ 1073 h 1522"/>
                <a:gd name="T60" fmla="*/ 1103 w 1496"/>
                <a:gd name="T61" fmla="*/ 1267 h 1522"/>
                <a:gd name="T62" fmla="*/ 349 w 1496"/>
                <a:gd name="T63" fmla="*/ 1327 h 1522"/>
                <a:gd name="T64" fmla="*/ 446 w 1496"/>
                <a:gd name="T65" fmla="*/ 1425 h 1522"/>
                <a:gd name="T66" fmla="*/ 295 w 1496"/>
                <a:gd name="T67" fmla="*/ 1425 h 1522"/>
                <a:gd name="T68" fmla="*/ 1201 w 1496"/>
                <a:gd name="T69" fmla="*/ 1425 h 1522"/>
                <a:gd name="T70" fmla="*/ 1103 w 1496"/>
                <a:gd name="T71" fmla="*/ 1522 h 1522"/>
                <a:gd name="T72" fmla="*/ 1103 w 1496"/>
                <a:gd name="T73" fmla="*/ 1478 h 1522"/>
                <a:gd name="T74" fmla="*/ 1157 w 1496"/>
                <a:gd name="T75" fmla="*/ 1425 h 1522"/>
                <a:gd name="T76" fmla="*/ 600 w 1496"/>
                <a:gd name="T77" fmla="*/ 1327 h 1522"/>
                <a:gd name="T78" fmla="*/ 600 w 1496"/>
                <a:gd name="T79" fmla="*/ 1522 h 1522"/>
                <a:gd name="T80" fmla="*/ 119 w 1496"/>
                <a:gd name="T81" fmla="*/ 1349 h 1522"/>
                <a:gd name="T82" fmla="*/ 75 w 1496"/>
                <a:gd name="T83" fmla="*/ 1500 h 1522"/>
                <a:gd name="T84" fmla="*/ 874 w 1496"/>
                <a:gd name="T85" fmla="*/ 1500 h 1522"/>
                <a:gd name="T86" fmla="*/ 830 w 1496"/>
                <a:gd name="T87" fmla="*/ 1349 h 1522"/>
                <a:gd name="T88" fmla="*/ 874 w 1496"/>
                <a:gd name="T89" fmla="*/ 1500 h 1522"/>
                <a:gd name="T90" fmla="*/ 1355 w 1496"/>
                <a:gd name="T91" fmla="*/ 818 h 1522"/>
                <a:gd name="T92" fmla="*/ 1355 w 1496"/>
                <a:gd name="T93" fmla="*/ 1013 h 1522"/>
                <a:gd name="T94" fmla="*/ 1355 w 1496"/>
                <a:gd name="T95" fmla="*/ 1073 h 1522"/>
                <a:gd name="T96" fmla="*/ 1452 w 1496"/>
                <a:gd name="T97" fmla="*/ 1170 h 1522"/>
                <a:gd name="T98" fmla="*/ 1302 w 1496"/>
                <a:gd name="T99" fmla="*/ 1170 h 1522"/>
                <a:gd name="T100" fmla="*/ 1377 w 1496"/>
                <a:gd name="T101" fmla="*/ 1500 h 1522"/>
                <a:gd name="T102" fmla="*/ 1333 w 1496"/>
                <a:gd name="T103" fmla="*/ 1349 h 1522"/>
                <a:gd name="T104" fmla="*/ 1377 w 1496"/>
                <a:gd name="T105" fmla="*/ 150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6" h="1522">
                  <a:moveTo>
                    <a:pt x="1447" y="15"/>
                  </a:moveTo>
                  <a:cubicBezTo>
                    <a:pt x="1495" y="587"/>
                    <a:pt x="1495" y="587"/>
                    <a:pt x="1495" y="587"/>
                  </a:cubicBezTo>
                  <a:cubicBezTo>
                    <a:pt x="1496" y="596"/>
                    <a:pt x="1488" y="604"/>
                    <a:pt x="1479" y="604"/>
                  </a:cubicBezTo>
                  <a:cubicBezTo>
                    <a:pt x="1177" y="604"/>
                    <a:pt x="1177" y="604"/>
                    <a:pt x="1177" y="604"/>
                  </a:cubicBezTo>
                  <a:cubicBezTo>
                    <a:pt x="1167" y="604"/>
                    <a:pt x="1160" y="596"/>
                    <a:pt x="1161" y="587"/>
                  </a:cubicBezTo>
                  <a:cubicBezTo>
                    <a:pt x="1209" y="15"/>
                    <a:pt x="1209" y="15"/>
                    <a:pt x="1209" y="15"/>
                  </a:cubicBezTo>
                  <a:cubicBezTo>
                    <a:pt x="1210" y="6"/>
                    <a:pt x="1217" y="0"/>
                    <a:pt x="1225" y="0"/>
                  </a:cubicBezTo>
                  <a:cubicBezTo>
                    <a:pt x="1431" y="0"/>
                    <a:pt x="1431" y="0"/>
                    <a:pt x="1431" y="0"/>
                  </a:cubicBezTo>
                  <a:cubicBezTo>
                    <a:pt x="1439" y="0"/>
                    <a:pt x="1446" y="6"/>
                    <a:pt x="1447" y="15"/>
                  </a:cubicBezTo>
                  <a:close/>
                  <a:moveTo>
                    <a:pt x="194" y="915"/>
                  </a:moveTo>
                  <a:cubicBezTo>
                    <a:pt x="194" y="862"/>
                    <a:pt x="151" y="818"/>
                    <a:pt x="97" y="818"/>
                  </a:cubicBezTo>
                  <a:cubicBezTo>
                    <a:pt x="43" y="818"/>
                    <a:pt x="0" y="862"/>
                    <a:pt x="0" y="915"/>
                  </a:cubicBezTo>
                  <a:cubicBezTo>
                    <a:pt x="0" y="969"/>
                    <a:pt x="43" y="1013"/>
                    <a:pt x="97" y="1013"/>
                  </a:cubicBezTo>
                  <a:cubicBezTo>
                    <a:pt x="151" y="1013"/>
                    <a:pt x="194" y="969"/>
                    <a:pt x="194" y="915"/>
                  </a:cubicBezTo>
                  <a:close/>
                  <a:moveTo>
                    <a:pt x="150" y="915"/>
                  </a:moveTo>
                  <a:cubicBezTo>
                    <a:pt x="150" y="945"/>
                    <a:pt x="126" y="969"/>
                    <a:pt x="97" y="969"/>
                  </a:cubicBezTo>
                  <a:cubicBezTo>
                    <a:pt x="68" y="969"/>
                    <a:pt x="44" y="945"/>
                    <a:pt x="44" y="915"/>
                  </a:cubicBezTo>
                  <a:cubicBezTo>
                    <a:pt x="44" y="886"/>
                    <a:pt x="68" y="862"/>
                    <a:pt x="97" y="862"/>
                  </a:cubicBezTo>
                  <a:cubicBezTo>
                    <a:pt x="126" y="862"/>
                    <a:pt x="150" y="886"/>
                    <a:pt x="150" y="915"/>
                  </a:cubicBezTo>
                  <a:close/>
                  <a:moveTo>
                    <a:pt x="371" y="991"/>
                  </a:moveTo>
                  <a:cubicBezTo>
                    <a:pt x="371" y="840"/>
                    <a:pt x="371" y="840"/>
                    <a:pt x="371" y="840"/>
                  </a:cubicBezTo>
                  <a:cubicBezTo>
                    <a:pt x="371" y="828"/>
                    <a:pt x="361" y="818"/>
                    <a:pt x="349" y="818"/>
                  </a:cubicBezTo>
                  <a:cubicBezTo>
                    <a:pt x="336" y="818"/>
                    <a:pt x="327" y="828"/>
                    <a:pt x="327" y="840"/>
                  </a:cubicBezTo>
                  <a:cubicBezTo>
                    <a:pt x="327" y="991"/>
                    <a:pt x="327" y="991"/>
                    <a:pt x="327" y="991"/>
                  </a:cubicBezTo>
                  <a:cubicBezTo>
                    <a:pt x="327" y="1003"/>
                    <a:pt x="336" y="1013"/>
                    <a:pt x="349" y="1013"/>
                  </a:cubicBezTo>
                  <a:cubicBezTo>
                    <a:pt x="361" y="1013"/>
                    <a:pt x="371" y="1003"/>
                    <a:pt x="371" y="991"/>
                  </a:cubicBezTo>
                  <a:close/>
                  <a:moveTo>
                    <a:pt x="698" y="915"/>
                  </a:moveTo>
                  <a:cubicBezTo>
                    <a:pt x="698" y="862"/>
                    <a:pt x="654" y="818"/>
                    <a:pt x="600" y="818"/>
                  </a:cubicBezTo>
                  <a:cubicBezTo>
                    <a:pt x="546" y="818"/>
                    <a:pt x="503" y="862"/>
                    <a:pt x="503" y="915"/>
                  </a:cubicBezTo>
                  <a:cubicBezTo>
                    <a:pt x="503" y="969"/>
                    <a:pt x="546" y="1013"/>
                    <a:pt x="600" y="1013"/>
                  </a:cubicBezTo>
                  <a:cubicBezTo>
                    <a:pt x="654" y="1013"/>
                    <a:pt x="698" y="969"/>
                    <a:pt x="698" y="915"/>
                  </a:cubicBezTo>
                  <a:close/>
                  <a:moveTo>
                    <a:pt x="654" y="915"/>
                  </a:moveTo>
                  <a:cubicBezTo>
                    <a:pt x="654" y="945"/>
                    <a:pt x="630" y="969"/>
                    <a:pt x="600" y="969"/>
                  </a:cubicBezTo>
                  <a:cubicBezTo>
                    <a:pt x="571" y="969"/>
                    <a:pt x="547" y="945"/>
                    <a:pt x="547" y="915"/>
                  </a:cubicBezTo>
                  <a:cubicBezTo>
                    <a:pt x="547" y="886"/>
                    <a:pt x="571" y="862"/>
                    <a:pt x="600" y="862"/>
                  </a:cubicBezTo>
                  <a:cubicBezTo>
                    <a:pt x="630" y="862"/>
                    <a:pt x="654" y="886"/>
                    <a:pt x="654" y="915"/>
                  </a:cubicBezTo>
                  <a:close/>
                  <a:moveTo>
                    <a:pt x="874" y="991"/>
                  </a:moveTo>
                  <a:cubicBezTo>
                    <a:pt x="874" y="840"/>
                    <a:pt x="874" y="840"/>
                    <a:pt x="874" y="840"/>
                  </a:cubicBezTo>
                  <a:cubicBezTo>
                    <a:pt x="874" y="828"/>
                    <a:pt x="864" y="818"/>
                    <a:pt x="852" y="818"/>
                  </a:cubicBezTo>
                  <a:cubicBezTo>
                    <a:pt x="840" y="818"/>
                    <a:pt x="830" y="828"/>
                    <a:pt x="830" y="840"/>
                  </a:cubicBezTo>
                  <a:cubicBezTo>
                    <a:pt x="830" y="991"/>
                    <a:pt x="830" y="991"/>
                    <a:pt x="830" y="991"/>
                  </a:cubicBezTo>
                  <a:cubicBezTo>
                    <a:pt x="830" y="1003"/>
                    <a:pt x="840" y="1013"/>
                    <a:pt x="852" y="1013"/>
                  </a:cubicBezTo>
                  <a:cubicBezTo>
                    <a:pt x="864" y="1013"/>
                    <a:pt x="874" y="1003"/>
                    <a:pt x="874" y="991"/>
                  </a:cubicBezTo>
                  <a:close/>
                  <a:moveTo>
                    <a:pt x="1125" y="991"/>
                  </a:moveTo>
                  <a:cubicBezTo>
                    <a:pt x="1125" y="840"/>
                    <a:pt x="1125" y="840"/>
                    <a:pt x="1125" y="840"/>
                  </a:cubicBezTo>
                  <a:cubicBezTo>
                    <a:pt x="1125" y="828"/>
                    <a:pt x="1116" y="818"/>
                    <a:pt x="1103" y="818"/>
                  </a:cubicBezTo>
                  <a:cubicBezTo>
                    <a:pt x="1091" y="818"/>
                    <a:pt x="1081" y="828"/>
                    <a:pt x="1081" y="840"/>
                  </a:cubicBezTo>
                  <a:cubicBezTo>
                    <a:pt x="1081" y="991"/>
                    <a:pt x="1081" y="991"/>
                    <a:pt x="1081" y="991"/>
                  </a:cubicBezTo>
                  <a:cubicBezTo>
                    <a:pt x="1081" y="1003"/>
                    <a:pt x="1091" y="1013"/>
                    <a:pt x="1103" y="1013"/>
                  </a:cubicBezTo>
                  <a:cubicBezTo>
                    <a:pt x="1116" y="1013"/>
                    <a:pt x="1125" y="1003"/>
                    <a:pt x="1125" y="991"/>
                  </a:cubicBezTo>
                  <a:close/>
                  <a:moveTo>
                    <a:pt x="194" y="1170"/>
                  </a:moveTo>
                  <a:cubicBezTo>
                    <a:pt x="194" y="1116"/>
                    <a:pt x="151" y="1073"/>
                    <a:pt x="97" y="1073"/>
                  </a:cubicBezTo>
                  <a:cubicBezTo>
                    <a:pt x="43" y="1073"/>
                    <a:pt x="0" y="1116"/>
                    <a:pt x="0" y="1170"/>
                  </a:cubicBezTo>
                  <a:cubicBezTo>
                    <a:pt x="0" y="1224"/>
                    <a:pt x="43" y="1267"/>
                    <a:pt x="97" y="1267"/>
                  </a:cubicBezTo>
                  <a:cubicBezTo>
                    <a:pt x="151" y="1267"/>
                    <a:pt x="194" y="1224"/>
                    <a:pt x="194" y="1170"/>
                  </a:cubicBezTo>
                  <a:close/>
                  <a:moveTo>
                    <a:pt x="150" y="1170"/>
                  </a:moveTo>
                  <a:cubicBezTo>
                    <a:pt x="150" y="1199"/>
                    <a:pt x="126" y="1223"/>
                    <a:pt x="97" y="1223"/>
                  </a:cubicBezTo>
                  <a:cubicBezTo>
                    <a:pt x="68" y="1223"/>
                    <a:pt x="44" y="1199"/>
                    <a:pt x="44" y="1170"/>
                  </a:cubicBezTo>
                  <a:cubicBezTo>
                    <a:pt x="44" y="1141"/>
                    <a:pt x="68" y="1117"/>
                    <a:pt x="97" y="1117"/>
                  </a:cubicBezTo>
                  <a:cubicBezTo>
                    <a:pt x="126" y="1117"/>
                    <a:pt x="150" y="1141"/>
                    <a:pt x="150" y="1170"/>
                  </a:cubicBezTo>
                  <a:close/>
                  <a:moveTo>
                    <a:pt x="446" y="1170"/>
                  </a:moveTo>
                  <a:cubicBezTo>
                    <a:pt x="446" y="1116"/>
                    <a:pt x="402" y="1073"/>
                    <a:pt x="349" y="1073"/>
                  </a:cubicBezTo>
                  <a:cubicBezTo>
                    <a:pt x="295" y="1073"/>
                    <a:pt x="251" y="1116"/>
                    <a:pt x="251" y="1170"/>
                  </a:cubicBezTo>
                  <a:cubicBezTo>
                    <a:pt x="251" y="1224"/>
                    <a:pt x="295" y="1267"/>
                    <a:pt x="349" y="1267"/>
                  </a:cubicBezTo>
                  <a:cubicBezTo>
                    <a:pt x="402" y="1267"/>
                    <a:pt x="446" y="1224"/>
                    <a:pt x="446" y="1170"/>
                  </a:cubicBezTo>
                  <a:close/>
                  <a:moveTo>
                    <a:pt x="402" y="1170"/>
                  </a:moveTo>
                  <a:cubicBezTo>
                    <a:pt x="402" y="1199"/>
                    <a:pt x="378" y="1223"/>
                    <a:pt x="349" y="1223"/>
                  </a:cubicBezTo>
                  <a:cubicBezTo>
                    <a:pt x="319" y="1223"/>
                    <a:pt x="295" y="1199"/>
                    <a:pt x="295" y="1170"/>
                  </a:cubicBezTo>
                  <a:cubicBezTo>
                    <a:pt x="295" y="1141"/>
                    <a:pt x="319" y="1117"/>
                    <a:pt x="349" y="1117"/>
                  </a:cubicBezTo>
                  <a:cubicBezTo>
                    <a:pt x="378" y="1117"/>
                    <a:pt x="402" y="1141"/>
                    <a:pt x="402" y="1170"/>
                  </a:cubicBezTo>
                  <a:close/>
                  <a:moveTo>
                    <a:pt x="949" y="1170"/>
                  </a:moveTo>
                  <a:cubicBezTo>
                    <a:pt x="949" y="1116"/>
                    <a:pt x="906" y="1073"/>
                    <a:pt x="852" y="1073"/>
                  </a:cubicBezTo>
                  <a:cubicBezTo>
                    <a:pt x="798" y="1073"/>
                    <a:pt x="754" y="1116"/>
                    <a:pt x="754" y="1170"/>
                  </a:cubicBezTo>
                  <a:cubicBezTo>
                    <a:pt x="754" y="1224"/>
                    <a:pt x="798" y="1267"/>
                    <a:pt x="852" y="1267"/>
                  </a:cubicBezTo>
                  <a:cubicBezTo>
                    <a:pt x="906" y="1267"/>
                    <a:pt x="949" y="1224"/>
                    <a:pt x="949" y="1170"/>
                  </a:cubicBezTo>
                  <a:close/>
                  <a:moveTo>
                    <a:pt x="905" y="1170"/>
                  </a:moveTo>
                  <a:cubicBezTo>
                    <a:pt x="905" y="1199"/>
                    <a:pt x="881" y="1223"/>
                    <a:pt x="852" y="1223"/>
                  </a:cubicBezTo>
                  <a:cubicBezTo>
                    <a:pt x="822" y="1223"/>
                    <a:pt x="798" y="1199"/>
                    <a:pt x="798" y="1170"/>
                  </a:cubicBezTo>
                  <a:cubicBezTo>
                    <a:pt x="798" y="1141"/>
                    <a:pt x="822" y="1117"/>
                    <a:pt x="852" y="1117"/>
                  </a:cubicBezTo>
                  <a:cubicBezTo>
                    <a:pt x="881" y="1117"/>
                    <a:pt x="905" y="1141"/>
                    <a:pt x="905" y="1170"/>
                  </a:cubicBezTo>
                  <a:close/>
                  <a:moveTo>
                    <a:pt x="622" y="1245"/>
                  </a:moveTo>
                  <a:cubicBezTo>
                    <a:pt x="622" y="1095"/>
                    <a:pt x="622" y="1095"/>
                    <a:pt x="622" y="1095"/>
                  </a:cubicBezTo>
                  <a:cubicBezTo>
                    <a:pt x="622" y="1082"/>
                    <a:pt x="612" y="1073"/>
                    <a:pt x="600" y="1073"/>
                  </a:cubicBezTo>
                  <a:cubicBezTo>
                    <a:pt x="588" y="1073"/>
                    <a:pt x="578" y="1082"/>
                    <a:pt x="578" y="1095"/>
                  </a:cubicBezTo>
                  <a:cubicBezTo>
                    <a:pt x="578" y="1245"/>
                    <a:pt x="578" y="1245"/>
                    <a:pt x="578" y="1245"/>
                  </a:cubicBezTo>
                  <a:cubicBezTo>
                    <a:pt x="578" y="1258"/>
                    <a:pt x="588" y="1267"/>
                    <a:pt x="600" y="1267"/>
                  </a:cubicBezTo>
                  <a:cubicBezTo>
                    <a:pt x="612" y="1267"/>
                    <a:pt x="622" y="1258"/>
                    <a:pt x="622" y="1245"/>
                  </a:cubicBezTo>
                  <a:close/>
                  <a:moveTo>
                    <a:pt x="1125" y="1245"/>
                  </a:moveTo>
                  <a:cubicBezTo>
                    <a:pt x="1125" y="1095"/>
                    <a:pt x="1125" y="1095"/>
                    <a:pt x="1125" y="1095"/>
                  </a:cubicBezTo>
                  <a:cubicBezTo>
                    <a:pt x="1125" y="1082"/>
                    <a:pt x="1116" y="1073"/>
                    <a:pt x="1103" y="1073"/>
                  </a:cubicBezTo>
                  <a:cubicBezTo>
                    <a:pt x="1091" y="1073"/>
                    <a:pt x="1081" y="1082"/>
                    <a:pt x="1081" y="1095"/>
                  </a:cubicBezTo>
                  <a:cubicBezTo>
                    <a:pt x="1081" y="1245"/>
                    <a:pt x="1081" y="1245"/>
                    <a:pt x="1081" y="1245"/>
                  </a:cubicBezTo>
                  <a:cubicBezTo>
                    <a:pt x="1081" y="1258"/>
                    <a:pt x="1091" y="1267"/>
                    <a:pt x="1103" y="1267"/>
                  </a:cubicBezTo>
                  <a:cubicBezTo>
                    <a:pt x="1116" y="1267"/>
                    <a:pt x="1125" y="1258"/>
                    <a:pt x="1125" y="1245"/>
                  </a:cubicBezTo>
                  <a:close/>
                  <a:moveTo>
                    <a:pt x="446" y="1425"/>
                  </a:moveTo>
                  <a:cubicBezTo>
                    <a:pt x="446" y="1371"/>
                    <a:pt x="402" y="1327"/>
                    <a:pt x="349" y="1327"/>
                  </a:cubicBezTo>
                  <a:cubicBezTo>
                    <a:pt x="295" y="1327"/>
                    <a:pt x="251" y="1371"/>
                    <a:pt x="251" y="1425"/>
                  </a:cubicBezTo>
                  <a:cubicBezTo>
                    <a:pt x="251" y="1478"/>
                    <a:pt x="295" y="1522"/>
                    <a:pt x="349" y="1522"/>
                  </a:cubicBezTo>
                  <a:cubicBezTo>
                    <a:pt x="402" y="1522"/>
                    <a:pt x="446" y="1478"/>
                    <a:pt x="446" y="1425"/>
                  </a:cubicBezTo>
                  <a:close/>
                  <a:moveTo>
                    <a:pt x="402" y="1425"/>
                  </a:moveTo>
                  <a:cubicBezTo>
                    <a:pt x="402" y="1454"/>
                    <a:pt x="378" y="1478"/>
                    <a:pt x="349" y="1478"/>
                  </a:cubicBezTo>
                  <a:cubicBezTo>
                    <a:pt x="319" y="1478"/>
                    <a:pt x="295" y="1454"/>
                    <a:pt x="295" y="1425"/>
                  </a:cubicBezTo>
                  <a:cubicBezTo>
                    <a:pt x="295" y="1395"/>
                    <a:pt x="319" y="1371"/>
                    <a:pt x="349" y="1371"/>
                  </a:cubicBezTo>
                  <a:cubicBezTo>
                    <a:pt x="378" y="1371"/>
                    <a:pt x="402" y="1395"/>
                    <a:pt x="402" y="1425"/>
                  </a:cubicBezTo>
                  <a:close/>
                  <a:moveTo>
                    <a:pt x="1201" y="1425"/>
                  </a:moveTo>
                  <a:cubicBezTo>
                    <a:pt x="1201" y="1371"/>
                    <a:pt x="1157" y="1327"/>
                    <a:pt x="1103" y="1327"/>
                  </a:cubicBezTo>
                  <a:cubicBezTo>
                    <a:pt x="1050" y="1327"/>
                    <a:pt x="1006" y="1371"/>
                    <a:pt x="1006" y="1425"/>
                  </a:cubicBezTo>
                  <a:cubicBezTo>
                    <a:pt x="1006" y="1478"/>
                    <a:pt x="1050" y="1522"/>
                    <a:pt x="1103" y="1522"/>
                  </a:cubicBezTo>
                  <a:cubicBezTo>
                    <a:pt x="1157" y="1522"/>
                    <a:pt x="1201" y="1478"/>
                    <a:pt x="1201" y="1425"/>
                  </a:cubicBezTo>
                  <a:close/>
                  <a:moveTo>
                    <a:pt x="1157" y="1425"/>
                  </a:moveTo>
                  <a:cubicBezTo>
                    <a:pt x="1157" y="1454"/>
                    <a:pt x="1133" y="1478"/>
                    <a:pt x="1103" y="1478"/>
                  </a:cubicBezTo>
                  <a:cubicBezTo>
                    <a:pt x="1074" y="1478"/>
                    <a:pt x="1050" y="1454"/>
                    <a:pt x="1050" y="1425"/>
                  </a:cubicBezTo>
                  <a:cubicBezTo>
                    <a:pt x="1050" y="1395"/>
                    <a:pt x="1074" y="1371"/>
                    <a:pt x="1103" y="1371"/>
                  </a:cubicBezTo>
                  <a:cubicBezTo>
                    <a:pt x="1133" y="1371"/>
                    <a:pt x="1157" y="1395"/>
                    <a:pt x="1157" y="1425"/>
                  </a:cubicBezTo>
                  <a:close/>
                  <a:moveTo>
                    <a:pt x="622" y="1500"/>
                  </a:moveTo>
                  <a:cubicBezTo>
                    <a:pt x="622" y="1349"/>
                    <a:pt x="622" y="1349"/>
                    <a:pt x="622" y="1349"/>
                  </a:cubicBezTo>
                  <a:cubicBezTo>
                    <a:pt x="622" y="1337"/>
                    <a:pt x="612" y="1327"/>
                    <a:pt x="600" y="1327"/>
                  </a:cubicBezTo>
                  <a:cubicBezTo>
                    <a:pt x="588" y="1327"/>
                    <a:pt x="578" y="1337"/>
                    <a:pt x="578" y="1349"/>
                  </a:cubicBezTo>
                  <a:cubicBezTo>
                    <a:pt x="578" y="1500"/>
                    <a:pt x="578" y="1500"/>
                    <a:pt x="578" y="1500"/>
                  </a:cubicBezTo>
                  <a:cubicBezTo>
                    <a:pt x="578" y="1512"/>
                    <a:pt x="588" y="1522"/>
                    <a:pt x="600" y="1522"/>
                  </a:cubicBezTo>
                  <a:cubicBezTo>
                    <a:pt x="612" y="1522"/>
                    <a:pt x="622" y="1512"/>
                    <a:pt x="622" y="1500"/>
                  </a:cubicBezTo>
                  <a:close/>
                  <a:moveTo>
                    <a:pt x="119" y="1500"/>
                  </a:moveTo>
                  <a:cubicBezTo>
                    <a:pt x="119" y="1349"/>
                    <a:pt x="119" y="1349"/>
                    <a:pt x="119" y="1349"/>
                  </a:cubicBezTo>
                  <a:cubicBezTo>
                    <a:pt x="119" y="1337"/>
                    <a:pt x="109" y="1327"/>
                    <a:pt x="97" y="1327"/>
                  </a:cubicBezTo>
                  <a:cubicBezTo>
                    <a:pt x="85" y="1327"/>
                    <a:pt x="75" y="1337"/>
                    <a:pt x="75" y="1349"/>
                  </a:cubicBezTo>
                  <a:cubicBezTo>
                    <a:pt x="75" y="1500"/>
                    <a:pt x="75" y="1500"/>
                    <a:pt x="75" y="1500"/>
                  </a:cubicBezTo>
                  <a:cubicBezTo>
                    <a:pt x="75" y="1512"/>
                    <a:pt x="85" y="1522"/>
                    <a:pt x="97" y="1522"/>
                  </a:cubicBezTo>
                  <a:cubicBezTo>
                    <a:pt x="109" y="1522"/>
                    <a:pt x="119" y="1512"/>
                    <a:pt x="119" y="1500"/>
                  </a:cubicBezTo>
                  <a:close/>
                  <a:moveTo>
                    <a:pt x="874" y="1500"/>
                  </a:moveTo>
                  <a:cubicBezTo>
                    <a:pt x="874" y="1349"/>
                    <a:pt x="874" y="1349"/>
                    <a:pt x="874" y="1349"/>
                  </a:cubicBezTo>
                  <a:cubicBezTo>
                    <a:pt x="874" y="1337"/>
                    <a:pt x="864" y="1327"/>
                    <a:pt x="852" y="1327"/>
                  </a:cubicBezTo>
                  <a:cubicBezTo>
                    <a:pt x="840" y="1327"/>
                    <a:pt x="830" y="1337"/>
                    <a:pt x="830" y="1349"/>
                  </a:cubicBezTo>
                  <a:cubicBezTo>
                    <a:pt x="830" y="1500"/>
                    <a:pt x="830" y="1500"/>
                    <a:pt x="830" y="1500"/>
                  </a:cubicBezTo>
                  <a:cubicBezTo>
                    <a:pt x="830" y="1512"/>
                    <a:pt x="840" y="1522"/>
                    <a:pt x="852" y="1522"/>
                  </a:cubicBezTo>
                  <a:cubicBezTo>
                    <a:pt x="864" y="1522"/>
                    <a:pt x="874" y="1512"/>
                    <a:pt x="874" y="1500"/>
                  </a:cubicBezTo>
                  <a:close/>
                  <a:moveTo>
                    <a:pt x="1377" y="991"/>
                  </a:moveTo>
                  <a:cubicBezTo>
                    <a:pt x="1377" y="840"/>
                    <a:pt x="1377" y="840"/>
                    <a:pt x="1377" y="840"/>
                  </a:cubicBezTo>
                  <a:cubicBezTo>
                    <a:pt x="1377" y="828"/>
                    <a:pt x="1367" y="818"/>
                    <a:pt x="1355" y="818"/>
                  </a:cubicBezTo>
                  <a:cubicBezTo>
                    <a:pt x="1343" y="818"/>
                    <a:pt x="1333" y="828"/>
                    <a:pt x="1333" y="840"/>
                  </a:cubicBezTo>
                  <a:cubicBezTo>
                    <a:pt x="1333" y="991"/>
                    <a:pt x="1333" y="991"/>
                    <a:pt x="1333" y="991"/>
                  </a:cubicBezTo>
                  <a:cubicBezTo>
                    <a:pt x="1333" y="1003"/>
                    <a:pt x="1343" y="1013"/>
                    <a:pt x="1355" y="1013"/>
                  </a:cubicBezTo>
                  <a:cubicBezTo>
                    <a:pt x="1367" y="1013"/>
                    <a:pt x="1377" y="1003"/>
                    <a:pt x="1377" y="991"/>
                  </a:cubicBezTo>
                  <a:close/>
                  <a:moveTo>
                    <a:pt x="1452" y="1170"/>
                  </a:moveTo>
                  <a:cubicBezTo>
                    <a:pt x="1452" y="1116"/>
                    <a:pt x="1409" y="1073"/>
                    <a:pt x="1355" y="1073"/>
                  </a:cubicBezTo>
                  <a:cubicBezTo>
                    <a:pt x="1301" y="1073"/>
                    <a:pt x="1258" y="1116"/>
                    <a:pt x="1258" y="1170"/>
                  </a:cubicBezTo>
                  <a:cubicBezTo>
                    <a:pt x="1258" y="1224"/>
                    <a:pt x="1301" y="1267"/>
                    <a:pt x="1355" y="1267"/>
                  </a:cubicBezTo>
                  <a:cubicBezTo>
                    <a:pt x="1409" y="1267"/>
                    <a:pt x="1452" y="1224"/>
                    <a:pt x="1452" y="1170"/>
                  </a:cubicBezTo>
                  <a:close/>
                  <a:moveTo>
                    <a:pt x="1408" y="1170"/>
                  </a:moveTo>
                  <a:cubicBezTo>
                    <a:pt x="1408" y="1199"/>
                    <a:pt x="1384" y="1223"/>
                    <a:pt x="1355" y="1223"/>
                  </a:cubicBezTo>
                  <a:cubicBezTo>
                    <a:pt x="1326" y="1223"/>
                    <a:pt x="1302" y="1199"/>
                    <a:pt x="1302" y="1170"/>
                  </a:cubicBezTo>
                  <a:cubicBezTo>
                    <a:pt x="1302" y="1141"/>
                    <a:pt x="1326" y="1117"/>
                    <a:pt x="1355" y="1117"/>
                  </a:cubicBezTo>
                  <a:cubicBezTo>
                    <a:pt x="1384" y="1117"/>
                    <a:pt x="1408" y="1141"/>
                    <a:pt x="1408" y="1170"/>
                  </a:cubicBezTo>
                  <a:close/>
                  <a:moveTo>
                    <a:pt x="1377" y="1500"/>
                  </a:moveTo>
                  <a:cubicBezTo>
                    <a:pt x="1377" y="1349"/>
                    <a:pt x="1377" y="1349"/>
                    <a:pt x="1377" y="1349"/>
                  </a:cubicBezTo>
                  <a:cubicBezTo>
                    <a:pt x="1377" y="1337"/>
                    <a:pt x="1367" y="1327"/>
                    <a:pt x="1355" y="1327"/>
                  </a:cubicBezTo>
                  <a:cubicBezTo>
                    <a:pt x="1343" y="1327"/>
                    <a:pt x="1333" y="1337"/>
                    <a:pt x="1333" y="1349"/>
                  </a:cubicBezTo>
                  <a:cubicBezTo>
                    <a:pt x="1333" y="1500"/>
                    <a:pt x="1333" y="1500"/>
                    <a:pt x="1333" y="1500"/>
                  </a:cubicBezTo>
                  <a:cubicBezTo>
                    <a:pt x="1333" y="1512"/>
                    <a:pt x="1343" y="1522"/>
                    <a:pt x="1355" y="1522"/>
                  </a:cubicBezTo>
                  <a:cubicBezTo>
                    <a:pt x="1367" y="1522"/>
                    <a:pt x="1377" y="1512"/>
                    <a:pt x="1377" y="1500"/>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 name="ee4pContent2">
            <a:extLst>
              <a:ext uri="{FF2B5EF4-FFF2-40B4-BE49-F238E27FC236}">
                <a16:creationId xmlns:a16="http://schemas.microsoft.com/office/drawing/2014/main" id="{2C169291-5800-7E40-A61F-FCE1251B1489}"/>
              </a:ext>
            </a:extLst>
          </p:cNvPr>
          <p:cNvSpPr txBox="1"/>
          <p:nvPr/>
        </p:nvSpPr>
        <p:spPr>
          <a:xfrm>
            <a:off x="5190108" y="2565054"/>
            <a:ext cx="1811786" cy="2318983"/>
          </a:xfrm>
          <a:prstGeom prst="rect">
            <a:avLst/>
          </a:prstGeom>
          <a:solidFill>
            <a:schemeClr val="bg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pPr marL="108000" lvl="1" indent="0" algn="ctr" defTabSz="914377">
              <a:buNone/>
            </a:pPr>
            <a:endParaRPr lang="en-US" sz="1400" dirty="0">
              <a:solidFill>
                <a:schemeClr val="tx2"/>
              </a:solidFill>
              <a:latin typeface="Arial" panose="020B0604020202020204" pitchFamily="34" charset="0"/>
            </a:endParaRPr>
          </a:p>
          <a:p>
            <a:pPr marL="108000" lvl="1" indent="0" algn="ctr" defTabSz="914377">
              <a:buNone/>
            </a:pPr>
            <a:endParaRPr lang="en-US" sz="1400" dirty="0">
              <a:solidFill>
                <a:schemeClr val="tx2"/>
              </a:solidFill>
              <a:latin typeface="Arial" panose="020B0604020202020204" pitchFamily="34" charset="0"/>
            </a:endParaRPr>
          </a:p>
          <a:p>
            <a:pPr marL="108000" lvl="1" indent="0" algn="ctr" defTabSz="914377">
              <a:buNone/>
            </a:pPr>
            <a:r>
              <a:rPr lang="en-US" sz="1400" dirty="0">
                <a:solidFill>
                  <a:schemeClr val="tx2"/>
                </a:solidFill>
                <a:latin typeface="Arial" panose="020B0604020202020204" pitchFamily="34" charset="0"/>
              </a:rPr>
              <a:t>Provide key capabilities and</a:t>
            </a:r>
          </a:p>
          <a:p>
            <a:pPr marL="108000" lvl="1" indent="0" algn="ctr" defTabSz="914377">
              <a:buNone/>
            </a:pPr>
            <a:r>
              <a:rPr lang="en-US" sz="1400" dirty="0">
                <a:solidFill>
                  <a:schemeClr val="tx2"/>
                </a:solidFill>
                <a:latin typeface="Arial" panose="020B0604020202020204" pitchFamily="34" charset="0"/>
              </a:rPr>
              <a:t>skill-sets that are embedded into business product teams and platform product teams </a:t>
            </a:r>
          </a:p>
        </p:txBody>
      </p:sp>
      <p:sp>
        <p:nvSpPr>
          <p:cNvPr id="103" name="Rectangle 102">
            <a:extLst>
              <a:ext uri="{FF2B5EF4-FFF2-40B4-BE49-F238E27FC236}">
                <a16:creationId xmlns:a16="http://schemas.microsoft.com/office/drawing/2014/main" id="{E1061A84-62F2-2743-A9CF-589349C6DC11}"/>
              </a:ext>
            </a:extLst>
          </p:cNvPr>
          <p:cNvSpPr/>
          <p:nvPr/>
        </p:nvSpPr>
        <p:spPr>
          <a:xfrm>
            <a:off x="6268602" y="5448638"/>
            <a:ext cx="1830950" cy="338554"/>
          </a:xfrm>
          <a:prstGeom prst="rect">
            <a:avLst/>
          </a:prstGeom>
        </p:spPr>
        <p:txBody>
          <a:bodyPr wrap="none">
            <a:spAutoFit/>
          </a:bodyPr>
          <a:lstStyle/>
          <a:p>
            <a:pPr marL="285750" lvl="0">
              <a:defRPr/>
            </a:pPr>
            <a:r>
              <a:rPr lang="en-US" sz="800" b="1" kern="0" dirty="0">
                <a:solidFill>
                  <a:srgbClr val="FFFFFF"/>
                </a:solidFill>
              </a:rPr>
              <a:t>Digital products &amp; services </a:t>
            </a:r>
          </a:p>
          <a:p>
            <a:pPr marL="285750" lvl="0">
              <a:defRPr/>
            </a:pPr>
            <a:r>
              <a:rPr lang="en-US" sz="800" b="1" kern="0" dirty="0">
                <a:solidFill>
                  <a:srgbClr val="FFFFFF"/>
                </a:solidFill>
              </a:rPr>
              <a:t>layer products</a:t>
            </a:r>
          </a:p>
        </p:txBody>
      </p:sp>
      <p:grpSp>
        <p:nvGrpSpPr>
          <p:cNvPr id="7" name="Group 6">
            <a:extLst>
              <a:ext uri="{FF2B5EF4-FFF2-40B4-BE49-F238E27FC236}">
                <a16:creationId xmlns:a16="http://schemas.microsoft.com/office/drawing/2014/main" id="{C3B72D5B-8B82-AF4B-819D-DBBB4051DB01}"/>
              </a:ext>
            </a:extLst>
          </p:cNvPr>
          <p:cNvGrpSpPr>
            <a:grpSpLocks/>
          </p:cNvGrpSpPr>
          <p:nvPr/>
        </p:nvGrpSpPr>
        <p:grpSpPr>
          <a:xfrm>
            <a:off x="8174264" y="4884037"/>
            <a:ext cx="3526139" cy="1560696"/>
            <a:chOff x="8038256" y="5024062"/>
            <a:chExt cx="3352513" cy="1483848"/>
          </a:xfrm>
        </p:grpSpPr>
        <p:sp>
          <p:nvSpPr>
            <p:cNvPr id="38" name="Rectangle 37">
              <a:extLst>
                <a:ext uri="{FF2B5EF4-FFF2-40B4-BE49-F238E27FC236}">
                  <a16:creationId xmlns:a16="http://schemas.microsoft.com/office/drawing/2014/main" id="{048F6178-334E-E148-A76B-29C6C117DC54}"/>
                </a:ext>
              </a:extLst>
            </p:cNvPr>
            <p:cNvSpPr/>
            <p:nvPr/>
          </p:nvSpPr>
          <p:spPr>
            <a:xfrm>
              <a:off x="8105159" y="5095295"/>
              <a:ext cx="2654784" cy="322385"/>
            </a:xfrm>
            <a:prstGeom prst="rect">
              <a:avLst/>
            </a:prstGeom>
            <a:solidFill>
              <a:srgbClr val="C800A1"/>
            </a:solidFill>
            <a:ln w="8572" cap="rnd" cmpd="sng" algn="ctr">
              <a:solidFill>
                <a:schemeClr val="bg1"/>
              </a:solidFill>
              <a:prstDash val="solid"/>
              <a:round/>
              <a:headEnd type="none" w="med" len="med"/>
              <a:tailEnd type="none" w="med" len="med"/>
            </a:ln>
            <a:effectLst/>
          </p:spPr>
          <p:txBody>
            <a:bodyPr rot="0" spcFirstLastPara="0" vertOverflow="overflow" horzOverflow="overflow" vert="horz" wrap="square" lIns="82296" tIns="41148" rIns="972000" bIns="41148" numCol="1" spcCol="0" rtlCol="0" fromWordArt="0" anchor="ctr" anchorCtr="0" forceAA="0" compatLnSpc="1">
              <a:prstTxWarp prst="textNoShape">
                <a:avLst/>
              </a:prstTxWarp>
              <a:noAutofit/>
            </a:bodyPr>
            <a:lstStyle/>
            <a:p>
              <a:pPr marL="285750" marR="0" lvl="0" defTabSz="914400" eaLnBrk="1" fontAlgn="auto" latinLnBrk="0" hangingPunct="1">
                <a:lnSpc>
                  <a:spcPct val="100000"/>
                </a:lnSpc>
                <a:spcBef>
                  <a:spcPts val="0"/>
                </a:spcBef>
                <a:spcAft>
                  <a:spcPts val="0"/>
                </a:spcAft>
                <a:buClrTx/>
                <a:buSzTx/>
                <a:buFontTx/>
                <a:buNone/>
                <a:defRPr/>
              </a:pPr>
              <a:endParaRPr kumimoji="0" lang="en-US" sz="800" b="1" i="0" u="none" strike="noStrike" kern="0" cap="none" spc="0" normalizeH="0" baseline="0" noProof="0" dirty="0">
                <a:ln>
                  <a:noFill/>
                </a:ln>
                <a:solidFill>
                  <a:srgbClr val="FFFFFF"/>
                </a:solidFill>
                <a:effectLst/>
                <a:uLnTx/>
                <a:uFillTx/>
                <a:ea typeface="+mn-ea"/>
                <a:cs typeface="+mn-cs"/>
              </a:endParaRPr>
            </a:p>
          </p:txBody>
        </p:sp>
        <p:sp>
          <p:nvSpPr>
            <p:cNvPr id="39" name="Rectangle 38">
              <a:extLst>
                <a:ext uri="{FF2B5EF4-FFF2-40B4-BE49-F238E27FC236}">
                  <a16:creationId xmlns:a16="http://schemas.microsoft.com/office/drawing/2014/main" id="{46E652E2-7444-7A4A-955C-1C29444FB52C}"/>
                </a:ext>
              </a:extLst>
            </p:cNvPr>
            <p:cNvSpPr/>
            <p:nvPr/>
          </p:nvSpPr>
          <p:spPr>
            <a:xfrm>
              <a:off x="8105159" y="5828522"/>
              <a:ext cx="2083086" cy="317791"/>
            </a:xfrm>
            <a:prstGeom prst="rect">
              <a:avLst/>
            </a:prstGeom>
            <a:solidFill>
              <a:srgbClr val="6B80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82296" tIns="41148" rIns="972000" bIns="41148" numCol="1" spcCol="0" rtlCol="0" fromWordArt="0" anchor="ctr" anchorCtr="0" forceAA="0" compatLnSpc="1">
              <a:prstTxWarp prst="textNoShape">
                <a:avLst/>
              </a:prstTxWarp>
              <a:noAutofit/>
            </a:bodyPr>
            <a:lstStyle/>
            <a:p>
              <a:pPr marL="822960" marR="0" lvl="0" indent="0" defTabSz="914400"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dirty="0">
                <a:ln>
                  <a:noFill/>
                </a:ln>
                <a:solidFill>
                  <a:srgbClr val="FFFFFF"/>
                </a:solidFill>
                <a:effectLst/>
                <a:uLnTx/>
                <a:uFillTx/>
                <a:ea typeface="+mn-ea"/>
                <a:cs typeface="+mn-cs"/>
              </a:endParaRPr>
            </a:p>
          </p:txBody>
        </p:sp>
        <p:sp>
          <p:nvSpPr>
            <p:cNvPr id="40" name="Rectangle 39">
              <a:extLst>
                <a:ext uri="{FF2B5EF4-FFF2-40B4-BE49-F238E27FC236}">
                  <a16:creationId xmlns:a16="http://schemas.microsoft.com/office/drawing/2014/main" id="{846072BA-32F6-954E-A7CB-B08D7B181456}"/>
                </a:ext>
              </a:extLst>
            </p:cNvPr>
            <p:cNvSpPr/>
            <p:nvPr/>
          </p:nvSpPr>
          <p:spPr>
            <a:xfrm>
              <a:off x="8105046" y="5464808"/>
              <a:ext cx="2083086" cy="322385"/>
            </a:xfrm>
            <a:prstGeom prst="rect">
              <a:avLst/>
            </a:prstGeom>
            <a:solidFill>
              <a:srgbClr val="00AFF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82296" tIns="41148" rIns="972000" bIns="41148" numCol="1" spcCol="0" rtlCol="0" fromWordArt="0" anchor="ctr" anchorCtr="0" forceAA="0" compatLnSpc="1">
              <a:prstTxWarp prst="textNoShape">
                <a:avLst/>
              </a:prstTxWarp>
              <a:noAutofit/>
            </a:bodyPr>
            <a:lstStyle/>
            <a:p>
              <a:pPr marL="287338" marR="0" lvl="0" algn="ctr" defTabSz="914400" eaLnBrk="1" fontAlgn="auto" latinLnBrk="0" hangingPunct="1">
                <a:lnSpc>
                  <a:spcPct val="100000"/>
                </a:lnSpc>
                <a:spcBef>
                  <a:spcPts val="0"/>
                </a:spcBef>
                <a:spcAft>
                  <a:spcPts val="0"/>
                </a:spcAft>
                <a:buClrTx/>
                <a:buSzTx/>
                <a:buFontTx/>
                <a:buNone/>
                <a:tabLst>
                  <a:tab pos="454025" algn="l"/>
                </a:tabLst>
                <a:defRPr/>
              </a:pPr>
              <a:endParaRPr lang="en-US" sz="800" b="1" kern="0" dirty="0">
                <a:solidFill>
                  <a:srgbClr val="FFFFFF"/>
                </a:solidFill>
              </a:endParaRPr>
            </a:p>
          </p:txBody>
        </p:sp>
        <p:sp>
          <p:nvSpPr>
            <p:cNvPr id="41" name="Rectangle 40">
              <a:extLst>
                <a:ext uri="{FF2B5EF4-FFF2-40B4-BE49-F238E27FC236}">
                  <a16:creationId xmlns:a16="http://schemas.microsoft.com/office/drawing/2014/main" id="{B3D1554B-B4A3-B74F-90E9-8BE8DA0348DA}"/>
                </a:ext>
              </a:extLst>
            </p:cNvPr>
            <p:cNvSpPr/>
            <p:nvPr/>
          </p:nvSpPr>
          <p:spPr>
            <a:xfrm>
              <a:off x="8105159" y="6181972"/>
              <a:ext cx="2083086" cy="325938"/>
            </a:xfrm>
            <a:prstGeom prst="rect">
              <a:avLst/>
            </a:prstGeom>
            <a:solidFill>
              <a:srgbClr val="0073C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82296" tIns="41148" rIns="972000" bIns="41148" numCol="1" spcCol="0" rtlCol="0" fromWordArt="0" anchor="ctr" anchorCtr="0" forceAA="0" compatLnSpc="1">
              <a:prstTxWarp prst="textNoShape">
                <a:avLst/>
              </a:prstTxWarp>
              <a:noAutofit/>
            </a:bodyPr>
            <a:lstStyle/>
            <a:p>
              <a:pPr marL="822960" marR="0" lvl="0" indent="0" defTabSz="914400"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dirty="0">
                <a:ln>
                  <a:noFill/>
                </a:ln>
                <a:solidFill>
                  <a:srgbClr val="FFFFFF"/>
                </a:solidFill>
                <a:effectLst/>
                <a:uLnTx/>
                <a:uFillTx/>
                <a:ea typeface="+mn-ea"/>
                <a:cs typeface="+mn-cs"/>
              </a:endParaRPr>
            </a:p>
          </p:txBody>
        </p:sp>
        <p:sp>
          <p:nvSpPr>
            <p:cNvPr id="42" name="Rectangle 41">
              <a:extLst>
                <a:ext uri="{FF2B5EF4-FFF2-40B4-BE49-F238E27FC236}">
                  <a16:creationId xmlns:a16="http://schemas.microsoft.com/office/drawing/2014/main" id="{B65A733B-8B03-5449-9409-308C541A1D6C}"/>
                </a:ext>
              </a:extLst>
            </p:cNvPr>
            <p:cNvSpPr/>
            <p:nvPr/>
          </p:nvSpPr>
          <p:spPr>
            <a:xfrm>
              <a:off x="10780219" y="5095296"/>
              <a:ext cx="566469" cy="1412614"/>
            </a:xfrm>
            <a:prstGeom prst="rect">
              <a:avLst/>
            </a:prstGeom>
            <a:solidFill>
              <a:srgbClr val="000F69"/>
            </a:solidFill>
            <a:ln w="9525" cap="rnd" cmpd="sng" algn="ctr">
              <a:noFill/>
              <a:prstDash val="solid"/>
              <a:round/>
              <a:headEnd type="none" w="med" len="med"/>
              <a:tailEnd type="none" w="med" len="med"/>
            </a:ln>
            <a:effec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R="0" lvl="0" defTabSz="914400" eaLnBrk="1" fontAlgn="auto" latinLnBrk="0" hangingPunct="1">
                <a:lnSpc>
                  <a:spcPct val="100000"/>
                </a:lnSpc>
                <a:spcBef>
                  <a:spcPts val="0"/>
                </a:spcBef>
                <a:spcAft>
                  <a:spcPts val="0"/>
                </a:spcAft>
                <a:buClrTx/>
                <a:buSzTx/>
                <a:buFontTx/>
                <a:buNone/>
                <a:tabLst/>
                <a:defRPr/>
              </a:pPr>
              <a:endParaRPr kumimoji="0" lang="en-US" sz="36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36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36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36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lang="en-US" sz="360" b="1" kern="0" dirty="0">
                <a:solidFill>
                  <a:srgbClr val="FFFFFF"/>
                </a:solidFill>
              </a:endParaRPr>
            </a:p>
            <a:p>
              <a:pPr marR="0" lvl="0" defTabSz="914400" eaLnBrk="1" fontAlgn="auto" latinLnBrk="0" hangingPunct="1">
                <a:lnSpc>
                  <a:spcPct val="100000"/>
                </a:lnSpc>
                <a:spcBef>
                  <a:spcPts val="0"/>
                </a:spcBef>
                <a:spcAft>
                  <a:spcPts val="0"/>
                </a:spcAft>
                <a:buClrTx/>
                <a:buSzTx/>
                <a:buFontTx/>
                <a:buNone/>
                <a:tabLst/>
                <a:defRPr/>
              </a:pPr>
              <a:endParaRPr kumimoji="0" lang="en-US" sz="36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36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r>
                <a:rPr kumimoji="0" lang="en-US" sz="540" b="1" i="0" u="none" strike="noStrike" kern="0" cap="none" spc="0" normalizeH="0" baseline="0" noProof="0" dirty="0">
                  <a:ln>
                    <a:noFill/>
                  </a:ln>
                  <a:solidFill>
                    <a:srgbClr val="FFFFFF"/>
                  </a:solidFill>
                  <a:effectLst/>
                  <a:uLnTx/>
                  <a:uFillTx/>
                  <a:ea typeface="+mn-ea"/>
                  <a:cs typeface="+mn-cs"/>
                </a:rPr>
                <a:t>Security Products: </a:t>
              </a:r>
            </a:p>
          </p:txBody>
        </p:sp>
        <p:grpSp>
          <p:nvGrpSpPr>
            <p:cNvPr id="43" name="Group 42">
              <a:extLst>
                <a:ext uri="{FF2B5EF4-FFF2-40B4-BE49-F238E27FC236}">
                  <a16:creationId xmlns:a16="http://schemas.microsoft.com/office/drawing/2014/main" id="{62F41032-6A9B-FC49-BC46-ACAD333DE95B}"/>
                </a:ext>
              </a:extLst>
            </p:cNvPr>
            <p:cNvGrpSpPr>
              <a:grpSpLocks noChangeAspect="1"/>
            </p:cNvGrpSpPr>
            <p:nvPr/>
          </p:nvGrpSpPr>
          <p:grpSpPr>
            <a:xfrm>
              <a:off x="8178715" y="5092000"/>
              <a:ext cx="290090" cy="290090"/>
              <a:chOff x="5273675" y="2606675"/>
              <a:chExt cx="1644650" cy="1644650"/>
            </a:xfrm>
          </p:grpSpPr>
          <p:sp>
            <p:nvSpPr>
              <p:cNvPr id="44" name="AutoShape 3">
                <a:extLst>
                  <a:ext uri="{FF2B5EF4-FFF2-40B4-BE49-F238E27FC236}">
                    <a16:creationId xmlns:a16="http://schemas.microsoft.com/office/drawing/2014/main" id="{A634586B-AC64-364C-A8B6-5B73727BEF2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sz="600" dirty="0">
                  <a:solidFill>
                    <a:srgbClr val="575757"/>
                  </a:solidFill>
                </a:endParaRPr>
              </a:p>
            </p:txBody>
          </p:sp>
          <p:sp>
            <p:nvSpPr>
              <p:cNvPr id="45" name="Freeform 20">
                <a:extLst>
                  <a:ext uri="{FF2B5EF4-FFF2-40B4-BE49-F238E27FC236}">
                    <a16:creationId xmlns:a16="http://schemas.microsoft.com/office/drawing/2014/main" id="{D83202A6-1CD3-0C40-A60A-C078D4CEF7C8}"/>
                  </a:ext>
                </a:extLst>
              </p:cNvPr>
              <p:cNvSpPr>
                <a:spLocks/>
              </p:cNvSpPr>
              <p:nvPr/>
            </p:nvSpPr>
            <p:spPr bwMode="auto">
              <a:xfrm>
                <a:off x="5613400" y="2882899"/>
                <a:ext cx="1123951" cy="1092200"/>
              </a:xfrm>
              <a:custGeom>
                <a:avLst/>
                <a:gdLst>
                  <a:gd name="connsiteX0" fmla="*/ 287338 w 1123951"/>
                  <a:gd name="connsiteY0" fmla="*/ 947738 h 1092200"/>
                  <a:gd name="connsiteX1" fmla="*/ 328613 w 1123951"/>
                  <a:gd name="connsiteY1" fmla="*/ 989013 h 1092200"/>
                  <a:gd name="connsiteX2" fmla="*/ 287338 w 1123951"/>
                  <a:gd name="connsiteY2" fmla="*/ 1030288 h 1092200"/>
                  <a:gd name="connsiteX3" fmla="*/ 246063 w 1123951"/>
                  <a:gd name="connsiteY3" fmla="*/ 989013 h 1092200"/>
                  <a:gd name="connsiteX4" fmla="*/ 287338 w 1123951"/>
                  <a:gd name="connsiteY4" fmla="*/ 947738 h 1092200"/>
                  <a:gd name="connsiteX5" fmla="*/ 31750 w 1123951"/>
                  <a:gd name="connsiteY5" fmla="*/ 925513 h 1092200"/>
                  <a:gd name="connsiteX6" fmla="*/ 31750 w 1123951"/>
                  <a:gd name="connsiteY6" fmla="*/ 1060451 h 1092200"/>
                  <a:gd name="connsiteX7" fmla="*/ 542925 w 1123951"/>
                  <a:gd name="connsiteY7" fmla="*/ 1060451 h 1092200"/>
                  <a:gd name="connsiteX8" fmla="*/ 542925 w 1123951"/>
                  <a:gd name="connsiteY8" fmla="*/ 925513 h 1092200"/>
                  <a:gd name="connsiteX9" fmla="*/ 31750 w 1123951"/>
                  <a:gd name="connsiteY9" fmla="*/ 925513 h 1092200"/>
                  <a:gd name="connsiteX10" fmla="*/ 336369 w 1123951"/>
                  <a:gd name="connsiteY10" fmla="*/ 476250 h 1092200"/>
                  <a:gd name="connsiteX11" fmla="*/ 417694 w 1123951"/>
                  <a:gd name="connsiteY11" fmla="*/ 476250 h 1092200"/>
                  <a:gd name="connsiteX12" fmla="*/ 433388 w 1123951"/>
                  <a:gd name="connsiteY12" fmla="*/ 492065 h 1092200"/>
                  <a:gd name="connsiteX13" fmla="*/ 433388 w 1123951"/>
                  <a:gd name="connsiteY13" fmla="*/ 574735 h 1092200"/>
                  <a:gd name="connsiteX14" fmla="*/ 417694 w 1123951"/>
                  <a:gd name="connsiteY14" fmla="*/ 590550 h 1092200"/>
                  <a:gd name="connsiteX15" fmla="*/ 336369 w 1123951"/>
                  <a:gd name="connsiteY15" fmla="*/ 590550 h 1092200"/>
                  <a:gd name="connsiteX16" fmla="*/ 320675 w 1123951"/>
                  <a:gd name="connsiteY16" fmla="*/ 574735 h 1092200"/>
                  <a:gd name="connsiteX17" fmla="*/ 320675 w 1123951"/>
                  <a:gd name="connsiteY17" fmla="*/ 492065 h 1092200"/>
                  <a:gd name="connsiteX18" fmla="*/ 336369 w 1123951"/>
                  <a:gd name="connsiteY18" fmla="*/ 476250 h 1092200"/>
                  <a:gd name="connsiteX19" fmla="*/ 671411 w 1123951"/>
                  <a:gd name="connsiteY19" fmla="*/ 366713 h 1092200"/>
                  <a:gd name="connsiteX20" fmla="*/ 839891 w 1123951"/>
                  <a:gd name="connsiteY20" fmla="*/ 366713 h 1092200"/>
                  <a:gd name="connsiteX21" fmla="*/ 855663 w 1123951"/>
                  <a:gd name="connsiteY21" fmla="*/ 382429 h 1092200"/>
                  <a:gd name="connsiteX22" fmla="*/ 855663 w 1123951"/>
                  <a:gd name="connsiteY22" fmla="*/ 551022 h 1092200"/>
                  <a:gd name="connsiteX23" fmla="*/ 839891 w 1123951"/>
                  <a:gd name="connsiteY23" fmla="*/ 566738 h 1092200"/>
                  <a:gd name="connsiteX24" fmla="*/ 671411 w 1123951"/>
                  <a:gd name="connsiteY24" fmla="*/ 566738 h 1092200"/>
                  <a:gd name="connsiteX25" fmla="*/ 655638 w 1123951"/>
                  <a:gd name="connsiteY25" fmla="*/ 551022 h 1092200"/>
                  <a:gd name="connsiteX26" fmla="*/ 655638 w 1123951"/>
                  <a:gd name="connsiteY26" fmla="*/ 382429 h 1092200"/>
                  <a:gd name="connsiteX27" fmla="*/ 671411 w 1123951"/>
                  <a:gd name="connsiteY27" fmla="*/ 366713 h 1092200"/>
                  <a:gd name="connsiteX28" fmla="*/ 485633 w 1123951"/>
                  <a:gd name="connsiteY28" fmla="*/ 322263 h 1092200"/>
                  <a:gd name="connsiteX29" fmla="*/ 598629 w 1123951"/>
                  <a:gd name="connsiteY29" fmla="*/ 322263 h 1092200"/>
                  <a:gd name="connsiteX30" fmla="*/ 614363 w 1123951"/>
                  <a:gd name="connsiteY30" fmla="*/ 337996 h 1092200"/>
                  <a:gd name="connsiteX31" fmla="*/ 614363 w 1123951"/>
                  <a:gd name="connsiteY31" fmla="*/ 450993 h 1092200"/>
                  <a:gd name="connsiteX32" fmla="*/ 598629 w 1123951"/>
                  <a:gd name="connsiteY32" fmla="*/ 466726 h 1092200"/>
                  <a:gd name="connsiteX33" fmla="*/ 485633 w 1123951"/>
                  <a:gd name="connsiteY33" fmla="*/ 466726 h 1092200"/>
                  <a:gd name="connsiteX34" fmla="*/ 469900 w 1123951"/>
                  <a:gd name="connsiteY34" fmla="*/ 450993 h 1092200"/>
                  <a:gd name="connsiteX35" fmla="*/ 469900 w 1123951"/>
                  <a:gd name="connsiteY35" fmla="*/ 337996 h 1092200"/>
                  <a:gd name="connsiteX36" fmla="*/ 485633 w 1123951"/>
                  <a:gd name="connsiteY36" fmla="*/ 322263 h 1092200"/>
                  <a:gd name="connsiteX37" fmla="*/ 912644 w 1123951"/>
                  <a:gd name="connsiteY37" fmla="*/ 217488 h 1092200"/>
                  <a:gd name="connsiteX38" fmla="*/ 1108246 w 1123951"/>
                  <a:gd name="connsiteY38" fmla="*/ 217488 h 1092200"/>
                  <a:gd name="connsiteX39" fmla="*/ 1123951 w 1123951"/>
                  <a:gd name="connsiteY39" fmla="*/ 233193 h 1092200"/>
                  <a:gd name="connsiteX40" fmla="*/ 1123951 w 1123951"/>
                  <a:gd name="connsiteY40" fmla="*/ 428796 h 1092200"/>
                  <a:gd name="connsiteX41" fmla="*/ 1108246 w 1123951"/>
                  <a:gd name="connsiteY41" fmla="*/ 444501 h 1092200"/>
                  <a:gd name="connsiteX42" fmla="*/ 912644 w 1123951"/>
                  <a:gd name="connsiteY42" fmla="*/ 444501 h 1092200"/>
                  <a:gd name="connsiteX43" fmla="*/ 896938 w 1123951"/>
                  <a:gd name="connsiteY43" fmla="*/ 428796 h 1092200"/>
                  <a:gd name="connsiteX44" fmla="*/ 896938 w 1123951"/>
                  <a:gd name="connsiteY44" fmla="*/ 233193 h 1092200"/>
                  <a:gd name="connsiteX45" fmla="*/ 912644 w 1123951"/>
                  <a:gd name="connsiteY45" fmla="*/ 217488 h 1092200"/>
                  <a:gd name="connsiteX46" fmla="*/ 696848 w 1123951"/>
                  <a:gd name="connsiteY46" fmla="*/ 149225 h 1092200"/>
                  <a:gd name="connsiteX47" fmla="*/ 839854 w 1123951"/>
                  <a:gd name="connsiteY47" fmla="*/ 149225 h 1092200"/>
                  <a:gd name="connsiteX48" fmla="*/ 855663 w 1123951"/>
                  <a:gd name="connsiteY48" fmla="*/ 164891 h 1092200"/>
                  <a:gd name="connsiteX49" fmla="*/ 855663 w 1123951"/>
                  <a:gd name="connsiteY49" fmla="*/ 306597 h 1092200"/>
                  <a:gd name="connsiteX50" fmla="*/ 839854 w 1123951"/>
                  <a:gd name="connsiteY50" fmla="*/ 322263 h 1092200"/>
                  <a:gd name="connsiteX51" fmla="*/ 696848 w 1123951"/>
                  <a:gd name="connsiteY51" fmla="*/ 322263 h 1092200"/>
                  <a:gd name="connsiteX52" fmla="*/ 681038 w 1123951"/>
                  <a:gd name="connsiteY52" fmla="*/ 306597 h 1092200"/>
                  <a:gd name="connsiteX53" fmla="*/ 681038 w 1123951"/>
                  <a:gd name="connsiteY53" fmla="*/ 164891 h 1092200"/>
                  <a:gd name="connsiteX54" fmla="*/ 696848 w 1123951"/>
                  <a:gd name="connsiteY54" fmla="*/ 149225 h 1092200"/>
                  <a:gd name="connsiteX55" fmla="*/ 64302 w 1123951"/>
                  <a:gd name="connsiteY55" fmla="*/ 149225 h 1092200"/>
                  <a:gd name="connsiteX56" fmla="*/ 505610 w 1123951"/>
                  <a:gd name="connsiteY56" fmla="*/ 149225 h 1092200"/>
                  <a:gd name="connsiteX57" fmla="*/ 512763 w 1123951"/>
                  <a:gd name="connsiteY57" fmla="*/ 156365 h 1092200"/>
                  <a:gd name="connsiteX58" fmla="*/ 512763 w 1123951"/>
                  <a:gd name="connsiteY58" fmla="*/ 290608 h 1092200"/>
                  <a:gd name="connsiteX59" fmla="*/ 485583 w 1123951"/>
                  <a:gd name="connsiteY59" fmla="*/ 290608 h 1092200"/>
                  <a:gd name="connsiteX60" fmla="*/ 438377 w 1123951"/>
                  <a:gd name="connsiteY60" fmla="*/ 337736 h 1092200"/>
                  <a:gd name="connsiteX61" fmla="*/ 438377 w 1123951"/>
                  <a:gd name="connsiteY61" fmla="*/ 450557 h 1092200"/>
                  <a:gd name="connsiteX62" fmla="*/ 438377 w 1123951"/>
                  <a:gd name="connsiteY62" fmla="*/ 451271 h 1092200"/>
                  <a:gd name="connsiteX63" fmla="*/ 416920 w 1123951"/>
                  <a:gd name="connsiteY63" fmla="*/ 445558 h 1092200"/>
                  <a:gd name="connsiteX64" fmla="*/ 335381 w 1123951"/>
                  <a:gd name="connsiteY64" fmla="*/ 445558 h 1092200"/>
                  <a:gd name="connsiteX65" fmla="*/ 288175 w 1123951"/>
                  <a:gd name="connsiteY65" fmla="*/ 492686 h 1092200"/>
                  <a:gd name="connsiteX66" fmla="*/ 288175 w 1123951"/>
                  <a:gd name="connsiteY66" fmla="*/ 574803 h 1092200"/>
                  <a:gd name="connsiteX67" fmla="*/ 335381 w 1123951"/>
                  <a:gd name="connsiteY67" fmla="*/ 621930 h 1092200"/>
                  <a:gd name="connsiteX68" fmla="*/ 416920 w 1123951"/>
                  <a:gd name="connsiteY68" fmla="*/ 621930 h 1092200"/>
                  <a:gd name="connsiteX69" fmla="*/ 464126 w 1123951"/>
                  <a:gd name="connsiteY69" fmla="*/ 574803 h 1092200"/>
                  <a:gd name="connsiteX70" fmla="*/ 464126 w 1123951"/>
                  <a:gd name="connsiteY70" fmla="*/ 492686 h 1092200"/>
                  <a:gd name="connsiteX71" fmla="*/ 485583 w 1123951"/>
                  <a:gd name="connsiteY71" fmla="*/ 497685 h 1092200"/>
                  <a:gd name="connsiteX72" fmla="*/ 512763 w 1123951"/>
                  <a:gd name="connsiteY72" fmla="*/ 497685 h 1092200"/>
                  <a:gd name="connsiteX73" fmla="*/ 512763 w 1123951"/>
                  <a:gd name="connsiteY73" fmla="*/ 853285 h 1092200"/>
                  <a:gd name="connsiteX74" fmla="*/ 505610 w 1123951"/>
                  <a:gd name="connsiteY74" fmla="*/ 860425 h 1092200"/>
                  <a:gd name="connsiteX75" fmla="*/ 64302 w 1123951"/>
                  <a:gd name="connsiteY75" fmla="*/ 860425 h 1092200"/>
                  <a:gd name="connsiteX76" fmla="*/ 57150 w 1123951"/>
                  <a:gd name="connsiteY76" fmla="*/ 853285 h 1092200"/>
                  <a:gd name="connsiteX77" fmla="*/ 57150 w 1123951"/>
                  <a:gd name="connsiteY77" fmla="*/ 156365 h 1092200"/>
                  <a:gd name="connsiteX78" fmla="*/ 64302 w 1123951"/>
                  <a:gd name="connsiteY78" fmla="*/ 149225 h 1092200"/>
                  <a:gd name="connsiteX79" fmla="*/ 196721 w 1123951"/>
                  <a:gd name="connsiteY79" fmla="*/ 74613 h 1092200"/>
                  <a:gd name="connsiteX80" fmla="*/ 376367 w 1123951"/>
                  <a:gd name="connsiteY80" fmla="*/ 74613 h 1092200"/>
                  <a:gd name="connsiteX81" fmla="*/ 392113 w 1123951"/>
                  <a:gd name="connsiteY81" fmla="*/ 90488 h 1092200"/>
                  <a:gd name="connsiteX82" fmla="*/ 376367 w 1123951"/>
                  <a:gd name="connsiteY82" fmla="*/ 106363 h 1092200"/>
                  <a:gd name="connsiteX83" fmla="*/ 196721 w 1123951"/>
                  <a:gd name="connsiteY83" fmla="*/ 106363 h 1092200"/>
                  <a:gd name="connsiteX84" fmla="*/ 180975 w 1123951"/>
                  <a:gd name="connsiteY84" fmla="*/ 90488 h 1092200"/>
                  <a:gd name="connsiteX85" fmla="*/ 196721 w 1123951"/>
                  <a:gd name="connsiteY85" fmla="*/ 74613 h 1092200"/>
                  <a:gd name="connsiteX86" fmla="*/ 15725 w 1123951"/>
                  <a:gd name="connsiteY86" fmla="*/ 0 h 1092200"/>
                  <a:gd name="connsiteX87" fmla="*/ 558950 w 1123951"/>
                  <a:gd name="connsiteY87" fmla="*/ 0 h 1092200"/>
                  <a:gd name="connsiteX88" fmla="*/ 574675 w 1123951"/>
                  <a:gd name="connsiteY88" fmla="*/ 15726 h 1092200"/>
                  <a:gd name="connsiteX89" fmla="*/ 574675 w 1123951"/>
                  <a:gd name="connsiteY89" fmla="*/ 289490 h 1092200"/>
                  <a:gd name="connsiteX90" fmla="*/ 543225 w 1123951"/>
                  <a:gd name="connsiteY90" fmla="*/ 289490 h 1092200"/>
                  <a:gd name="connsiteX91" fmla="*/ 543225 w 1123951"/>
                  <a:gd name="connsiteY91" fmla="*/ 31451 h 1092200"/>
                  <a:gd name="connsiteX92" fmla="*/ 31450 w 1123951"/>
                  <a:gd name="connsiteY92" fmla="*/ 31451 h 1092200"/>
                  <a:gd name="connsiteX93" fmla="*/ 31450 w 1123951"/>
                  <a:gd name="connsiteY93" fmla="*/ 894918 h 1092200"/>
                  <a:gd name="connsiteX94" fmla="*/ 543225 w 1123951"/>
                  <a:gd name="connsiteY94" fmla="*/ 894918 h 1092200"/>
                  <a:gd name="connsiteX95" fmla="*/ 543225 w 1123951"/>
                  <a:gd name="connsiteY95" fmla="*/ 496780 h 1092200"/>
                  <a:gd name="connsiteX96" fmla="*/ 574675 w 1123951"/>
                  <a:gd name="connsiteY96" fmla="*/ 496780 h 1092200"/>
                  <a:gd name="connsiteX97" fmla="*/ 574675 w 1123951"/>
                  <a:gd name="connsiteY97" fmla="*/ 894918 h 1092200"/>
                  <a:gd name="connsiteX98" fmla="*/ 574675 w 1123951"/>
                  <a:gd name="connsiteY98" fmla="*/ 926369 h 1092200"/>
                  <a:gd name="connsiteX99" fmla="*/ 574675 w 1123951"/>
                  <a:gd name="connsiteY99" fmla="*/ 1076475 h 1092200"/>
                  <a:gd name="connsiteX100" fmla="*/ 558950 w 1123951"/>
                  <a:gd name="connsiteY100" fmla="*/ 1092200 h 1092200"/>
                  <a:gd name="connsiteX101" fmla="*/ 15725 w 1123951"/>
                  <a:gd name="connsiteY101" fmla="*/ 1092200 h 1092200"/>
                  <a:gd name="connsiteX102" fmla="*/ 0 w 1123951"/>
                  <a:gd name="connsiteY102" fmla="*/ 1076475 h 1092200"/>
                  <a:gd name="connsiteX103" fmla="*/ 0 w 1123951"/>
                  <a:gd name="connsiteY103" fmla="*/ 926369 h 1092200"/>
                  <a:gd name="connsiteX104" fmla="*/ 0 w 1123951"/>
                  <a:gd name="connsiteY104" fmla="*/ 894918 h 1092200"/>
                  <a:gd name="connsiteX105" fmla="*/ 0 w 1123951"/>
                  <a:gd name="connsiteY105" fmla="*/ 15726 h 1092200"/>
                  <a:gd name="connsiteX106" fmla="*/ 15725 w 1123951"/>
                  <a:gd name="connsiteY106"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23951" h="1092200">
                    <a:moveTo>
                      <a:pt x="287338" y="947738"/>
                    </a:moveTo>
                    <a:cubicBezTo>
                      <a:pt x="310134" y="947738"/>
                      <a:pt x="328613" y="966217"/>
                      <a:pt x="328613" y="989013"/>
                    </a:cubicBezTo>
                    <a:cubicBezTo>
                      <a:pt x="328613" y="1011809"/>
                      <a:pt x="310134" y="1030288"/>
                      <a:pt x="287338" y="1030288"/>
                    </a:cubicBezTo>
                    <a:cubicBezTo>
                      <a:pt x="264542" y="1030288"/>
                      <a:pt x="246063" y="1011809"/>
                      <a:pt x="246063" y="989013"/>
                    </a:cubicBezTo>
                    <a:cubicBezTo>
                      <a:pt x="246063" y="966217"/>
                      <a:pt x="264542" y="947738"/>
                      <a:pt x="287338" y="947738"/>
                    </a:cubicBezTo>
                    <a:close/>
                    <a:moveTo>
                      <a:pt x="31750" y="925513"/>
                    </a:moveTo>
                    <a:cubicBezTo>
                      <a:pt x="31750" y="925513"/>
                      <a:pt x="31750" y="925513"/>
                      <a:pt x="31750" y="1060451"/>
                    </a:cubicBezTo>
                    <a:cubicBezTo>
                      <a:pt x="31750" y="1060451"/>
                      <a:pt x="31750" y="1060451"/>
                      <a:pt x="542925" y="1060451"/>
                    </a:cubicBezTo>
                    <a:cubicBezTo>
                      <a:pt x="542925" y="1060451"/>
                      <a:pt x="542925" y="1060451"/>
                      <a:pt x="542925" y="925513"/>
                    </a:cubicBezTo>
                    <a:cubicBezTo>
                      <a:pt x="542925" y="925513"/>
                      <a:pt x="542925" y="925513"/>
                      <a:pt x="31750" y="925513"/>
                    </a:cubicBezTo>
                    <a:close/>
                    <a:moveTo>
                      <a:pt x="336369" y="476250"/>
                    </a:moveTo>
                    <a:cubicBezTo>
                      <a:pt x="336369" y="476250"/>
                      <a:pt x="336369" y="476250"/>
                      <a:pt x="417694" y="476250"/>
                    </a:cubicBezTo>
                    <a:cubicBezTo>
                      <a:pt x="426254" y="476250"/>
                      <a:pt x="433388" y="483439"/>
                      <a:pt x="433388" y="492065"/>
                    </a:cubicBezTo>
                    <a:cubicBezTo>
                      <a:pt x="433388" y="492065"/>
                      <a:pt x="433388" y="492065"/>
                      <a:pt x="433388" y="574735"/>
                    </a:cubicBezTo>
                    <a:cubicBezTo>
                      <a:pt x="433388" y="583361"/>
                      <a:pt x="426254" y="590550"/>
                      <a:pt x="417694" y="590550"/>
                    </a:cubicBezTo>
                    <a:cubicBezTo>
                      <a:pt x="417694" y="590550"/>
                      <a:pt x="417694" y="590550"/>
                      <a:pt x="336369" y="590550"/>
                    </a:cubicBezTo>
                    <a:cubicBezTo>
                      <a:pt x="327095" y="590550"/>
                      <a:pt x="320675" y="583361"/>
                      <a:pt x="320675" y="574735"/>
                    </a:cubicBezTo>
                    <a:cubicBezTo>
                      <a:pt x="320675" y="574735"/>
                      <a:pt x="320675" y="574735"/>
                      <a:pt x="320675" y="492065"/>
                    </a:cubicBezTo>
                    <a:cubicBezTo>
                      <a:pt x="320675" y="483439"/>
                      <a:pt x="327095" y="476250"/>
                      <a:pt x="336369" y="476250"/>
                    </a:cubicBezTo>
                    <a:close/>
                    <a:moveTo>
                      <a:pt x="671411" y="366713"/>
                    </a:moveTo>
                    <a:cubicBezTo>
                      <a:pt x="671411" y="366713"/>
                      <a:pt x="671411" y="366713"/>
                      <a:pt x="839891" y="366713"/>
                    </a:cubicBezTo>
                    <a:cubicBezTo>
                      <a:pt x="848494" y="366713"/>
                      <a:pt x="855663" y="373857"/>
                      <a:pt x="855663" y="382429"/>
                    </a:cubicBezTo>
                    <a:cubicBezTo>
                      <a:pt x="855663" y="382429"/>
                      <a:pt x="855663" y="382429"/>
                      <a:pt x="855663" y="551022"/>
                    </a:cubicBezTo>
                    <a:cubicBezTo>
                      <a:pt x="855663" y="559594"/>
                      <a:pt x="848494" y="566738"/>
                      <a:pt x="839891" y="566738"/>
                    </a:cubicBezTo>
                    <a:cubicBezTo>
                      <a:pt x="839891" y="566738"/>
                      <a:pt x="839891" y="566738"/>
                      <a:pt x="671411" y="566738"/>
                    </a:cubicBezTo>
                    <a:cubicBezTo>
                      <a:pt x="662808" y="566738"/>
                      <a:pt x="655638" y="559594"/>
                      <a:pt x="655638" y="551022"/>
                    </a:cubicBezTo>
                    <a:cubicBezTo>
                      <a:pt x="655638" y="551022"/>
                      <a:pt x="655638" y="551022"/>
                      <a:pt x="655638" y="382429"/>
                    </a:cubicBezTo>
                    <a:cubicBezTo>
                      <a:pt x="655638" y="373857"/>
                      <a:pt x="662808" y="366713"/>
                      <a:pt x="671411" y="366713"/>
                    </a:cubicBezTo>
                    <a:close/>
                    <a:moveTo>
                      <a:pt x="485633" y="322263"/>
                    </a:moveTo>
                    <a:cubicBezTo>
                      <a:pt x="485633" y="322263"/>
                      <a:pt x="485633" y="322263"/>
                      <a:pt x="598629" y="322263"/>
                    </a:cubicBezTo>
                    <a:cubicBezTo>
                      <a:pt x="607211" y="322263"/>
                      <a:pt x="614363" y="329415"/>
                      <a:pt x="614363" y="337996"/>
                    </a:cubicBezTo>
                    <a:cubicBezTo>
                      <a:pt x="614363" y="337996"/>
                      <a:pt x="614363" y="337996"/>
                      <a:pt x="614363" y="450993"/>
                    </a:cubicBezTo>
                    <a:cubicBezTo>
                      <a:pt x="614363" y="459574"/>
                      <a:pt x="607211" y="466726"/>
                      <a:pt x="598629" y="466726"/>
                    </a:cubicBezTo>
                    <a:cubicBezTo>
                      <a:pt x="598629" y="466726"/>
                      <a:pt x="598629" y="466726"/>
                      <a:pt x="485633" y="466726"/>
                    </a:cubicBezTo>
                    <a:cubicBezTo>
                      <a:pt x="477051" y="466726"/>
                      <a:pt x="469900" y="459574"/>
                      <a:pt x="469900" y="450993"/>
                    </a:cubicBezTo>
                    <a:cubicBezTo>
                      <a:pt x="469900" y="450993"/>
                      <a:pt x="469900" y="450993"/>
                      <a:pt x="469900" y="337996"/>
                    </a:cubicBezTo>
                    <a:cubicBezTo>
                      <a:pt x="469900" y="329415"/>
                      <a:pt x="477051" y="322263"/>
                      <a:pt x="485633" y="322263"/>
                    </a:cubicBezTo>
                    <a:close/>
                    <a:moveTo>
                      <a:pt x="912644" y="217488"/>
                    </a:moveTo>
                    <a:cubicBezTo>
                      <a:pt x="912644" y="217488"/>
                      <a:pt x="912644" y="217488"/>
                      <a:pt x="1108246" y="217488"/>
                    </a:cubicBezTo>
                    <a:cubicBezTo>
                      <a:pt x="1116812" y="217488"/>
                      <a:pt x="1123951" y="224627"/>
                      <a:pt x="1123951" y="233193"/>
                    </a:cubicBezTo>
                    <a:cubicBezTo>
                      <a:pt x="1123951" y="233193"/>
                      <a:pt x="1123951" y="233193"/>
                      <a:pt x="1123951" y="428796"/>
                    </a:cubicBezTo>
                    <a:cubicBezTo>
                      <a:pt x="1123951" y="437362"/>
                      <a:pt x="1116812" y="444501"/>
                      <a:pt x="1108246" y="444501"/>
                    </a:cubicBezTo>
                    <a:cubicBezTo>
                      <a:pt x="1108246" y="444501"/>
                      <a:pt x="1108246" y="444501"/>
                      <a:pt x="912644" y="444501"/>
                    </a:cubicBezTo>
                    <a:cubicBezTo>
                      <a:pt x="904077" y="444501"/>
                      <a:pt x="896938" y="437362"/>
                      <a:pt x="896938" y="428796"/>
                    </a:cubicBezTo>
                    <a:cubicBezTo>
                      <a:pt x="896938" y="428796"/>
                      <a:pt x="896938" y="428796"/>
                      <a:pt x="896938" y="233193"/>
                    </a:cubicBezTo>
                    <a:cubicBezTo>
                      <a:pt x="896938" y="224627"/>
                      <a:pt x="904077" y="217488"/>
                      <a:pt x="912644" y="217488"/>
                    </a:cubicBezTo>
                    <a:close/>
                    <a:moveTo>
                      <a:pt x="696848" y="149225"/>
                    </a:moveTo>
                    <a:cubicBezTo>
                      <a:pt x="696848" y="149225"/>
                      <a:pt x="696848" y="149225"/>
                      <a:pt x="839854" y="149225"/>
                    </a:cubicBezTo>
                    <a:cubicBezTo>
                      <a:pt x="848477" y="149225"/>
                      <a:pt x="855663" y="156346"/>
                      <a:pt x="855663" y="164891"/>
                    </a:cubicBezTo>
                    <a:cubicBezTo>
                      <a:pt x="855663" y="164891"/>
                      <a:pt x="855663" y="164891"/>
                      <a:pt x="855663" y="306597"/>
                    </a:cubicBezTo>
                    <a:cubicBezTo>
                      <a:pt x="855663" y="315142"/>
                      <a:pt x="848477" y="322263"/>
                      <a:pt x="839854" y="322263"/>
                    </a:cubicBezTo>
                    <a:cubicBezTo>
                      <a:pt x="839854" y="322263"/>
                      <a:pt x="839854" y="322263"/>
                      <a:pt x="696848" y="322263"/>
                    </a:cubicBezTo>
                    <a:cubicBezTo>
                      <a:pt x="688224" y="322263"/>
                      <a:pt x="681038" y="315142"/>
                      <a:pt x="681038" y="306597"/>
                    </a:cubicBezTo>
                    <a:cubicBezTo>
                      <a:pt x="681038" y="306597"/>
                      <a:pt x="681038" y="306597"/>
                      <a:pt x="681038" y="164891"/>
                    </a:cubicBezTo>
                    <a:cubicBezTo>
                      <a:pt x="681038" y="156346"/>
                      <a:pt x="688224" y="149225"/>
                      <a:pt x="696848" y="149225"/>
                    </a:cubicBezTo>
                    <a:close/>
                    <a:moveTo>
                      <a:pt x="64302" y="149225"/>
                    </a:moveTo>
                    <a:cubicBezTo>
                      <a:pt x="64302" y="149225"/>
                      <a:pt x="64302" y="149225"/>
                      <a:pt x="505610" y="149225"/>
                    </a:cubicBezTo>
                    <a:cubicBezTo>
                      <a:pt x="509902" y="149225"/>
                      <a:pt x="512763" y="152795"/>
                      <a:pt x="512763" y="156365"/>
                    </a:cubicBezTo>
                    <a:cubicBezTo>
                      <a:pt x="512763" y="156365"/>
                      <a:pt x="512763" y="156365"/>
                      <a:pt x="512763" y="290608"/>
                    </a:cubicBezTo>
                    <a:cubicBezTo>
                      <a:pt x="512763" y="290608"/>
                      <a:pt x="512763" y="290608"/>
                      <a:pt x="485583" y="290608"/>
                    </a:cubicBezTo>
                    <a:cubicBezTo>
                      <a:pt x="459834" y="290608"/>
                      <a:pt x="438377" y="312030"/>
                      <a:pt x="438377" y="337736"/>
                    </a:cubicBezTo>
                    <a:cubicBezTo>
                      <a:pt x="438377" y="337736"/>
                      <a:pt x="438377" y="337736"/>
                      <a:pt x="438377" y="450557"/>
                    </a:cubicBezTo>
                    <a:cubicBezTo>
                      <a:pt x="438377" y="450557"/>
                      <a:pt x="438377" y="450557"/>
                      <a:pt x="438377" y="451271"/>
                    </a:cubicBezTo>
                    <a:cubicBezTo>
                      <a:pt x="431940" y="447701"/>
                      <a:pt x="424787" y="445558"/>
                      <a:pt x="416920" y="445558"/>
                    </a:cubicBezTo>
                    <a:cubicBezTo>
                      <a:pt x="416920" y="445558"/>
                      <a:pt x="416920" y="445558"/>
                      <a:pt x="335381" y="445558"/>
                    </a:cubicBezTo>
                    <a:cubicBezTo>
                      <a:pt x="308917" y="445558"/>
                      <a:pt x="288175" y="466980"/>
                      <a:pt x="288175" y="492686"/>
                    </a:cubicBezTo>
                    <a:cubicBezTo>
                      <a:pt x="288175" y="492686"/>
                      <a:pt x="288175" y="492686"/>
                      <a:pt x="288175" y="574803"/>
                    </a:cubicBezTo>
                    <a:cubicBezTo>
                      <a:pt x="288175" y="600509"/>
                      <a:pt x="308917" y="621930"/>
                      <a:pt x="335381" y="621930"/>
                    </a:cubicBezTo>
                    <a:cubicBezTo>
                      <a:pt x="335381" y="621930"/>
                      <a:pt x="335381" y="621930"/>
                      <a:pt x="416920" y="621930"/>
                    </a:cubicBezTo>
                    <a:cubicBezTo>
                      <a:pt x="443384" y="621930"/>
                      <a:pt x="464126" y="600509"/>
                      <a:pt x="464126" y="574803"/>
                    </a:cubicBezTo>
                    <a:cubicBezTo>
                      <a:pt x="464126" y="574803"/>
                      <a:pt x="464126" y="574803"/>
                      <a:pt x="464126" y="492686"/>
                    </a:cubicBezTo>
                    <a:cubicBezTo>
                      <a:pt x="470563" y="495542"/>
                      <a:pt x="477716" y="497685"/>
                      <a:pt x="485583" y="497685"/>
                    </a:cubicBezTo>
                    <a:cubicBezTo>
                      <a:pt x="485583" y="497685"/>
                      <a:pt x="485583" y="497685"/>
                      <a:pt x="512763" y="497685"/>
                    </a:cubicBezTo>
                    <a:cubicBezTo>
                      <a:pt x="512763" y="497685"/>
                      <a:pt x="512763" y="497685"/>
                      <a:pt x="512763" y="853285"/>
                    </a:cubicBezTo>
                    <a:cubicBezTo>
                      <a:pt x="512763" y="857569"/>
                      <a:pt x="509902" y="860425"/>
                      <a:pt x="505610" y="860425"/>
                    </a:cubicBezTo>
                    <a:cubicBezTo>
                      <a:pt x="505610" y="860425"/>
                      <a:pt x="505610" y="860425"/>
                      <a:pt x="64302" y="860425"/>
                    </a:cubicBezTo>
                    <a:cubicBezTo>
                      <a:pt x="60011" y="860425"/>
                      <a:pt x="57150" y="857569"/>
                      <a:pt x="57150" y="853285"/>
                    </a:cubicBezTo>
                    <a:cubicBezTo>
                      <a:pt x="57150" y="853285"/>
                      <a:pt x="57150" y="853285"/>
                      <a:pt x="57150" y="156365"/>
                    </a:cubicBezTo>
                    <a:cubicBezTo>
                      <a:pt x="57150" y="152795"/>
                      <a:pt x="60011" y="149225"/>
                      <a:pt x="64302" y="149225"/>
                    </a:cubicBezTo>
                    <a:close/>
                    <a:moveTo>
                      <a:pt x="196721" y="74613"/>
                    </a:moveTo>
                    <a:cubicBezTo>
                      <a:pt x="196721" y="74613"/>
                      <a:pt x="196721" y="74613"/>
                      <a:pt x="376367" y="74613"/>
                    </a:cubicBezTo>
                    <a:cubicBezTo>
                      <a:pt x="384956" y="74613"/>
                      <a:pt x="392113" y="81829"/>
                      <a:pt x="392113" y="90488"/>
                    </a:cubicBezTo>
                    <a:cubicBezTo>
                      <a:pt x="392113" y="99147"/>
                      <a:pt x="384956" y="106363"/>
                      <a:pt x="376367" y="106363"/>
                    </a:cubicBezTo>
                    <a:cubicBezTo>
                      <a:pt x="376367" y="106363"/>
                      <a:pt x="376367" y="106363"/>
                      <a:pt x="196721" y="106363"/>
                    </a:cubicBezTo>
                    <a:cubicBezTo>
                      <a:pt x="188132" y="106363"/>
                      <a:pt x="180975" y="99147"/>
                      <a:pt x="180975" y="90488"/>
                    </a:cubicBezTo>
                    <a:cubicBezTo>
                      <a:pt x="180975" y="81829"/>
                      <a:pt x="188132" y="74613"/>
                      <a:pt x="196721" y="74613"/>
                    </a:cubicBezTo>
                    <a:close/>
                    <a:moveTo>
                      <a:pt x="15725" y="0"/>
                    </a:moveTo>
                    <a:cubicBezTo>
                      <a:pt x="15725" y="0"/>
                      <a:pt x="15725" y="0"/>
                      <a:pt x="558950" y="0"/>
                    </a:cubicBezTo>
                    <a:cubicBezTo>
                      <a:pt x="567528" y="0"/>
                      <a:pt x="574675" y="7148"/>
                      <a:pt x="574675" y="15726"/>
                    </a:cubicBezTo>
                    <a:cubicBezTo>
                      <a:pt x="574675" y="15726"/>
                      <a:pt x="574675" y="15726"/>
                      <a:pt x="574675" y="289490"/>
                    </a:cubicBezTo>
                    <a:cubicBezTo>
                      <a:pt x="574675" y="289490"/>
                      <a:pt x="574675" y="289490"/>
                      <a:pt x="543225" y="289490"/>
                    </a:cubicBezTo>
                    <a:cubicBezTo>
                      <a:pt x="543225" y="289490"/>
                      <a:pt x="543225" y="289490"/>
                      <a:pt x="543225" y="31451"/>
                    </a:cubicBezTo>
                    <a:cubicBezTo>
                      <a:pt x="543225" y="31451"/>
                      <a:pt x="543225" y="31451"/>
                      <a:pt x="31450" y="31451"/>
                    </a:cubicBezTo>
                    <a:cubicBezTo>
                      <a:pt x="31450" y="31451"/>
                      <a:pt x="31450" y="31451"/>
                      <a:pt x="31450" y="894918"/>
                    </a:cubicBezTo>
                    <a:cubicBezTo>
                      <a:pt x="31450" y="894918"/>
                      <a:pt x="31450" y="894918"/>
                      <a:pt x="543225" y="894918"/>
                    </a:cubicBezTo>
                    <a:cubicBezTo>
                      <a:pt x="543225" y="894918"/>
                      <a:pt x="543225" y="894918"/>
                      <a:pt x="543225" y="496780"/>
                    </a:cubicBezTo>
                    <a:cubicBezTo>
                      <a:pt x="543225" y="496780"/>
                      <a:pt x="543225" y="496780"/>
                      <a:pt x="574675" y="496780"/>
                    </a:cubicBezTo>
                    <a:cubicBezTo>
                      <a:pt x="574675" y="496780"/>
                      <a:pt x="574675" y="496780"/>
                      <a:pt x="574675" y="894918"/>
                    </a:cubicBezTo>
                    <a:cubicBezTo>
                      <a:pt x="574675" y="894918"/>
                      <a:pt x="574675" y="894918"/>
                      <a:pt x="574675" y="926369"/>
                    </a:cubicBezTo>
                    <a:cubicBezTo>
                      <a:pt x="574675" y="926369"/>
                      <a:pt x="574675" y="926369"/>
                      <a:pt x="574675" y="1076475"/>
                    </a:cubicBezTo>
                    <a:cubicBezTo>
                      <a:pt x="574675" y="1085052"/>
                      <a:pt x="567528" y="1092200"/>
                      <a:pt x="558950" y="1092200"/>
                    </a:cubicBezTo>
                    <a:cubicBezTo>
                      <a:pt x="558950" y="1092200"/>
                      <a:pt x="558950" y="1092200"/>
                      <a:pt x="15725" y="1092200"/>
                    </a:cubicBezTo>
                    <a:cubicBezTo>
                      <a:pt x="7148" y="1092200"/>
                      <a:pt x="0" y="1085052"/>
                      <a:pt x="0" y="1076475"/>
                    </a:cubicBezTo>
                    <a:cubicBezTo>
                      <a:pt x="0" y="1076475"/>
                      <a:pt x="0" y="1076475"/>
                      <a:pt x="0" y="926369"/>
                    </a:cubicBezTo>
                    <a:cubicBezTo>
                      <a:pt x="0" y="926369"/>
                      <a:pt x="0" y="926369"/>
                      <a:pt x="0" y="894918"/>
                    </a:cubicBezTo>
                    <a:cubicBezTo>
                      <a:pt x="0" y="894918"/>
                      <a:pt x="0" y="894918"/>
                      <a:pt x="0" y="15726"/>
                    </a:cubicBezTo>
                    <a:cubicBezTo>
                      <a:pt x="0" y="7148"/>
                      <a:pt x="7148" y="0"/>
                      <a:pt x="15725" y="0"/>
                    </a:cubicBezTo>
                    <a:close/>
                  </a:path>
                </a:pathLst>
              </a:custGeom>
              <a:solidFill>
                <a:srgbClr val="FFFFFF"/>
              </a:solidFill>
              <a:ln>
                <a:noFill/>
              </a:ln>
            </p:spPr>
            <p:txBody>
              <a:bodyPr vert="horz" wrap="square" lIns="82296" tIns="41148" rIns="82296" bIns="41148" numCol="1" anchor="t" anchorCtr="0" compatLnSpc="1">
                <a:prstTxWarp prst="textNoShape">
                  <a:avLst/>
                </a:prstTxWarp>
                <a:noAutofit/>
              </a:bodyPr>
              <a:lstStyle/>
              <a:p>
                <a:endParaRPr lang="en-US" sz="600" dirty="0">
                  <a:solidFill>
                    <a:srgbClr val="575757"/>
                  </a:solidFill>
                </a:endParaRPr>
              </a:p>
            </p:txBody>
          </p:sp>
        </p:grpSp>
        <p:grpSp>
          <p:nvGrpSpPr>
            <p:cNvPr id="46" name="Group 45">
              <a:extLst>
                <a:ext uri="{FF2B5EF4-FFF2-40B4-BE49-F238E27FC236}">
                  <a16:creationId xmlns:a16="http://schemas.microsoft.com/office/drawing/2014/main" id="{724DCB22-9E4B-5F4D-B4CF-AD9610B069EE}"/>
                </a:ext>
              </a:extLst>
            </p:cNvPr>
            <p:cNvGrpSpPr>
              <a:grpSpLocks noChangeAspect="1"/>
            </p:cNvGrpSpPr>
            <p:nvPr/>
          </p:nvGrpSpPr>
          <p:grpSpPr>
            <a:xfrm>
              <a:off x="8178575" y="5839538"/>
              <a:ext cx="290370" cy="290090"/>
              <a:chOff x="5273675" y="2606675"/>
              <a:chExt cx="1646238" cy="1644650"/>
            </a:xfrm>
          </p:grpSpPr>
          <p:sp>
            <p:nvSpPr>
              <p:cNvPr id="47" name="AutoShape 3">
                <a:extLst>
                  <a:ext uri="{FF2B5EF4-FFF2-40B4-BE49-F238E27FC236}">
                    <a16:creationId xmlns:a16="http://schemas.microsoft.com/office/drawing/2014/main" id="{69EC270D-3405-7246-A4AD-14CAB625F4B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sz="600" dirty="0">
                  <a:solidFill>
                    <a:srgbClr val="575757"/>
                  </a:solidFill>
                </a:endParaRPr>
              </a:p>
            </p:txBody>
          </p:sp>
          <p:sp>
            <p:nvSpPr>
              <p:cNvPr id="48" name="Freeform 76">
                <a:extLst>
                  <a:ext uri="{FF2B5EF4-FFF2-40B4-BE49-F238E27FC236}">
                    <a16:creationId xmlns:a16="http://schemas.microsoft.com/office/drawing/2014/main" id="{786A3786-0907-6446-A1FA-D36BA120CF05}"/>
                  </a:ext>
                </a:extLst>
              </p:cNvPr>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82296" tIns="41148" rIns="82296" bIns="41148" numCol="1" anchor="t" anchorCtr="0" compatLnSpc="1">
                <a:prstTxWarp prst="textNoShape">
                  <a:avLst/>
                </a:prstTxWarp>
                <a:noAutofit/>
              </a:bodyPr>
              <a:lstStyle/>
              <a:p>
                <a:endParaRPr lang="en-US" sz="600" dirty="0">
                  <a:solidFill>
                    <a:srgbClr val="575757"/>
                  </a:solidFill>
                </a:endParaRPr>
              </a:p>
            </p:txBody>
          </p:sp>
        </p:grpSp>
        <p:grpSp>
          <p:nvGrpSpPr>
            <p:cNvPr id="49" name="Group 48">
              <a:extLst>
                <a:ext uri="{FF2B5EF4-FFF2-40B4-BE49-F238E27FC236}">
                  <a16:creationId xmlns:a16="http://schemas.microsoft.com/office/drawing/2014/main" id="{E42A30F4-E643-814A-B7E4-B0CE93D2DE3B}"/>
                </a:ext>
              </a:extLst>
            </p:cNvPr>
            <p:cNvGrpSpPr>
              <a:grpSpLocks noChangeAspect="1"/>
            </p:cNvGrpSpPr>
            <p:nvPr/>
          </p:nvGrpSpPr>
          <p:grpSpPr>
            <a:xfrm>
              <a:off x="8185120" y="5473703"/>
              <a:ext cx="290090" cy="290090"/>
              <a:chOff x="5273675" y="2606675"/>
              <a:chExt cx="1644650" cy="1644650"/>
            </a:xfrm>
          </p:grpSpPr>
          <p:sp>
            <p:nvSpPr>
              <p:cNvPr id="50" name="AutoShape 3">
                <a:extLst>
                  <a:ext uri="{FF2B5EF4-FFF2-40B4-BE49-F238E27FC236}">
                    <a16:creationId xmlns:a16="http://schemas.microsoft.com/office/drawing/2014/main" id="{9DE04F30-EFA9-5C42-A992-F9D9D9F8A33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sz="600" dirty="0">
                  <a:solidFill>
                    <a:srgbClr val="575757"/>
                  </a:solidFill>
                </a:endParaRPr>
              </a:p>
            </p:txBody>
          </p:sp>
          <p:sp>
            <p:nvSpPr>
              <p:cNvPr id="51" name="Freeform 16">
                <a:extLst>
                  <a:ext uri="{FF2B5EF4-FFF2-40B4-BE49-F238E27FC236}">
                    <a16:creationId xmlns:a16="http://schemas.microsoft.com/office/drawing/2014/main" id="{9291AF62-990B-C042-8D8B-E35FE3A67F85}"/>
                  </a:ext>
                </a:extLst>
              </p:cNvPr>
              <p:cNvSpPr>
                <a:spLocks noChangeArrowheads="1"/>
              </p:cNvSpPr>
              <p:nvPr/>
            </p:nvSpPr>
            <p:spPr bwMode="auto">
              <a:xfrm>
                <a:off x="5408453" y="2741454"/>
                <a:ext cx="1375091" cy="1374934"/>
              </a:xfrm>
              <a:custGeom>
                <a:avLst/>
                <a:gdLst>
                  <a:gd name="connsiteX0" fmla="*/ 1278799 w 1375091"/>
                  <a:gd name="connsiteY0" fmla="*/ 801689 h 1374934"/>
                  <a:gd name="connsiteX1" fmla="*/ 1290240 w 1375091"/>
                  <a:gd name="connsiteY1" fmla="*/ 820273 h 1374934"/>
                  <a:gd name="connsiteX2" fmla="*/ 1076433 w 1375091"/>
                  <a:gd name="connsiteY2" fmla="*/ 1166936 h 1374934"/>
                  <a:gd name="connsiteX3" fmla="*/ 698873 w 1375091"/>
                  <a:gd name="connsiteY3" fmla="*/ 1305601 h 1374934"/>
                  <a:gd name="connsiteX4" fmla="*/ 741063 w 1375091"/>
                  <a:gd name="connsiteY4" fmla="*/ 1348488 h 1374934"/>
                  <a:gd name="connsiteX5" fmla="*/ 740347 w 1375091"/>
                  <a:gd name="connsiteY5" fmla="*/ 1370646 h 1374934"/>
                  <a:gd name="connsiteX6" fmla="*/ 729621 w 1375091"/>
                  <a:gd name="connsiteY6" fmla="*/ 1374934 h 1374934"/>
                  <a:gd name="connsiteX7" fmla="*/ 718180 w 1375091"/>
                  <a:gd name="connsiteY7" fmla="*/ 1370646 h 1374934"/>
                  <a:gd name="connsiteX8" fmla="*/ 649533 w 1375091"/>
                  <a:gd name="connsiteY8" fmla="*/ 1299883 h 1374934"/>
                  <a:gd name="connsiteX9" fmla="*/ 649533 w 1375091"/>
                  <a:gd name="connsiteY9" fmla="*/ 1277011 h 1374934"/>
                  <a:gd name="connsiteX10" fmla="*/ 720325 w 1375091"/>
                  <a:gd name="connsiteY10" fmla="*/ 1208393 h 1374934"/>
                  <a:gd name="connsiteX11" fmla="*/ 742493 w 1375091"/>
                  <a:gd name="connsiteY11" fmla="*/ 1208393 h 1374934"/>
                  <a:gd name="connsiteX12" fmla="*/ 742493 w 1375091"/>
                  <a:gd name="connsiteY12" fmla="*/ 1230551 h 1374934"/>
                  <a:gd name="connsiteX13" fmla="*/ 698158 w 1375091"/>
                  <a:gd name="connsiteY13" fmla="*/ 1274152 h 1374934"/>
                  <a:gd name="connsiteX14" fmla="*/ 1259492 w 1375091"/>
                  <a:gd name="connsiteY14" fmla="*/ 813840 h 1374934"/>
                  <a:gd name="connsiteX15" fmla="*/ 1278799 w 1375091"/>
                  <a:gd name="connsiteY15" fmla="*/ 801689 h 1374934"/>
                  <a:gd name="connsiteX16" fmla="*/ 86379 w 1375091"/>
                  <a:gd name="connsiteY16" fmla="*/ 646287 h 1374934"/>
                  <a:gd name="connsiteX17" fmla="*/ 97801 w 1375091"/>
                  <a:gd name="connsiteY17" fmla="*/ 651095 h 1374934"/>
                  <a:gd name="connsiteX18" fmla="*/ 165620 w 1375091"/>
                  <a:gd name="connsiteY18" fmla="*/ 721619 h 1374934"/>
                  <a:gd name="connsiteX19" fmla="*/ 165620 w 1375091"/>
                  <a:gd name="connsiteY19" fmla="*/ 743703 h 1374934"/>
                  <a:gd name="connsiteX20" fmla="*/ 154912 w 1375091"/>
                  <a:gd name="connsiteY20" fmla="*/ 747977 h 1374934"/>
                  <a:gd name="connsiteX21" fmla="*/ 144204 w 1375091"/>
                  <a:gd name="connsiteY21" fmla="*/ 743703 h 1374934"/>
                  <a:gd name="connsiteX22" fmla="*/ 100657 w 1375091"/>
                  <a:gd name="connsiteY22" fmla="*/ 699536 h 1374934"/>
                  <a:gd name="connsiteX23" fmla="*/ 559683 w 1375091"/>
                  <a:gd name="connsiteY23" fmla="*/ 1260166 h 1374934"/>
                  <a:gd name="connsiteX24" fmla="*/ 571819 w 1375091"/>
                  <a:gd name="connsiteY24" fmla="*/ 1278687 h 1374934"/>
                  <a:gd name="connsiteX25" fmla="*/ 556114 w 1375091"/>
                  <a:gd name="connsiteY25" fmla="*/ 1290797 h 1374934"/>
                  <a:gd name="connsiteX26" fmla="*/ 553259 w 1375091"/>
                  <a:gd name="connsiteY26" fmla="*/ 1290085 h 1374934"/>
                  <a:gd name="connsiteX27" fmla="*/ 207025 w 1375091"/>
                  <a:gd name="connsiteY27" fmla="*/ 1077088 h 1374934"/>
                  <a:gd name="connsiteX28" fmla="*/ 69246 w 1375091"/>
                  <a:gd name="connsiteY28" fmla="*/ 700248 h 1374934"/>
                  <a:gd name="connsiteX29" fmla="*/ 26413 w 1375091"/>
                  <a:gd name="connsiteY29" fmla="*/ 742278 h 1374934"/>
                  <a:gd name="connsiteX30" fmla="*/ 4283 w 1375091"/>
                  <a:gd name="connsiteY30" fmla="*/ 741565 h 1374934"/>
                  <a:gd name="connsiteX31" fmla="*/ 4283 w 1375091"/>
                  <a:gd name="connsiteY31" fmla="*/ 719482 h 1374934"/>
                  <a:gd name="connsiteX32" fmla="*/ 74957 w 1375091"/>
                  <a:gd name="connsiteY32" fmla="*/ 651095 h 1374934"/>
                  <a:gd name="connsiteX33" fmla="*/ 86379 w 1375091"/>
                  <a:gd name="connsiteY33" fmla="*/ 646287 h 1374934"/>
                  <a:gd name="connsiteX34" fmla="*/ 907925 w 1375091"/>
                  <a:gd name="connsiteY34" fmla="*/ 533493 h 1374934"/>
                  <a:gd name="connsiteX35" fmla="*/ 897134 w 1375091"/>
                  <a:gd name="connsiteY35" fmla="*/ 538418 h 1374934"/>
                  <a:gd name="connsiteX36" fmla="*/ 655986 w 1375091"/>
                  <a:gd name="connsiteY36" fmla="*/ 787695 h 1374934"/>
                  <a:gd name="connsiteX37" fmla="*/ 523284 w 1375091"/>
                  <a:gd name="connsiteY37" fmla="*/ 666638 h 1374934"/>
                  <a:gd name="connsiteX38" fmla="*/ 501167 w 1375091"/>
                  <a:gd name="connsiteY38" fmla="*/ 667354 h 1374934"/>
                  <a:gd name="connsiteX39" fmla="*/ 501880 w 1375091"/>
                  <a:gd name="connsiteY39" fmla="*/ 689560 h 1374934"/>
                  <a:gd name="connsiteX40" fmla="*/ 645998 w 1375091"/>
                  <a:gd name="connsiteY40" fmla="*/ 821361 h 1374934"/>
                  <a:gd name="connsiteX41" fmla="*/ 656700 w 1375091"/>
                  <a:gd name="connsiteY41" fmla="*/ 825659 h 1374934"/>
                  <a:gd name="connsiteX42" fmla="*/ 667402 w 1375091"/>
                  <a:gd name="connsiteY42" fmla="*/ 820645 h 1374934"/>
                  <a:gd name="connsiteX43" fmla="*/ 919251 w 1375091"/>
                  <a:gd name="connsiteY43" fmla="*/ 560624 h 1374934"/>
                  <a:gd name="connsiteX44" fmla="*/ 919251 w 1375091"/>
                  <a:gd name="connsiteY44" fmla="*/ 537702 h 1374934"/>
                  <a:gd name="connsiteX45" fmla="*/ 907925 w 1375091"/>
                  <a:gd name="connsiteY45" fmla="*/ 533493 h 1374934"/>
                  <a:gd name="connsiteX46" fmla="*/ 687547 w 1375091"/>
                  <a:gd name="connsiteY46" fmla="*/ 325596 h 1374934"/>
                  <a:gd name="connsiteX47" fmla="*/ 1051085 w 1375091"/>
                  <a:gd name="connsiteY47" fmla="*/ 687546 h 1374934"/>
                  <a:gd name="connsiteX48" fmla="*/ 687547 w 1375091"/>
                  <a:gd name="connsiteY48" fmla="*/ 1049496 h 1374934"/>
                  <a:gd name="connsiteX49" fmla="*/ 324009 w 1375091"/>
                  <a:gd name="connsiteY49" fmla="*/ 687546 h 1374934"/>
                  <a:gd name="connsiteX50" fmla="*/ 687547 w 1375091"/>
                  <a:gd name="connsiteY50" fmla="*/ 325596 h 1374934"/>
                  <a:gd name="connsiteX51" fmla="*/ 820304 w 1375091"/>
                  <a:gd name="connsiteY51" fmla="*/ 84851 h 1374934"/>
                  <a:gd name="connsiteX52" fmla="*/ 1166778 w 1375091"/>
                  <a:gd name="connsiteY52" fmla="*/ 298371 h 1374934"/>
                  <a:gd name="connsiteX53" fmla="*/ 1305654 w 1375091"/>
                  <a:gd name="connsiteY53" fmla="*/ 676137 h 1374934"/>
                  <a:gd name="connsiteX54" fmla="*/ 1348605 w 1375091"/>
                  <a:gd name="connsiteY54" fmla="*/ 634004 h 1374934"/>
                  <a:gd name="connsiteX55" fmla="*/ 1370796 w 1375091"/>
                  <a:gd name="connsiteY55" fmla="*/ 634718 h 1374934"/>
                  <a:gd name="connsiteX56" fmla="*/ 1370796 w 1375091"/>
                  <a:gd name="connsiteY56" fmla="*/ 656856 h 1374934"/>
                  <a:gd name="connsiteX57" fmla="*/ 1299927 w 1375091"/>
                  <a:gd name="connsiteY57" fmla="*/ 725410 h 1374934"/>
                  <a:gd name="connsiteX58" fmla="*/ 1288473 w 1375091"/>
                  <a:gd name="connsiteY58" fmla="*/ 730409 h 1374934"/>
                  <a:gd name="connsiteX59" fmla="*/ 1277019 w 1375091"/>
                  <a:gd name="connsiteY59" fmla="*/ 725410 h 1374934"/>
                  <a:gd name="connsiteX60" fmla="*/ 1208297 w 1375091"/>
                  <a:gd name="connsiteY60" fmla="*/ 654713 h 1374934"/>
                  <a:gd name="connsiteX61" fmla="*/ 1208297 w 1375091"/>
                  <a:gd name="connsiteY61" fmla="*/ 632576 h 1374934"/>
                  <a:gd name="connsiteX62" fmla="*/ 1230489 w 1375091"/>
                  <a:gd name="connsiteY62" fmla="*/ 632576 h 1374934"/>
                  <a:gd name="connsiteX63" fmla="*/ 1274156 w 1375091"/>
                  <a:gd name="connsiteY63" fmla="*/ 676851 h 1374934"/>
                  <a:gd name="connsiteX64" fmla="*/ 813861 w 1375091"/>
                  <a:gd name="connsiteY64" fmla="*/ 115558 h 1374934"/>
                  <a:gd name="connsiteX65" fmla="*/ 801692 w 1375091"/>
                  <a:gd name="connsiteY65" fmla="*/ 96277 h 1374934"/>
                  <a:gd name="connsiteX66" fmla="*/ 820304 w 1375091"/>
                  <a:gd name="connsiteY66" fmla="*/ 84851 h 1374934"/>
                  <a:gd name="connsiteX67" fmla="*/ 644244 w 1375091"/>
                  <a:gd name="connsiteY67" fmla="*/ 0 h 1374934"/>
                  <a:gd name="connsiteX68" fmla="*/ 655327 w 1375091"/>
                  <a:gd name="connsiteY68" fmla="*/ 4289 h 1374934"/>
                  <a:gd name="connsiteX69" fmla="*/ 723975 w 1375091"/>
                  <a:gd name="connsiteY69" fmla="*/ 75051 h 1374934"/>
                  <a:gd name="connsiteX70" fmla="*/ 723975 w 1375091"/>
                  <a:gd name="connsiteY70" fmla="*/ 97924 h 1374934"/>
                  <a:gd name="connsiteX71" fmla="*/ 653182 w 1375091"/>
                  <a:gd name="connsiteY71" fmla="*/ 166542 h 1374934"/>
                  <a:gd name="connsiteX72" fmla="*/ 642456 w 1375091"/>
                  <a:gd name="connsiteY72" fmla="*/ 170830 h 1374934"/>
                  <a:gd name="connsiteX73" fmla="*/ 631015 w 1375091"/>
                  <a:gd name="connsiteY73" fmla="*/ 166542 h 1374934"/>
                  <a:gd name="connsiteX74" fmla="*/ 631015 w 1375091"/>
                  <a:gd name="connsiteY74" fmla="*/ 144384 h 1374934"/>
                  <a:gd name="connsiteX75" fmla="*/ 675349 w 1375091"/>
                  <a:gd name="connsiteY75" fmla="*/ 100783 h 1374934"/>
                  <a:gd name="connsiteX76" fmla="*/ 114015 w 1375091"/>
                  <a:gd name="connsiteY76" fmla="*/ 561095 h 1374934"/>
                  <a:gd name="connsiteX77" fmla="*/ 98284 w 1375091"/>
                  <a:gd name="connsiteY77" fmla="*/ 573246 h 1374934"/>
                  <a:gd name="connsiteX78" fmla="*/ 94708 w 1375091"/>
                  <a:gd name="connsiteY78" fmla="*/ 573246 h 1374934"/>
                  <a:gd name="connsiteX79" fmla="*/ 83267 w 1375091"/>
                  <a:gd name="connsiteY79" fmla="*/ 554662 h 1374934"/>
                  <a:gd name="connsiteX80" fmla="*/ 297074 w 1375091"/>
                  <a:gd name="connsiteY80" fmla="*/ 207998 h 1374934"/>
                  <a:gd name="connsiteX81" fmla="*/ 674634 w 1375091"/>
                  <a:gd name="connsiteY81" fmla="*/ 69333 h 1374934"/>
                  <a:gd name="connsiteX82" fmla="*/ 632445 w 1375091"/>
                  <a:gd name="connsiteY82" fmla="*/ 26447 h 1374934"/>
                  <a:gd name="connsiteX83" fmla="*/ 633160 w 1375091"/>
                  <a:gd name="connsiteY83" fmla="*/ 4289 h 1374934"/>
                  <a:gd name="connsiteX84" fmla="*/ 644244 w 1375091"/>
                  <a:gd name="connsiteY84" fmla="*/ 0 h 137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75091" h="1374934">
                    <a:moveTo>
                      <a:pt x="1278799" y="801689"/>
                    </a:moveTo>
                    <a:cubicBezTo>
                      <a:pt x="1287380" y="803833"/>
                      <a:pt x="1292385" y="812410"/>
                      <a:pt x="1290240" y="820273"/>
                    </a:cubicBezTo>
                    <a:cubicBezTo>
                      <a:pt x="1260922" y="956079"/>
                      <a:pt x="1184409" y="1079019"/>
                      <a:pt x="1076433" y="1166936"/>
                    </a:cubicBezTo>
                    <a:cubicBezTo>
                      <a:pt x="969886" y="1254138"/>
                      <a:pt x="836167" y="1302742"/>
                      <a:pt x="698873" y="1305601"/>
                    </a:cubicBezTo>
                    <a:cubicBezTo>
                      <a:pt x="741063" y="1348488"/>
                      <a:pt x="741063" y="1348488"/>
                      <a:pt x="741063" y="1348488"/>
                    </a:cubicBezTo>
                    <a:cubicBezTo>
                      <a:pt x="746783" y="1354921"/>
                      <a:pt x="746783" y="1364927"/>
                      <a:pt x="740347" y="1370646"/>
                    </a:cubicBezTo>
                    <a:cubicBezTo>
                      <a:pt x="737487" y="1373505"/>
                      <a:pt x="733197" y="1374934"/>
                      <a:pt x="729621" y="1374934"/>
                    </a:cubicBezTo>
                    <a:cubicBezTo>
                      <a:pt x="725331" y="1374934"/>
                      <a:pt x="721040" y="1373505"/>
                      <a:pt x="718180" y="1370646"/>
                    </a:cubicBezTo>
                    <a:cubicBezTo>
                      <a:pt x="649533" y="1299883"/>
                      <a:pt x="649533" y="1299883"/>
                      <a:pt x="649533" y="1299883"/>
                    </a:cubicBezTo>
                    <a:cubicBezTo>
                      <a:pt x="643097" y="1293450"/>
                      <a:pt x="643097" y="1283444"/>
                      <a:pt x="649533" y="1277011"/>
                    </a:cubicBezTo>
                    <a:cubicBezTo>
                      <a:pt x="720325" y="1208393"/>
                      <a:pt x="720325" y="1208393"/>
                      <a:pt x="720325" y="1208393"/>
                    </a:cubicBezTo>
                    <a:cubicBezTo>
                      <a:pt x="726761" y="1201960"/>
                      <a:pt x="736772" y="1202675"/>
                      <a:pt x="742493" y="1208393"/>
                    </a:cubicBezTo>
                    <a:cubicBezTo>
                      <a:pt x="748928" y="1214826"/>
                      <a:pt x="748213" y="1224832"/>
                      <a:pt x="742493" y="1230551"/>
                    </a:cubicBezTo>
                    <a:cubicBezTo>
                      <a:pt x="698158" y="1274152"/>
                      <a:pt x="698158" y="1274152"/>
                      <a:pt x="698158" y="1274152"/>
                    </a:cubicBezTo>
                    <a:cubicBezTo>
                      <a:pt x="966311" y="1268433"/>
                      <a:pt x="1201571" y="1076875"/>
                      <a:pt x="1259492" y="813840"/>
                    </a:cubicBezTo>
                    <a:cubicBezTo>
                      <a:pt x="1261637" y="805263"/>
                      <a:pt x="1270218" y="800259"/>
                      <a:pt x="1278799" y="801689"/>
                    </a:cubicBezTo>
                    <a:close/>
                    <a:moveTo>
                      <a:pt x="86379" y="646287"/>
                    </a:moveTo>
                    <a:cubicBezTo>
                      <a:pt x="90484" y="646287"/>
                      <a:pt x="94589" y="647890"/>
                      <a:pt x="97801" y="651095"/>
                    </a:cubicBezTo>
                    <a:cubicBezTo>
                      <a:pt x="97801" y="651095"/>
                      <a:pt x="97801" y="651095"/>
                      <a:pt x="165620" y="721619"/>
                    </a:cubicBezTo>
                    <a:cubicBezTo>
                      <a:pt x="172045" y="728031"/>
                      <a:pt x="171331" y="738004"/>
                      <a:pt x="165620" y="743703"/>
                    </a:cubicBezTo>
                    <a:cubicBezTo>
                      <a:pt x="162051" y="746552"/>
                      <a:pt x="158481" y="747977"/>
                      <a:pt x="154912" y="747977"/>
                    </a:cubicBezTo>
                    <a:cubicBezTo>
                      <a:pt x="151343" y="747977"/>
                      <a:pt x="147059" y="746552"/>
                      <a:pt x="144204" y="743703"/>
                    </a:cubicBezTo>
                    <a:cubicBezTo>
                      <a:pt x="144204" y="743703"/>
                      <a:pt x="144204" y="743703"/>
                      <a:pt x="100657" y="699536"/>
                    </a:cubicBezTo>
                    <a:cubicBezTo>
                      <a:pt x="106368" y="967384"/>
                      <a:pt x="296974" y="1201752"/>
                      <a:pt x="559683" y="1260166"/>
                    </a:cubicBezTo>
                    <a:cubicBezTo>
                      <a:pt x="568250" y="1261590"/>
                      <a:pt x="573247" y="1270139"/>
                      <a:pt x="571819" y="1278687"/>
                    </a:cubicBezTo>
                    <a:cubicBezTo>
                      <a:pt x="570392" y="1285811"/>
                      <a:pt x="563253" y="1290797"/>
                      <a:pt x="556114" y="1290797"/>
                    </a:cubicBezTo>
                    <a:cubicBezTo>
                      <a:pt x="555400" y="1290797"/>
                      <a:pt x="553972" y="1290797"/>
                      <a:pt x="553259" y="1290085"/>
                    </a:cubicBezTo>
                    <a:cubicBezTo>
                      <a:pt x="417621" y="1260878"/>
                      <a:pt x="294833" y="1184655"/>
                      <a:pt x="207025" y="1077088"/>
                    </a:cubicBezTo>
                    <a:cubicBezTo>
                      <a:pt x="121359" y="970946"/>
                      <a:pt x="72102" y="837022"/>
                      <a:pt x="69246" y="700248"/>
                    </a:cubicBezTo>
                    <a:cubicBezTo>
                      <a:pt x="69246" y="700248"/>
                      <a:pt x="69246" y="700248"/>
                      <a:pt x="26413" y="742278"/>
                    </a:cubicBezTo>
                    <a:cubicBezTo>
                      <a:pt x="19988" y="747977"/>
                      <a:pt x="9994" y="747977"/>
                      <a:pt x="4283" y="741565"/>
                    </a:cubicBezTo>
                    <a:cubicBezTo>
                      <a:pt x="-1428" y="735867"/>
                      <a:pt x="-1428" y="725893"/>
                      <a:pt x="4283" y="719482"/>
                    </a:cubicBezTo>
                    <a:cubicBezTo>
                      <a:pt x="4283" y="719482"/>
                      <a:pt x="4283" y="719482"/>
                      <a:pt x="74957" y="651095"/>
                    </a:cubicBezTo>
                    <a:cubicBezTo>
                      <a:pt x="78170" y="647890"/>
                      <a:pt x="82275" y="646287"/>
                      <a:pt x="86379" y="646287"/>
                    </a:cubicBezTo>
                    <a:close/>
                    <a:moveTo>
                      <a:pt x="907925" y="533493"/>
                    </a:moveTo>
                    <a:cubicBezTo>
                      <a:pt x="903912" y="533583"/>
                      <a:pt x="899988" y="535195"/>
                      <a:pt x="897134" y="538418"/>
                    </a:cubicBezTo>
                    <a:cubicBezTo>
                      <a:pt x="655986" y="787695"/>
                      <a:pt x="655986" y="787695"/>
                      <a:pt x="655986" y="787695"/>
                    </a:cubicBezTo>
                    <a:cubicBezTo>
                      <a:pt x="523284" y="666638"/>
                      <a:pt x="523284" y="666638"/>
                      <a:pt x="523284" y="666638"/>
                    </a:cubicBezTo>
                    <a:cubicBezTo>
                      <a:pt x="516863" y="660191"/>
                      <a:pt x="506875" y="660907"/>
                      <a:pt x="501167" y="667354"/>
                    </a:cubicBezTo>
                    <a:cubicBezTo>
                      <a:pt x="495459" y="673801"/>
                      <a:pt x="495459" y="683829"/>
                      <a:pt x="501880" y="689560"/>
                    </a:cubicBezTo>
                    <a:cubicBezTo>
                      <a:pt x="645998" y="821361"/>
                      <a:pt x="645998" y="821361"/>
                      <a:pt x="645998" y="821361"/>
                    </a:cubicBezTo>
                    <a:cubicBezTo>
                      <a:pt x="648852" y="824227"/>
                      <a:pt x="652419" y="825659"/>
                      <a:pt x="656700" y="825659"/>
                    </a:cubicBezTo>
                    <a:cubicBezTo>
                      <a:pt x="660267" y="825659"/>
                      <a:pt x="664548" y="824227"/>
                      <a:pt x="667402" y="820645"/>
                    </a:cubicBezTo>
                    <a:cubicBezTo>
                      <a:pt x="919251" y="560624"/>
                      <a:pt x="919251" y="560624"/>
                      <a:pt x="919251" y="560624"/>
                    </a:cubicBezTo>
                    <a:cubicBezTo>
                      <a:pt x="925672" y="554177"/>
                      <a:pt x="925672" y="544148"/>
                      <a:pt x="919251" y="537702"/>
                    </a:cubicBezTo>
                    <a:cubicBezTo>
                      <a:pt x="916041" y="534836"/>
                      <a:pt x="911938" y="533404"/>
                      <a:pt x="907925" y="533493"/>
                    </a:cubicBezTo>
                    <a:close/>
                    <a:moveTo>
                      <a:pt x="687547" y="325596"/>
                    </a:moveTo>
                    <a:cubicBezTo>
                      <a:pt x="888323" y="325596"/>
                      <a:pt x="1051085" y="487647"/>
                      <a:pt x="1051085" y="687546"/>
                    </a:cubicBezTo>
                    <a:cubicBezTo>
                      <a:pt x="1051085" y="887445"/>
                      <a:pt x="888323" y="1049496"/>
                      <a:pt x="687547" y="1049496"/>
                    </a:cubicBezTo>
                    <a:cubicBezTo>
                      <a:pt x="486771" y="1049496"/>
                      <a:pt x="324009" y="887445"/>
                      <a:pt x="324009" y="687546"/>
                    </a:cubicBezTo>
                    <a:cubicBezTo>
                      <a:pt x="324009" y="487647"/>
                      <a:pt x="486771" y="325596"/>
                      <a:pt x="687547" y="325596"/>
                    </a:cubicBezTo>
                    <a:close/>
                    <a:moveTo>
                      <a:pt x="820304" y="84851"/>
                    </a:moveTo>
                    <a:cubicBezTo>
                      <a:pt x="956317" y="114130"/>
                      <a:pt x="1079444" y="190540"/>
                      <a:pt x="1166778" y="298371"/>
                    </a:cubicBezTo>
                    <a:cubicBezTo>
                      <a:pt x="1254112" y="404774"/>
                      <a:pt x="1302790" y="539027"/>
                      <a:pt x="1305654" y="676137"/>
                    </a:cubicBezTo>
                    <a:cubicBezTo>
                      <a:pt x="1348605" y="634004"/>
                      <a:pt x="1348605" y="634004"/>
                      <a:pt x="1348605" y="634004"/>
                    </a:cubicBezTo>
                    <a:cubicBezTo>
                      <a:pt x="1355048" y="628291"/>
                      <a:pt x="1365070" y="628291"/>
                      <a:pt x="1370796" y="634718"/>
                    </a:cubicBezTo>
                    <a:cubicBezTo>
                      <a:pt x="1376523" y="640431"/>
                      <a:pt x="1376523" y="650429"/>
                      <a:pt x="1370796" y="656856"/>
                    </a:cubicBezTo>
                    <a:cubicBezTo>
                      <a:pt x="1299927" y="725410"/>
                      <a:pt x="1299927" y="725410"/>
                      <a:pt x="1299927" y="725410"/>
                    </a:cubicBezTo>
                    <a:cubicBezTo>
                      <a:pt x="1296348" y="728981"/>
                      <a:pt x="1292768" y="730409"/>
                      <a:pt x="1288473" y="730409"/>
                    </a:cubicBezTo>
                    <a:cubicBezTo>
                      <a:pt x="1284178" y="730409"/>
                      <a:pt x="1280599" y="728267"/>
                      <a:pt x="1277019" y="725410"/>
                    </a:cubicBezTo>
                    <a:cubicBezTo>
                      <a:pt x="1208297" y="654713"/>
                      <a:pt x="1208297" y="654713"/>
                      <a:pt x="1208297" y="654713"/>
                    </a:cubicBezTo>
                    <a:cubicBezTo>
                      <a:pt x="1201855" y="648286"/>
                      <a:pt x="1202571" y="638289"/>
                      <a:pt x="1208297" y="632576"/>
                    </a:cubicBezTo>
                    <a:cubicBezTo>
                      <a:pt x="1214740" y="626149"/>
                      <a:pt x="1224762" y="626863"/>
                      <a:pt x="1230489" y="632576"/>
                    </a:cubicBezTo>
                    <a:cubicBezTo>
                      <a:pt x="1274156" y="676851"/>
                      <a:pt x="1274156" y="676851"/>
                      <a:pt x="1274156" y="676851"/>
                    </a:cubicBezTo>
                    <a:cubicBezTo>
                      <a:pt x="1268429" y="408344"/>
                      <a:pt x="1077296" y="173401"/>
                      <a:pt x="813861" y="115558"/>
                    </a:cubicBezTo>
                    <a:cubicBezTo>
                      <a:pt x="805271" y="113416"/>
                      <a:pt x="800260" y="104846"/>
                      <a:pt x="801692" y="96277"/>
                    </a:cubicBezTo>
                    <a:cubicBezTo>
                      <a:pt x="803840" y="88422"/>
                      <a:pt x="812430" y="82709"/>
                      <a:pt x="820304" y="84851"/>
                    </a:cubicBezTo>
                    <a:close/>
                    <a:moveTo>
                      <a:pt x="644244" y="0"/>
                    </a:moveTo>
                    <a:cubicBezTo>
                      <a:pt x="648177" y="0"/>
                      <a:pt x="652110" y="1430"/>
                      <a:pt x="655327" y="4289"/>
                    </a:cubicBezTo>
                    <a:cubicBezTo>
                      <a:pt x="655327" y="4289"/>
                      <a:pt x="655327" y="4289"/>
                      <a:pt x="723975" y="75051"/>
                    </a:cubicBezTo>
                    <a:cubicBezTo>
                      <a:pt x="730410" y="81484"/>
                      <a:pt x="730410" y="91491"/>
                      <a:pt x="723975" y="97924"/>
                    </a:cubicBezTo>
                    <a:cubicBezTo>
                      <a:pt x="723975" y="97924"/>
                      <a:pt x="723975" y="97924"/>
                      <a:pt x="653182" y="166542"/>
                    </a:cubicBezTo>
                    <a:cubicBezTo>
                      <a:pt x="650322" y="169401"/>
                      <a:pt x="646031" y="170830"/>
                      <a:pt x="642456" y="170830"/>
                    </a:cubicBezTo>
                    <a:cubicBezTo>
                      <a:pt x="638166" y="170830"/>
                      <a:pt x="633875" y="169401"/>
                      <a:pt x="631015" y="166542"/>
                    </a:cubicBezTo>
                    <a:cubicBezTo>
                      <a:pt x="624579" y="160109"/>
                      <a:pt x="625294" y="150102"/>
                      <a:pt x="631015" y="144384"/>
                    </a:cubicBezTo>
                    <a:cubicBezTo>
                      <a:pt x="631015" y="144384"/>
                      <a:pt x="631015" y="144384"/>
                      <a:pt x="675349" y="100783"/>
                    </a:cubicBezTo>
                    <a:cubicBezTo>
                      <a:pt x="406481" y="106501"/>
                      <a:pt x="171936" y="298059"/>
                      <a:pt x="114015" y="561095"/>
                    </a:cubicBezTo>
                    <a:cubicBezTo>
                      <a:pt x="111870" y="568243"/>
                      <a:pt x="105434" y="573246"/>
                      <a:pt x="98284" y="573246"/>
                    </a:cubicBezTo>
                    <a:cubicBezTo>
                      <a:pt x="97568" y="573246"/>
                      <a:pt x="96138" y="573246"/>
                      <a:pt x="94708" y="573246"/>
                    </a:cubicBezTo>
                    <a:cubicBezTo>
                      <a:pt x="86127" y="571102"/>
                      <a:pt x="81122" y="562525"/>
                      <a:pt x="83267" y="554662"/>
                    </a:cubicBezTo>
                    <a:cubicBezTo>
                      <a:pt x="112585" y="418856"/>
                      <a:pt x="189098" y="295915"/>
                      <a:pt x="297074" y="207998"/>
                    </a:cubicBezTo>
                    <a:cubicBezTo>
                      <a:pt x="402906" y="121511"/>
                      <a:pt x="537340" y="72192"/>
                      <a:pt x="674634" y="69333"/>
                    </a:cubicBezTo>
                    <a:cubicBezTo>
                      <a:pt x="674634" y="69333"/>
                      <a:pt x="674634" y="69333"/>
                      <a:pt x="632445" y="26447"/>
                    </a:cubicBezTo>
                    <a:cubicBezTo>
                      <a:pt x="626724" y="20014"/>
                      <a:pt x="626724" y="10722"/>
                      <a:pt x="633160" y="4289"/>
                    </a:cubicBezTo>
                    <a:cubicBezTo>
                      <a:pt x="636378" y="1430"/>
                      <a:pt x="640311" y="0"/>
                      <a:pt x="644244" y="0"/>
                    </a:cubicBezTo>
                    <a:close/>
                  </a:path>
                </a:pathLst>
              </a:custGeom>
              <a:solidFill>
                <a:srgbClr val="FFFFFF"/>
              </a:solidFill>
              <a:ln>
                <a:noFill/>
              </a:ln>
            </p:spPr>
            <p:txBody>
              <a:bodyPr vert="horz" wrap="square" lIns="82296" tIns="41148" rIns="82296" bIns="41148" numCol="1" anchor="t" anchorCtr="0" compatLnSpc="1">
                <a:prstTxWarp prst="textNoShape">
                  <a:avLst/>
                </a:prstTxWarp>
                <a:noAutofit/>
              </a:bodyPr>
              <a:lstStyle/>
              <a:p>
                <a:endParaRPr lang="en-US" sz="600" dirty="0">
                  <a:solidFill>
                    <a:srgbClr val="575757"/>
                  </a:solidFill>
                </a:endParaRPr>
              </a:p>
            </p:txBody>
          </p:sp>
        </p:grpSp>
        <p:grpSp>
          <p:nvGrpSpPr>
            <p:cNvPr id="52" name="Group 51">
              <a:extLst>
                <a:ext uri="{FF2B5EF4-FFF2-40B4-BE49-F238E27FC236}">
                  <a16:creationId xmlns:a16="http://schemas.microsoft.com/office/drawing/2014/main" id="{8218D07E-E0F0-5C4C-8DA1-D84813B8D4F2}"/>
                </a:ext>
              </a:extLst>
            </p:cNvPr>
            <p:cNvGrpSpPr>
              <a:grpSpLocks noChangeAspect="1"/>
            </p:cNvGrpSpPr>
            <p:nvPr/>
          </p:nvGrpSpPr>
          <p:grpSpPr>
            <a:xfrm>
              <a:off x="8178715" y="6217820"/>
              <a:ext cx="232371" cy="232371"/>
              <a:chOff x="5273675" y="2606675"/>
              <a:chExt cx="1644650" cy="1644650"/>
            </a:xfrm>
          </p:grpSpPr>
          <p:sp>
            <p:nvSpPr>
              <p:cNvPr id="53" name="AutoShape 3">
                <a:extLst>
                  <a:ext uri="{FF2B5EF4-FFF2-40B4-BE49-F238E27FC236}">
                    <a16:creationId xmlns:a16="http://schemas.microsoft.com/office/drawing/2014/main" id="{A3669F64-06FA-0442-98BD-93EB6129BEE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sz="600" dirty="0">
                  <a:solidFill>
                    <a:srgbClr val="575757"/>
                  </a:solidFill>
                </a:endParaRPr>
              </a:p>
            </p:txBody>
          </p:sp>
          <p:sp>
            <p:nvSpPr>
              <p:cNvPr id="54" name="Freeform 35">
                <a:extLst>
                  <a:ext uri="{FF2B5EF4-FFF2-40B4-BE49-F238E27FC236}">
                    <a16:creationId xmlns:a16="http://schemas.microsoft.com/office/drawing/2014/main" id="{8392A025-28F0-E049-A5CA-4983F74A50B2}"/>
                  </a:ext>
                </a:extLst>
              </p:cNvPr>
              <p:cNvSpPr>
                <a:spLocks/>
              </p:cNvSpPr>
              <p:nvPr/>
            </p:nvSpPr>
            <p:spPr bwMode="auto">
              <a:xfrm>
                <a:off x="5578475" y="2695574"/>
                <a:ext cx="1036638" cy="1474788"/>
              </a:xfrm>
              <a:custGeom>
                <a:avLst/>
                <a:gdLst>
                  <a:gd name="connsiteX0" fmla="*/ 449087 w 1036638"/>
                  <a:gd name="connsiteY0" fmla="*/ 1316038 h 1474788"/>
                  <a:gd name="connsiteX1" fmla="*/ 433388 w 1036638"/>
                  <a:gd name="connsiteY1" fmla="*/ 1331913 h 1474788"/>
                  <a:gd name="connsiteX2" fmla="*/ 449087 w 1036638"/>
                  <a:gd name="connsiteY2" fmla="*/ 1347788 h 1474788"/>
                  <a:gd name="connsiteX3" fmla="*/ 636764 w 1036638"/>
                  <a:gd name="connsiteY3" fmla="*/ 1347788 h 1474788"/>
                  <a:gd name="connsiteX4" fmla="*/ 652463 w 1036638"/>
                  <a:gd name="connsiteY4" fmla="*/ 1331913 h 1474788"/>
                  <a:gd name="connsiteX5" fmla="*/ 636764 w 1036638"/>
                  <a:gd name="connsiteY5" fmla="*/ 1316038 h 1474788"/>
                  <a:gd name="connsiteX6" fmla="*/ 449087 w 1036638"/>
                  <a:gd name="connsiteY6" fmla="*/ 1316038 h 1474788"/>
                  <a:gd name="connsiteX7" fmla="*/ 375444 w 1036638"/>
                  <a:gd name="connsiteY7" fmla="*/ 1298575 h 1474788"/>
                  <a:gd name="connsiteX8" fmla="*/ 342900 w 1036638"/>
                  <a:gd name="connsiteY8" fmla="*/ 1331119 h 1474788"/>
                  <a:gd name="connsiteX9" fmla="*/ 375444 w 1036638"/>
                  <a:gd name="connsiteY9" fmla="*/ 1363663 h 1474788"/>
                  <a:gd name="connsiteX10" fmla="*/ 407988 w 1036638"/>
                  <a:gd name="connsiteY10" fmla="*/ 1331119 h 1474788"/>
                  <a:gd name="connsiteX11" fmla="*/ 375444 w 1036638"/>
                  <a:gd name="connsiteY11" fmla="*/ 1298575 h 1474788"/>
                  <a:gd name="connsiteX12" fmla="*/ 300845 w 1036638"/>
                  <a:gd name="connsiteY12" fmla="*/ 1258888 h 1474788"/>
                  <a:gd name="connsiteX13" fmla="*/ 737382 w 1036638"/>
                  <a:gd name="connsiteY13" fmla="*/ 1258888 h 1474788"/>
                  <a:gd name="connsiteX14" fmla="*/ 744538 w 1036638"/>
                  <a:gd name="connsiteY14" fmla="*/ 1265297 h 1474788"/>
                  <a:gd name="connsiteX15" fmla="*/ 744538 w 1036638"/>
                  <a:gd name="connsiteY15" fmla="*/ 1404167 h 1474788"/>
                  <a:gd name="connsiteX16" fmla="*/ 737382 w 1036638"/>
                  <a:gd name="connsiteY16" fmla="*/ 1411288 h 1474788"/>
                  <a:gd name="connsiteX17" fmla="*/ 300845 w 1036638"/>
                  <a:gd name="connsiteY17" fmla="*/ 1411288 h 1474788"/>
                  <a:gd name="connsiteX18" fmla="*/ 293688 w 1036638"/>
                  <a:gd name="connsiteY18" fmla="*/ 1404167 h 1474788"/>
                  <a:gd name="connsiteX19" fmla="*/ 293688 w 1036638"/>
                  <a:gd name="connsiteY19" fmla="*/ 1265297 h 1474788"/>
                  <a:gd name="connsiteX20" fmla="*/ 300845 w 1036638"/>
                  <a:gd name="connsiteY20" fmla="*/ 1258888 h 1474788"/>
                  <a:gd name="connsiteX21" fmla="*/ 838200 w 1036638"/>
                  <a:gd name="connsiteY21" fmla="*/ 1212850 h 1474788"/>
                  <a:gd name="connsiteX22" fmla="*/ 964419 w 1036638"/>
                  <a:gd name="connsiteY22" fmla="*/ 1212850 h 1474788"/>
                  <a:gd name="connsiteX23" fmla="*/ 971550 w 1036638"/>
                  <a:gd name="connsiteY23" fmla="*/ 1219982 h 1474788"/>
                  <a:gd name="connsiteX24" fmla="*/ 971550 w 1036638"/>
                  <a:gd name="connsiteY24" fmla="*/ 1304143 h 1474788"/>
                  <a:gd name="connsiteX25" fmla="*/ 964419 w 1036638"/>
                  <a:gd name="connsiteY25" fmla="*/ 1311275 h 1474788"/>
                  <a:gd name="connsiteX26" fmla="*/ 838200 w 1036638"/>
                  <a:gd name="connsiteY26" fmla="*/ 1311275 h 1474788"/>
                  <a:gd name="connsiteX27" fmla="*/ 838200 w 1036638"/>
                  <a:gd name="connsiteY27" fmla="*/ 1212850 h 1474788"/>
                  <a:gd name="connsiteX28" fmla="*/ 75337 w 1036638"/>
                  <a:gd name="connsiteY28" fmla="*/ 1212850 h 1474788"/>
                  <a:gd name="connsiteX29" fmla="*/ 198438 w 1036638"/>
                  <a:gd name="connsiteY29" fmla="*/ 1212850 h 1474788"/>
                  <a:gd name="connsiteX30" fmla="*/ 198438 w 1036638"/>
                  <a:gd name="connsiteY30" fmla="*/ 1311275 h 1474788"/>
                  <a:gd name="connsiteX31" fmla="*/ 75337 w 1036638"/>
                  <a:gd name="connsiteY31" fmla="*/ 1311275 h 1474788"/>
                  <a:gd name="connsiteX32" fmla="*/ 68263 w 1036638"/>
                  <a:gd name="connsiteY32" fmla="*/ 1304143 h 1474788"/>
                  <a:gd name="connsiteX33" fmla="*/ 68263 w 1036638"/>
                  <a:gd name="connsiteY33" fmla="*/ 1219982 h 1474788"/>
                  <a:gd name="connsiteX34" fmla="*/ 75337 w 1036638"/>
                  <a:gd name="connsiteY34" fmla="*/ 1212850 h 1474788"/>
                  <a:gd name="connsiteX35" fmla="*/ 449087 w 1036638"/>
                  <a:gd name="connsiteY35" fmla="*/ 1106488 h 1474788"/>
                  <a:gd name="connsiteX36" fmla="*/ 433388 w 1036638"/>
                  <a:gd name="connsiteY36" fmla="*/ 1122363 h 1474788"/>
                  <a:gd name="connsiteX37" fmla="*/ 449087 w 1036638"/>
                  <a:gd name="connsiteY37" fmla="*/ 1138238 h 1474788"/>
                  <a:gd name="connsiteX38" fmla="*/ 636764 w 1036638"/>
                  <a:gd name="connsiteY38" fmla="*/ 1138238 h 1474788"/>
                  <a:gd name="connsiteX39" fmla="*/ 652463 w 1036638"/>
                  <a:gd name="connsiteY39" fmla="*/ 1122363 h 1474788"/>
                  <a:gd name="connsiteX40" fmla="*/ 636764 w 1036638"/>
                  <a:gd name="connsiteY40" fmla="*/ 1106488 h 1474788"/>
                  <a:gd name="connsiteX41" fmla="*/ 449087 w 1036638"/>
                  <a:gd name="connsiteY41" fmla="*/ 1106488 h 1474788"/>
                  <a:gd name="connsiteX42" fmla="*/ 375444 w 1036638"/>
                  <a:gd name="connsiteY42" fmla="*/ 1089025 h 1474788"/>
                  <a:gd name="connsiteX43" fmla="*/ 342900 w 1036638"/>
                  <a:gd name="connsiteY43" fmla="*/ 1121569 h 1474788"/>
                  <a:gd name="connsiteX44" fmla="*/ 375444 w 1036638"/>
                  <a:gd name="connsiteY44" fmla="*/ 1154113 h 1474788"/>
                  <a:gd name="connsiteX45" fmla="*/ 407988 w 1036638"/>
                  <a:gd name="connsiteY45" fmla="*/ 1121569 h 1474788"/>
                  <a:gd name="connsiteX46" fmla="*/ 375444 w 1036638"/>
                  <a:gd name="connsiteY46" fmla="*/ 1089025 h 1474788"/>
                  <a:gd name="connsiteX47" fmla="*/ 838200 w 1036638"/>
                  <a:gd name="connsiteY47" fmla="*/ 1052513 h 1474788"/>
                  <a:gd name="connsiteX48" fmla="*/ 964419 w 1036638"/>
                  <a:gd name="connsiteY48" fmla="*/ 1052513 h 1474788"/>
                  <a:gd name="connsiteX49" fmla="*/ 971550 w 1036638"/>
                  <a:gd name="connsiteY49" fmla="*/ 1059645 h 1474788"/>
                  <a:gd name="connsiteX50" fmla="*/ 971550 w 1036638"/>
                  <a:gd name="connsiteY50" fmla="*/ 1143806 h 1474788"/>
                  <a:gd name="connsiteX51" fmla="*/ 964419 w 1036638"/>
                  <a:gd name="connsiteY51" fmla="*/ 1150938 h 1474788"/>
                  <a:gd name="connsiteX52" fmla="*/ 838200 w 1036638"/>
                  <a:gd name="connsiteY52" fmla="*/ 1150938 h 1474788"/>
                  <a:gd name="connsiteX53" fmla="*/ 838200 w 1036638"/>
                  <a:gd name="connsiteY53" fmla="*/ 1052513 h 1474788"/>
                  <a:gd name="connsiteX54" fmla="*/ 75337 w 1036638"/>
                  <a:gd name="connsiteY54" fmla="*/ 1052513 h 1474788"/>
                  <a:gd name="connsiteX55" fmla="*/ 198438 w 1036638"/>
                  <a:gd name="connsiteY55" fmla="*/ 1052513 h 1474788"/>
                  <a:gd name="connsiteX56" fmla="*/ 198438 w 1036638"/>
                  <a:gd name="connsiteY56" fmla="*/ 1150938 h 1474788"/>
                  <a:gd name="connsiteX57" fmla="*/ 75337 w 1036638"/>
                  <a:gd name="connsiteY57" fmla="*/ 1150938 h 1474788"/>
                  <a:gd name="connsiteX58" fmla="*/ 68263 w 1036638"/>
                  <a:gd name="connsiteY58" fmla="*/ 1143806 h 1474788"/>
                  <a:gd name="connsiteX59" fmla="*/ 68263 w 1036638"/>
                  <a:gd name="connsiteY59" fmla="*/ 1059645 h 1474788"/>
                  <a:gd name="connsiteX60" fmla="*/ 75337 w 1036638"/>
                  <a:gd name="connsiteY60" fmla="*/ 1052513 h 1474788"/>
                  <a:gd name="connsiteX61" fmla="*/ 300845 w 1036638"/>
                  <a:gd name="connsiteY61" fmla="*/ 1047750 h 1474788"/>
                  <a:gd name="connsiteX62" fmla="*/ 737382 w 1036638"/>
                  <a:gd name="connsiteY62" fmla="*/ 1047750 h 1474788"/>
                  <a:gd name="connsiteX63" fmla="*/ 744538 w 1036638"/>
                  <a:gd name="connsiteY63" fmla="*/ 1054946 h 1474788"/>
                  <a:gd name="connsiteX64" fmla="*/ 744538 w 1036638"/>
                  <a:gd name="connsiteY64" fmla="*/ 1194542 h 1474788"/>
                  <a:gd name="connsiteX65" fmla="*/ 737382 w 1036638"/>
                  <a:gd name="connsiteY65" fmla="*/ 1201738 h 1474788"/>
                  <a:gd name="connsiteX66" fmla="*/ 300845 w 1036638"/>
                  <a:gd name="connsiteY66" fmla="*/ 1201738 h 1474788"/>
                  <a:gd name="connsiteX67" fmla="*/ 293688 w 1036638"/>
                  <a:gd name="connsiteY67" fmla="*/ 1194542 h 1474788"/>
                  <a:gd name="connsiteX68" fmla="*/ 293688 w 1036638"/>
                  <a:gd name="connsiteY68" fmla="*/ 1054946 h 1474788"/>
                  <a:gd name="connsiteX69" fmla="*/ 300845 w 1036638"/>
                  <a:gd name="connsiteY69" fmla="*/ 1047750 h 1474788"/>
                  <a:gd name="connsiteX70" fmla="*/ 449087 w 1036638"/>
                  <a:gd name="connsiteY70" fmla="*/ 895350 h 1474788"/>
                  <a:gd name="connsiteX71" fmla="*/ 433388 w 1036638"/>
                  <a:gd name="connsiteY71" fmla="*/ 910432 h 1474788"/>
                  <a:gd name="connsiteX72" fmla="*/ 449087 w 1036638"/>
                  <a:gd name="connsiteY72" fmla="*/ 925513 h 1474788"/>
                  <a:gd name="connsiteX73" fmla="*/ 636764 w 1036638"/>
                  <a:gd name="connsiteY73" fmla="*/ 925513 h 1474788"/>
                  <a:gd name="connsiteX74" fmla="*/ 652463 w 1036638"/>
                  <a:gd name="connsiteY74" fmla="*/ 910432 h 1474788"/>
                  <a:gd name="connsiteX75" fmla="*/ 636764 w 1036638"/>
                  <a:gd name="connsiteY75" fmla="*/ 895350 h 1474788"/>
                  <a:gd name="connsiteX76" fmla="*/ 449087 w 1036638"/>
                  <a:gd name="connsiteY76" fmla="*/ 895350 h 1474788"/>
                  <a:gd name="connsiteX77" fmla="*/ 838200 w 1036638"/>
                  <a:gd name="connsiteY77" fmla="*/ 890588 h 1474788"/>
                  <a:gd name="connsiteX78" fmla="*/ 964419 w 1036638"/>
                  <a:gd name="connsiteY78" fmla="*/ 890588 h 1474788"/>
                  <a:gd name="connsiteX79" fmla="*/ 971550 w 1036638"/>
                  <a:gd name="connsiteY79" fmla="*/ 897669 h 1474788"/>
                  <a:gd name="connsiteX80" fmla="*/ 971550 w 1036638"/>
                  <a:gd name="connsiteY80" fmla="*/ 981932 h 1474788"/>
                  <a:gd name="connsiteX81" fmla="*/ 964419 w 1036638"/>
                  <a:gd name="connsiteY81" fmla="*/ 989013 h 1474788"/>
                  <a:gd name="connsiteX82" fmla="*/ 838200 w 1036638"/>
                  <a:gd name="connsiteY82" fmla="*/ 989013 h 1474788"/>
                  <a:gd name="connsiteX83" fmla="*/ 838200 w 1036638"/>
                  <a:gd name="connsiteY83" fmla="*/ 890588 h 1474788"/>
                  <a:gd name="connsiteX84" fmla="*/ 75337 w 1036638"/>
                  <a:gd name="connsiteY84" fmla="*/ 890588 h 1474788"/>
                  <a:gd name="connsiteX85" fmla="*/ 198438 w 1036638"/>
                  <a:gd name="connsiteY85" fmla="*/ 890588 h 1474788"/>
                  <a:gd name="connsiteX86" fmla="*/ 198438 w 1036638"/>
                  <a:gd name="connsiteY86" fmla="*/ 989013 h 1474788"/>
                  <a:gd name="connsiteX87" fmla="*/ 75337 w 1036638"/>
                  <a:gd name="connsiteY87" fmla="*/ 989013 h 1474788"/>
                  <a:gd name="connsiteX88" fmla="*/ 68263 w 1036638"/>
                  <a:gd name="connsiteY88" fmla="*/ 981932 h 1474788"/>
                  <a:gd name="connsiteX89" fmla="*/ 68263 w 1036638"/>
                  <a:gd name="connsiteY89" fmla="*/ 897669 h 1474788"/>
                  <a:gd name="connsiteX90" fmla="*/ 75337 w 1036638"/>
                  <a:gd name="connsiteY90" fmla="*/ 890588 h 1474788"/>
                  <a:gd name="connsiteX91" fmla="*/ 375444 w 1036638"/>
                  <a:gd name="connsiteY91" fmla="*/ 877888 h 1474788"/>
                  <a:gd name="connsiteX92" fmla="*/ 342900 w 1036638"/>
                  <a:gd name="connsiteY92" fmla="*/ 910432 h 1474788"/>
                  <a:gd name="connsiteX93" fmla="*/ 375444 w 1036638"/>
                  <a:gd name="connsiteY93" fmla="*/ 942976 h 1474788"/>
                  <a:gd name="connsiteX94" fmla="*/ 407988 w 1036638"/>
                  <a:gd name="connsiteY94" fmla="*/ 910432 h 1474788"/>
                  <a:gd name="connsiteX95" fmla="*/ 375444 w 1036638"/>
                  <a:gd name="connsiteY95" fmla="*/ 877888 h 1474788"/>
                  <a:gd name="connsiteX96" fmla="*/ 300845 w 1036638"/>
                  <a:gd name="connsiteY96" fmla="*/ 836613 h 1474788"/>
                  <a:gd name="connsiteX97" fmla="*/ 737382 w 1036638"/>
                  <a:gd name="connsiteY97" fmla="*/ 836613 h 1474788"/>
                  <a:gd name="connsiteX98" fmla="*/ 744538 w 1036638"/>
                  <a:gd name="connsiteY98" fmla="*/ 843775 h 1474788"/>
                  <a:gd name="connsiteX99" fmla="*/ 744538 w 1036638"/>
                  <a:gd name="connsiteY99" fmla="*/ 983439 h 1474788"/>
                  <a:gd name="connsiteX100" fmla="*/ 737382 w 1036638"/>
                  <a:gd name="connsiteY100" fmla="*/ 990601 h 1474788"/>
                  <a:gd name="connsiteX101" fmla="*/ 300845 w 1036638"/>
                  <a:gd name="connsiteY101" fmla="*/ 990601 h 1474788"/>
                  <a:gd name="connsiteX102" fmla="*/ 293688 w 1036638"/>
                  <a:gd name="connsiteY102" fmla="*/ 983439 h 1474788"/>
                  <a:gd name="connsiteX103" fmla="*/ 293688 w 1036638"/>
                  <a:gd name="connsiteY103" fmla="*/ 843775 h 1474788"/>
                  <a:gd name="connsiteX104" fmla="*/ 300845 w 1036638"/>
                  <a:gd name="connsiteY104" fmla="*/ 836613 h 1474788"/>
                  <a:gd name="connsiteX105" fmla="*/ 838200 w 1036638"/>
                  <a:gd name="connsiteY105" fmla="*/ 820738 h 1474788"/>
                  <a:gd name="connsiteX106" fmla="*/ 1020991 w 1036638"/>
                  <a:gd name="connsiteY106" fmla="*/ 820738 h 1474788"/>
                  <a:gd name="connsiteX107" fmla="*/ 1036638 w 1036638"/>
                  <a:gd name="connsiteY107" fmla="*/ 836463 h 1474788"/>
                  <a:gd name="connsiteX108" fmla="*/ 1036638 w 1036638"/>
                  <a:gd name="connsiteY108" fmla="*/ 1365401 h 1474788"/>
                  <a:gd name="connsiteX109" fmla="*/ 1020991 w 1036638"/>
                  <a:gd name="connsiteY109" fmla="*/ 1381126 h 1474788"/>
                  <a:gd name="connsiteX110" fmla="*/ 838200 w 1036638"/>
                  <a:gd name="connsiteY110" fmla="*/ 1381126 h 1474788"/>
                  <a:gd name="connsiteX111" fmla="*/ 838200 w 1036638"/>
                  <a:gd name="connsiteY111" fmla="*/ 1349676 h 1474788"/>
                  <a:gd name="connsiteX112" fmla="*/ 1005343 w 1036638"/>
                  <a:gd name="connsiteY112" fmla="*/ 1349676 h 1474788"/>
                  <a:gd name="connsiteX113" fmla="*/ 1005343 w 1036638"/>
                  <a:gd name="connsiteY113" fmla="*/ 852188 h 1474788"/>
                  <a:gd name="connsiteX114" fmla="*/ 838200 w 1036638"/>
                  <a:gd name="connsiteY114" fmla="*/ 852188 h 1474788"/>
                  <a:gd name="connsiteX115" fmla="*/ 838200 w 1036638"/>
                  <a:gd name="connsiteY115" fmla="*/ 820738 h 1474788"/>
                  <a:gd name="connsiteX116" fmla="*/ 15760 w 1036638"/>
                  <a:gd name="connsiteY116" fmla="*/ 820738 h 1474788"/>
                  <a:gd name="connsiteX117" fmla="*/ 198438 w 1036638"/>
                  <a:gd name="connsiteY117" fmla="*/ 820738 h 1474788"/>
                  <a:gd name="connsiteX118" fmla="*/ 198438 w 1036638"/>
                  <a:gd name="connsiteY118" fmla="*/ 852188 h 1474788"/>
                  <a:gd name="connsiteX119" fmla="*/ 31521 w 1036638"/>
                  <a:gd name="connsiteY119" fmla="*/ 852188 h 1474788"/>
                  <a:gd name="connsiteX120" fmla="*/ 31521 w 1036638"/>
                  <a:gd name="connsiteY120" fmla="*/ 1349676 h 1474788"/>
                  <a:gd name="connsiteX121" fmla="*/ 198438 w 1036638"/>
                  <a:gd name="connsiteY121" fmla="*/ 1349676 h 1474788"/>
                  <a:gd name="connsiteX122" fmla="*/ 198438 w 1036638"/>
                  <a:gd name="connsiteY122" fmla="*/ 1381126 h 1474788"/>
                  <a:gd name="connsiteX123" fmla="*/ 15760 w 1036638"/>
                  <a:gd name="connsiteY123" fmla="*/ 1381126 h 1474788"/>
                  <a:gd name="connsiteX124" fmla="*/ 0 w 1036638"/>
                  <a:gd name="connsiteY124" fmla="*/ 1365401 h 1474788"/>
                  <a:gd name="connsiteX125" fmla="*/ 0 w 1036638"/>
                  <a:gd name="connsiteY125" fmla="*/ 836463 h 1474788"/>
                  <a:gd name="connsiteX126" fmla="*/ 15760 w 1036638"/>
                  <a:gd name="connsiteY126" fmla="*/ 820738 h 1474788"/>
                  <a:gd name="connsiteX127" fmla="*/ 260350 w 1036638"/>
                  <a:gd name="connsiteY127" fmla="*/ 806450 h 1474788"/>
                  <a:gd name="connsiteX128" fmla="*/ 260350 w 1036638"/>
                  <a:gd name="connsiteY128" fmla="*/ 1443038 h 1474788"/>
                  <a:gd name="connsiteX129" fmla="*/ 774700 w 1036638"/>
                  <a:gd name="connsiteY129" fmla="*/ 1443038 h 1474788"/>
                  <a:gd name="connsiteX130" fmla="*/ 774700 w 1036638"/>
                  <a:gd name="connsiteY130" fmla="*/ 806450 h 1474788"/>
                  <a:gd name="connsiteX131" fmla="*/ 260350 w 1036638"/>
                  <a:gd name="connsiteY131" fmla="*/ 806450 h 1474788"/>
                  <a:gd name="connsiteX132" fmla="*/ 244334 w 1036638"/>
                  <a:gd name="connsiteY132" fmla="*/ 774700 h 1474788"/>
                  <a:gd name="connsiteX133" fmla="*/ 790717 w 1036638"/>
                  <a:gd name="connsiteY133" fmla="*/ 774700 h 1474788"/>
                  <a:gd name="connsiteX134" fmla="*/ 806450 w 1036638"/>
                  <a:gd name="connsiteY134" fmla="*/ 790400 h 1474788"/>
                  <a:gd name="connsiteX135" fmla="*/ 806450 w 1036638"/>
                  <a:gd name="connsiteY135" fmla="*/ 1459088 h 1474788"/>
                  <a:gd name="connsiteX136" fmla="*/ 790717 w 1036638"/>
                  <a:gd name="connsiteY136" fmla="*/ 1474788 h 1474788"/>
                  <a:gd name="connsiteX137" fmla="*/ 244334 w 1036638"/>
                  <a:gd name="connsiteY137" fmla="*/ 1474788 h 1474788"/>
                  <a:gd name="connsiteX138" fmla="*/ 228600 w 1036638"/>
                  <a:gd name="connsiteY138" fmla="*/ 1459088 h 1474788"/>
                  <a:gd name="connsiteX139" fmla="*/ 228600 w 1036638"/>
                  <a:gd name="connsiteY139" fmla="*/ 790400 h 1474788"/>
                  <a:gd name="connsiteX140" fmla="*/ 244334 w 1036638"/>
                  <a:gd name="connsiteY140" fmla="*/ 774700 h 1474788"/>
                  <a:gd name="connsiteX141" fmla="*/ 517604 w 1036638"/>
                  <a:gd name="connsiteY141" fmla="*/ 301625 h 1474788"/>
                  <a:gd name="connsiteX142" fmla="*/ 518319 w 1036638"/>
                  <a:gd name="connsiteY142" fmla="*/ 301625 h 1474788"/>
                  <a:gd name="connsiteX143" fmla="*/ 538334 w 1036638"/>
                  <a:gd name="connsiteY143" fmla="*/ 312354 h 1474788"/>
                  <a:gd name="connsiteX144" fmla="*/ 638408 w 1036638"/>
                  <a:gd name="connsiteY144" fmla="*/ 410347 h 1474788"/>
                  <a:gd name="connsiteX145" fmla="*/ 638408 w 1036638"/>
                  <a:gd name="connsiteY145" fmla="*/ 444680 h 1474788"/>
                  <a:gd name="connsiteX146" fmla="*/ 604097 w 1036638"/>
                  <a:gd name="connsiteY146" fmla="*/ 445395 h 1474788"/>
                  <a:gd name="connsiteX147" fmla="*/ 542623 w 1036638"/>
                  <a:gd name="connsiteY147" fmla="*/ 384597 h 1474788"/>
                  <a:gd name="connsiteX148" fmla="*/ 542623 w 1036638"/>
                  <a:gd name="connsiteY148" fmla="*/ 742950 h 1474788"/>
                  <a:gd name="connsiteX149" fmla="*/ 494016 w 1036638"/>
                  <a:gd name="connsiteY149" fmla="*/ 742950 h 1474788"/>
                  <a:gd name="connsiteX150" fmla="*/ 494016 w 1036638"/>
                  <a:gd name="connsiteY150" fmla="*/ 384597 h 1474788"/>
                  <a:gd name="connsiteX151" fmla="*/ 433256 w 1036638"/>
                  <a:gd name="connsiteY151" fmla="*/ 446111 h 1474788"/>
                  <a:gd name="connsiteX152" fmla="*/ 416101 w 1036638"/>
                  <a:gd name="connsiteY152" fmla="*/ 453263 h 1474788"/>
                  <a:gd name="connsiteX153" fmla="*/ 398945 w 1036638"/>
                  <a:gd name="connsiteY153" fmla="*/ 446826 h 1474788"/>
                  <a:gd name="connsiteX154" fmla="*/ 398945 w 1036638"/>
                  <a:gd name="connsiteY154" fmla="*/ 412493 h 1474788"/>
                  <a:gd name="connsiteX155" fmla="*/ 500449 w 1036638"/>
                  <a:gd name="connsiteY155" fmla="*/ 308778 h 1474788"/>
                  <a:gd name="connsiteX156" fmla="*/ 517604 w 1036638"/>
                  <a:gd name="connsiteY156" fmla="*/ 301625 h 1474788"/>
                  <a:gd name="connsiteX157" fmla="*/ 411129 w 1036638"/>
                  <a:gd name="connsiteY157" fmla="*/ 57150 h 1474788"/>
                  <a:gd name="connsiteX158" fmla="*/ 569877 w 1036638"/>
                  <a:gd name="connsiteY158" fmla="*/ 173471 h 1474788"/>
                  <a:gd name="connsiteX159" fmla="*/ 604915 w 1036638"/>
                  <a:gd name="connsiteY159" fmla="*/ 164908 h 1474788"/>
                  <a:gd name="connsiteX160" fmla="*/ 687149 w 1036638"/>
                  <a:gd name="connsiteY160" fmla="*/ 239838 h 1474788"/>
                  <a:gd name="connsiteX161" fmla="*/ 734344 w 1036638"/>
                  <a:gd name="connsiteY161" fmla="*/ 229134 h 1474788"/>
                  <a:gd name="connsiteX162" fmla="*/ 833025 w 1036638"/>
                  <a:gd name="connsiteY162" fmla="*/ 289792 h 1474788"/>
                  <a:gd name="connsiteX163" fmla="*/ 930276 w 1036638"/>
                  <a:gd name="connsiteY163" fmla="*/ 405400 h 1474788"/>
                  <a:gd name="connsiteX164" fmla="*/ 810143 w 1036638"/>
                  <a:gd name="connsiteY164" fmla="*/ 523148 h 1474788"/>
                  <a:gd name="connsiteX165" fmla="*/ 787975 w 1036638"/>
                  <a:gd name="connsiteY165" fmla="*/ 523148 h 1474788"/>
                  <a:gd name="connsiteX166" fmla="*/ 712892 w 1036638"/>
                  <a:gd name="connsiteY166" fmla="*/ 552407 h 1474788"/>
                  <a:gd name="connsiteX167" fmla="*/ 650680 w 1036638"/>
                  <a:gd name="connsiteY167" fmla="*/ 533853 h 1474788"/>
                  <a:gd name="connsiteX168" fmla="*/ 574882 w 1036638"/>
                  <a:gd name="connsiteY168" fmla="*/ 566680 h 1474788"/>
                  <a:gd name="connsiteX169" fmla="*/ 574882 w 1036638"/>
                  <a:gd name="connsiteY169" fmla="*/ 460349 h 1474788"/>
                  <a:gd name="connsiteX170" fmla="*/ 582748 w 1036638"/>
                  <a:gd name="connsiteY170" fmla="*/ 467485 h 1474788"/>
                  <a:gd name="connsiteX171" fmla="*/ 622077 w 1036638"/>
                  <a:gd name="connsiteY171" fmla="*/ 483899 h 1474788"/>
                  <a:gd name="connsiteX172" fmla="*/ 661406 w 1036638"/>
                  <a:gd name="connsiteY172" fmla="*/ 466772 h 1474788"/>
                  <a:gd name="connsiteX173" fmla="*/ 660691 w 1036638"/>
                  <a:gd name="connsiteY173" fmla="*/ 388273 h 1474788"/>
                  <a:gd name="connsiteX174" fmla="*/ 563441 w 1036638"/>
                  <a:gd name="connsiteY174" fmla="*/ 292647 h 1474788"/>
                  <a:gd name="connsiteX175" fmla="*/ 519106 w 1036638"/>
                  <a:gd name="connsiteY175" fmla="*/ 271238 h 1474788"/>
                  <a:gd name="connsiteX176" fmla="*/ 518391 w 1036638"/>
                  <a:gd name="connsiteY176" fmla="*/ 271238 h 1474788"/>
                  <a:gd name="connsiteX177" fmla="*/ 479062 w 1036638"/>
                  <a:gd name="connsiteY177" fmla="*/ 287651 h 1474788"/>
                  <a:gd name="connsiteX178" fmla="*/ 376805 w 1036638"/>
                  <a:gd name="connsiteY178" fmla="*/ 390414 h 1474788"/>
                  <a:gd name="connsiteX179" fmla="*/ 361074 w 1036638"/>
                  <a:gd name="connsiteY179" fmla="*/ 429663 h 1474788"/>
                  <a:gd name="connsiteX180" fmla="*/ 377521 w 1036638"/>
                  <a:gd name="connsiteY180" fmla="*/ 468913 h 1474788"/>
                  <a:gd name="connsiteX181" fmla="*/ 416850 w 1036638"/>
                  <a:gd name="connsiteY181" fmla="*/ 484613 h 1474788"/>
                  <a:gd name="connsiteX182" fmla="*/ 456179 w 1036638"/>
                  <a:gd name="connsiteY182" fmla="*/ 468199 h 1474788"/>
                  <a:gd name="connsiteX183" fmla="*/ 463330 w 1036638"/>
                  <a:gd name="connsiteY183" fmla="*/ 461063 h 1474788"/>
                  <a:gd name="connsiteX184" fmla="*/ 463330 w 1036638"/>
                  <a:gd name="connsiteY184" fmla="*/ 546698 h 1474788"/>
                  <a:gd name="connsiteX185" fmla="*/ 356783 w 1036638"/>
                  <a:gd name="connsiteY185" fmla="*/ 587375 h 1474788"/>
                  <a:gd name="connsiteX186" fmla="*/ 223779 w 1036638"/>
                  <a:gd name="connsiteY186" fmla="*/ 516726 h 1474788"/>
                  <a:gd name="connsiteX187" fmla="*/ 122238 w 1036638"/>
                  <a:gd name="connsiteY187" fmla="*/ 378996 h 1474788"/>
                  <a:gd name="connsiteX188" fmla="*/ 245946 w 1036638"/>
                  <a:gd name="connsiteY188" fmla="*/ 237698 h 1474788"/>
                  <a:gd name="connsiteX189" fmla="*/ 245231 w 1036638"/>
                  <a:gd name="connsiteY189" fmla="*/ 220570 h 1474788"/>
                  <a:gd name="connsiteX190" fmla="*/ 411129 w 1036638"/>
                  <a:gd name="connsiteY190" fmla="*/ 57150 h 1474788"/>
                  <a:gd name="connsiteX191" fmla="*/ 409496 w 1036638"/>
                  <a:gd name="connsiteY191" fmla="*/ 0 h 1474788"/>
                  <a:gd name="connsiteX192" fmla="*/ 543176 w 1036638"/>
                  <a:gd name="connsiteY192" fmla="*/ 44204 h 1474788"/>
                  <a:gd name="connsiteX193" fmla="*/ 601081 w 1036638"/>
                  <a:gd name="connsiteY193" fmla="*/ 108371 h 1474788"/>
                  <a:gd name="connsiteX194" fmla="*/ 603225 w 1036638"/>
                  <a:gd name="connsiteY194" fmla="*/ 108371 h 1474788"/>
                  <a:gd name="connsiteX195" fmla="*/ 681861 w 1036638"/>
                  <a:gd name="connsiteY195" fmla="*/ 132612 h 1474788"/>
                  <a:gd name="connsiteX196" fmla="*/ 721178 w 1036638"/>
                  <a:gd name="connsiteY196" fmla="*/ 172539 h 1474788"/>
                  <a:gd name="connsiteX197" fmla="*/ 732616 w 1036638"/>
                  <a:gd name="connsiteY197" fmla="*/ 171826 h 1474788"/>
                  <a:gd name="connsiteX198" fmla="*/ 868442 w 1036638"/>
                  <a:gd name="connsiteY198" fmla="*/ 240984 h 1474788"/>
                  <a:gd name="connsiteX199" fmla="*/ 984250 w 1036638"/>
                  <a:gd name="connsiteY199" fmla="*/ 405680 h 1474788"/>
                  <a:gd name="connsiteX200" fmla="*/ 808392 w 1036638"/>
                  <a:gd name="connsiteY200" fmla="*/ 580358 h 1474788"/>
                  <a:gd name="connsiteX201" fmla="*/ 806248 w 1036638"/>
                  <a:gd name="connsiteY201" fmla="*/ 580358 h 1474788"/>
                  <a:gd name="connsiteX202" fmla="*/ 711170 w 1036638"/>
                  <a:gd name="connsiteY202" fmla="*/ 609589 h 1474788"/>
                  <a:gd name="connsiteX203" fmla="*/ 654696 w 1036638"/>
                  <a:gd name="connsiteY203" fmla="*/ 599608 h 1474788"/>
                  <a:gd name="connsiteX204" fmla="*/ 573201 w 1036638"/>
                  <a:gd name="connsiteY204" fmla="*/ 623849 h 1474788"/>
                  <a:gd name="connsiteX205" fmla="*/ 573201 w 1036638"/>
                  <a:gd name="connsiteY205" fmla="*/ 592478 h 1474788"/>
                  <a:gd name="connsiteX206" fmla="*/ 651121 w 1036638"/>
                  <a:gd name="connsiteY206" fmla="*/ 564672 h 1474788"/>
                  <a:gd name="connsiteX207" fmla="*/ 711170 w 1036638"/>
                  <a:gd name="connsiteY207" fmla="*/ 578219 h 1474788"/>
                  <a:gd name="connsiteX208" fmla="*/ 795525 w 1036638"/>
                  <a:gd name="connsiteY208" fmla="*/ 548987 h 1474788"/>
                  <a:gd name="connsiteX209" fmla="*/ 808392 w 1036638"/>
                  <a:gd name="connsiteY209" fmla="*/ 548987 h 1474788"/>
                  <a:gd name="connsiteX210" fmla="*/ 953511 w 1036638"/>
                  <a:gd name="connsiteY210" fmla="*/ 405680 h 1474788"/>
                  <a:gd name="connsiteX211" fmla="*/ 848425 w 1036638"/>
                  <a:gd name="connsiteY211" fmla="*/ 267364 h 1474788"/>
                  <a:gd name="connsiteX212" fmla="*/ 732616 w 1036638"/>
                  <a:gd name="connsiteY212" fmla="*/ 203196 h 1474788"/>
                  <a:gd name="connsiteX213" fmla="*/ 703307 w 1036638"/>
                  <a:gd name="connsiteY213" fmla="*/ 206761 h 1474788"/>
                  <a:gd name="connsiteX214" fmla="*/ 603225 w 1036638"/>
                  <a:gd name="connsiteY214" fmla="*/ 139742 h 1474788"/>
                  <a:gd name="connsiteX215" fmla="*/ 583209 w 1036638"/>
                  <a:gd name="connsiteY215" fmla="*/ 141168 h 1474788"/>
                  <a:gd name="connsiteX216" fmla="*/ 524590 w 1036638"/>
                  <a:gd name="connsiteY216" fmla="*/ 69158 h 1474788"/>
                  <a:gd name="connsiteX217" fmla="*/ 409496 w 1036638"/>
                  <a:gd name="connsiteY217" fmla="*/ 31371 h 1474788"/>
                  <a:gd name="connsiteX218" fmla="*/ 218626 w 1036638"/>
                  <a:gd name="connsiteY218" fmla="*/ 216743 h 1474788"/>
                  <a:gd name="connsiteX219" fmla="*/ 137131 w 1036638"/>
                  <a:gd name="connsiteY219" fmla="*/ 268077 h 1474788"/>
                  <a:gd name="connsiteX220" fmla="*/ 94954 w 1036638"/>
                  <a:gd name="connsiteY220" fmla="*/ 379300 h 1474788"/>
                  <a:gd name="connsiteX221" fmla="*/ 206473 w 1036638"/>
                  <a:gd name="connsiteY221" fmla="*/ 538292 h 1474788"/>
                  <a:gd name="connsiteX222" fmla="*/ 355166 w 1036638"/>
                  <a:gd name="connsiteY222" fmla="*/ 613154 h 1474788"/>
                  <a:gd name="connsiteX223" fmla="*/ 461681 w 1036638"/>
                  <a:gd name="connsiteY223" fmla="*/ 578932 h 1474788"/>
                  <a:gd name="connsiteX224" fmla="*/ 461681 w 1036638"/>
                  <a:gd name="connsiteY224" fmla="*/ 616006 h 1474788"/>
                  <a:gd name="connsiteX225" fmla="*/ 355166 w 1036638"/>
                  <a:gd name="connsiteY225" fmla="*/ 644525 h 1474788"/>
                  <a:gd name="connsiteX226" fmla="*/ 186457 w 1036638"/>
                  <a:gd name="connsiteY226" fmla="*/ 564672 h 1474788"/>
                  <a:gd name="connsiteX227" fmla="*/ 99958 w 1036638"/>
                  <a:gd name="connsiteY227" fmla="*/ 494801 h 1474788"/>
                  <a:gd name="connsiteX228" fmla="*/ 63500 w 1036638"/>
                  <a:gd name="connsiteY228" fmla="*/ 379300 h 1474788"/>
                  <a:gd name="connsiteX229" fmla="*/ 113541 w 1036638"/>
                  <a:gd name="connsiteY229" fmla="*/ 247401 h 1474788"/>
                  <a:gd name="connsiteX230" fmla="*/ 188602 w 1036638"/>
                  <a:gd name="connsiteY230" fmla="*/ 193928 h 1474788"/>
                  <a:gd name="connsiteX231" fmla="*/ 253655 w 1036638"/>
                  <a:gd name="connsiteY231" fmla="*/ 62741 h 1474788"/>
                  <a:gd name="connsiteX232" fmla="*/ 409496 w 1036638"/>
                  <a:gd name="connsiteY232" fmla="*/ 0 h 147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1036638" h="1474788">
                    <a:moveTo>
                      <a:pt x="449087" y="1316038"/>
                    </a:moveTo>
                    <a:cubicBezTo>
                      <a:pt x="439811" y="1316038"/>
                      <a:pt x="433388" y="1322532"/>
                      <a:pt x="433388" y="1331913"/>
                    </a:cubicBezTo>
                    <a:cubicBezTo>
                      <a:pt x="433388" y="1340572"/>
                      <a:pt x="439811" y="1347788"/>
                      <a:pt x="449087" y="1347788"/>
                    </a:cubicBezTo>
                    <a:cubicBezTo>
                      <a:pt x="636764" y="1347788"/>
                      <a:pt x="636764" y="1347788"/>
                      <a:pt x="636764" y="1347788"/>
                    </a:cubicBezTo>
                    <a:cubicBezTo>
                      <a:pt x="645327" y="1347788"/>
                      <a:pt x="652463" y="1340572"/>
                      <a:pt x="652463" y="1331913"/>
                    </a:cubicBezTo>
                    <a:cubicBezTo>
                      <a:pt x="652463" y="1322532"/>
                      <a:pt x="645327" y="1316038"/>
                      <a:pt x="636764" y="1316038"/>
                    </a:cubicBezTo>
                    <a:cubicBezTo>
                      <a:pt x="449087" y="1316038"/>
                      <a:pt x="449087" y="1316038"/>
                      <a:pt x="449087" y="1316038"/>
                    </a:cubicBezTo>
                    <a:close/>
                    <a:moveTo>
                      <a:pt x="375444" y="1298575"/>
                    </a:moveTo>
                    <a:cubicBezTo>
                      <a:pt x="357470" y="1298575"/>
                      <a:pt x="342900" y="1313145"/>
                      <a:pt x="342900" y="1331119"/>
                    </a:cubicBezTo>
                    <a:cubicBezTo>
                      <a:pt x="342900" y="1349093"/>
                      <a:pt x="357470" y="1363663"/>
                      <a:pt x="375444" y="1363663"/>
                    </a:cubicBezTo>
                    <a:cubicBezTo>
                      <a:pt x="393418" y="1363663"/>
                      <a:pt x="407988" y="1349093"/>
                      <a:pt x="407988" y="1331119"/>
                    </a:cubicBezTo>
                    <a:cubicBezTo>
                      <a:pt x="407988" y="1313145"/>
                      <a:pt x="393418" y="1298575"/>
                      <a:pt x="375444" y="1298575"/>
                    </a:cubicBezTo>
                    <a:close/>
                    <a:moveTo>
                      <a:pt x="300845" y="1258888"/>
                    </a:moveTo>
                    <a:cubicBezTo>
                      <a:pt x="737382" y="1258888"/>
                      <a:pt x="737382" y="1258888"/>
                      <a:pt x="737382" y="1258888"/>
                    </a:cubicBezTo>
                    <a:cubicBezTo>
                      <a:pt x="741676" y="1258888"/>
                      <a:pt x="744538" y="1261737"/>
                      <a:pt x="744538" y="1265297"/>
                    </a:cubicBezTo>
                    <a:cubicBezTo>
                      <a:pt x="744538" y="1404167"/>
                      <a:pt x="744538" y="1404167"/>
                      <a:pt x="744538" y="1404167"/>
                    </a:cubicBezTo>
                    <a:cubicBezTo>
                      <a:pt x="744538" y="1407727"/>
                      <a:pt x="741676" y="1411288"/>
                      <a:pt x="737382" y="1411288"/>
                    </a:cubicBezTo>
                    <a:cubicBezTo>
                      <a:pt x="300845" y="1411288"/>
                      <a:pt x="300845" y="1411288"/>
                      <a:pt x="300845" y="1411288"/>
                    </a:cubicBezTo>
                    <a:cubicBezTo>
                      <a:pt x="296551" y="1411288"/>
                      <a:pt x="293688" y="1407727"/>
                      <a:pt x="293688" y="1404167"/>
                    </a:cubicBezTo>
                    <a:cubicBezTo>
                      <a:pt x="293688" y="1265297"/>
                      <a:pt x="293688" y="1265297"/>
                      <a:pt x="293688" y="1265297"/>
                    </a:cubicBezTo>
                    <a:cubicBezTo>
                      <a:pt x="293688" y="1261737"/>
                      <a:pt x="296551" y="1258888"/>
                      <a:pt x="300845" y="1258888"/>
                    </a:cubicBezTo>
                    <a:close/>
                    <a:moveTo>
                      <a:pt x="838200" y="1212850"/>
                    </a:moveTo>
                    <a:cubicBezTo>
                      <a:pt x="838200" y="1212850"/>
                      <a:pt x="838200" y="1212850"/>
                      <a:pt x="964419" y="1212850"/>
                    </a:cubicBezTo>
                    <a:cubicBezTo>
                      <a:pt x="968698" y="1212850"/>
                      <a:pt x="971550" y="1215703"/>
                      <a:pt x="971550" y="1219982"/>
                    </a:cubicBezTo>
                    <a:cubicBezTo>
                      <a:pt x="971550" y="1219982"/>
                      <a:pt x="971550" y="1219982"/>
                      <a:pt x="971550" y="1304143"/>
                    </a:cubicBezTo>
                    <a:cubicBezTo>
                      <a:pt x="971550" y="1307709"/>
                      <a:pt x="968698" y="1311275"/>
                      <a:pt x="964419" y="1311275"/>
                    </a:cubicBezTo>
                    <a:cubicBezTo>
                      <a:pt x="964419" y="1311275"/>
                      <a:pt x="964419" y="1311275"/>
                      <a:pt x="838200" y="1311275"/>
                    </a:cubicBezTo>
                    <a:cubicBezTo>
                      <a:pt x="838200" y="1311275"/>
                      <a:pt x="838200" y="1311275"/>
                      <a:pt x="838200" y="1212850"/>
                    </a:cubicBezTo>
                    <a:close/>
                    <a:moveTo>
                      <a:pt x="75337" y="1212850"/>
                    </a:moveTo>
                    <a:cubicBezTo>
                      <a:pt x="75337" y="1212850"/>
                      <a:pt x="75337" y="1212850"/>
                      <a:pt x="198438" y="1212850"/>
                    </a:cubicBezTo>
                    <a:cubicBezTo>
                      <a:pt x="198438" y="1212850"/>
                      <a:pt x="198438" y="1212850"/>
                      <a:pt x="198438" y="1311275"/>
                    </a:cubicBezTo>
                    <a:cubicBezTo>
                      <a:pt x="198438" y="1311275"/>
                      <a:pt x="198438" y="1311275"/>
                      <a:pt x="75337" y="1311275"/>
                    </a:cubicBezTo>
                    <a:cubicBezTo>
                      <a:pt x="71093" y="1311275"/>
                      <a:pt x="68263" y="1307709"/>
                      <a:pt x="68263" y="1304143"/>
                    </a:cubicBezTo>
                    <a:cubicBezTo>
                      <a:pt x="68263" y="1304143"/>
                      <a:pt x="68263" y="1304143"/>
                      <a:pt x="68263" y="1219982"/>
                    </a:cubicBezTo>
                    <a:cubicBezTo>
                      <a:pt x="68263" y="1215703"/>
                      <a:pt x="71093" y="1212850"/>
                      <a:pt x="75337" y="1212850"/>
                    </a:cubicBezTo>
                    <a:close/>
                    <a:moveTo>
                      <a:pt x="449087" y="1106488"/>
                    </a:moveTo>
                    <a:cubicBezTo>
                      <a:pt x="439811" y="1106488"/>
                      <a:pt x="433388" y="1113704"/>
                      <a:pt x="433388" y="1122363"/>
                    </a:cubicBezTo>
                    <a:cubicBezTo>
                      <a:pt x="433388" y="1131022"/>
                      <a:pt x="439811" y="1138238"/>
                      <a:pt x="449087" y="1138238"/>
                    </a:cubicBezTo>
                    <a:cubicBezTo>
                      <a:pt x="636764" y="1138238"/>
                      <a:pt x="636764" y="1138238"/>
                      <a:pt x="636764" y="1138238"/>
                    </a:cubicBezTo>
                    <a:cubicBezTo>
                      <a:pt x="645327" y="1138238"/>
                      <a:pt x="652463" y="1131022"/>
                      <a:pt x="652463" y="1122363"/>
                    </a:cubicBezTo>
                    <a:cubicBezTo>
                      <a:pt x="652463" y="1113704"/>
                      <a:pt x="645327" y="1106488"/>
                      <a:pt x="636764" y="1106488"/>
                    </a:cubicBezTo>
                    <a:cubicBezTo>
                      <a:pt x="449087" y="1106488"/>
                      <a:pt x="449087" y="1106488"/>
                      <a:pt x="449087" y="1106488"/>
                    </a:cubicBezTo>
                    <a:close/>
                    <a:moveTo>
                      <a:pt x="375444" y="1089025"/>
                    </a:moveTo>
                    <a:cubicBezTo>
                      <a:pt x="357470" y="1089025"/>
                      <a:pt x="342900" y="1103595"/>
                      <a:pt x="342900" y="1121569"/>
                    </a:cubicBezTo>
                    <a:cubicBezTo>
                      <a:pt x="342900" y="1139543"/>
                      <a:pt x="357470" y="1154113"/>
                      <a:pt x="375444" y="1154113"/>
                    </a:cubicBezTo>
                    <a:cubicBezTo>
                      <a:pt x="393418" y="1154113"/>
                      <a:pt x="407988" y="1139543"/>
                      <a:pt x="407988" y="1121569"/>
                    </a:cubicBezTo>
                    <a:cubicBezTo>
                      <a:pt x="407988" y="1103595"/>
                      <a:pt x="393418" y="1089025"/>
                      <a:pt x="375444" y="1089025"/>
                    </a:cubicBezTo>
                    <a:close/>
                    <a:moveTo>
                      <a:pt x="838200" y="1052513"/>
                    </a:moveTo>
                    <a:cubicBezTo>
                      <a:pt x="838200" y="1052513"/>
                      <a:pt x="838200" y="1052513"/>
                      <a:pt x="964419" y="1052513"/>
                    </a:cubicBezTo>
                    <a:cubicBezTo>
                      <a:pt x="968698" y="1052513"/>
                      <a:pt x="971550" y="1055366"/>
                      <a:pt x="971550" y="1059645"/>
                    </a:cubicBezTo>
                    <a:cubicBezTo>
                      <a:pt x="971550" y="1059645"/>
                      <a:pt x="971550" y="1059645"/>
                      <a:pt x="971550" y="1143806"/>
                    </a:cubicBezTo>
                    <a:cubicBezTo>
                      <a:pt x="971550" y="1148085"/>
                      <a:pt x="968698" y="1150938"/>
                      <a:pt x="964419" y="1150938"/>
                    </a:cubicBezTo>
                    <a:cubicBezTo>
                      <a:pt x="964419" y="1150938"/>
                      <a:pt x="964419" y="1150938"/>
                      <a:pt x="838200" y="1150938"/>
                    </a:cubicBezTo>
                    <a:cubicBezTo>
                      <a:pt x="838200" y="1150938"/>
                      <a:pt x="838200" y="1150938"/>
                      <a:pt x="838200" y="1052513"/>
                    </a:cubicBezTo>
                    <a:close/>
                    <a:moveTo>
                      <a:pt x="75337" y="1052513"/>
                    </a:moveTo>
                    <a:cubicBezTo>
                      <a:pt x="75337" y="1052513"/>
                      <a:pt x="75337" y="1052513"/>
                      <a:pt x="198438" y="1052513"/>
                    </a:cubicBezTo>
                    <a:cubicBezTo>
                      <a:pt x="198438" y="1052513"/>
                      <a:pt x="198438" y="1052513"/>
                      <a:pt x="198438" y="1150938"/>
                    </a:cubicBezTo>
                    <a:cubicBezTo>
                      <a:pt x="198438" y="1150938"/>
                      <a:pt x="198438" y="1150938"/>
                      <a:pt x="75337" y="1150938"/>
                    </a:cubicBezTo>
                    <a:cubicBezTo>
                      <a:pt x="71093" y="1150938"/>
                      <a:pt x="68263" y="1148085"/>
                      <a:pt x="68263" y="1143806"/>
                    </a:cubicBezTo>
                    <a:cubicBezTo>
                      <a:pt x="68263" y="1143806"/>
                      <a:pt x="68263" y="1143806"/>
                      <a:pt x="68263" y="1059645"/>
                    </a:cubicBezTo>
                    <a:cubicBezTo>
                      <a:pt x="68263" y="1055366"/>
                      <a:pt x="71093" y="1052513"/>
                      <a:pt x="75337" y="1052513"/>
                    </a:cubicBezTo>
                    <a:close/>
                    <a:moveTo>
                      <a:pt x="300845" y="1047750"/>
                    </a:moveTo>
                    <a:cubicBezTo>
                      <a:pt x="737382" y="1047750"/>
                      <a:pt x="737382" y="1047750"/>
                      <a:pt x="737382" y="1047750"/>
                    </a:cubicBezTo>
                    <a:cubicBezTo>
                      <a:pt x="741676" y="1047750"/>
                      <a:pt x="744538" y="1050628"/>
                      <a:pt x="744538" y="1054946"/>
                    </a:cubicBezTo>
                    <a:cubicBezTo>
                      <a:pt x="744538" y="1194542"/>
                      <a:pt x="744538" y="1194542"/>
                      <a:pt x="744538" y="1194542"/>
                    </a:cubicBezTo>
                    <a:cubicBezTo>
                      <a:pt x="744538" y="1198860"/>
                      <a:pt x="741676" y="1201738"/>
                      <a:pt x="737382" y="1201738"/>
                    </a:cubicBezTo>
                    <a:cubicBezTo>
                      <a:pt x="300845" y="1201738"/>
                      <a:pt x="300845" y="1201738"/>
                      <a:pt x="300845" y="1201738"/>
                    </a:cubicBezTo>
                    <a:cubicBezTo>
                      <a:pt x="296551" y="1201738"/>
                      <a:pt x="293688" y="1198860"/>
                      <a:pt x="293688" y="1194542"/>
                    </a:cubicBezTo>
                    <a:cubicBezTo>
                      <a:pt x="293688" y="1054946"/>
                      <a:pt x="293688" y="1054946"/>
                      <a:pt x="293688" y="1054946"/>
                    </a:cubicBezTo>
                    <a:cubicBezTo>
                      <a:pt x="293688" y="1050628"/>
                      <a:pt x="296551" y="1047750"/>
                      <a:pt x="300845" y="1047750"/>
                    </a:cubicBezTo>
                    <a:close/>
                    <a:moveTo>
                      <a:pt x="449087" y="895350"/>
                    </a:moveTo>
                    <a:cubicBezTo>
                      <a:pt x="439811" y="895350"/>
                      <a:pt x="433388" y="902205"/>
                      <a:pt x="433388" y="910432"/>
                    </a:cubicBezTo>
                    <a:cubicBezTo>
                      <a:pt x="433388" y="919343"/>
                      <a:pt x="439811" y="925513"/>
                      <a:pt x="449087" y="925513"/>
                    </a:cubicBezTo>
                    <a:cubicBezTo>
                      <a:pt x="636764" y="925513"/>
                      <a:pt x="636764" y="925513"/>
                      <a:pt x="636764" y="925513"/>
                    </a:cubicBezTo>
                    <a:cubicBezTo>
                      <a:pt x="645327" y="925513"/>
                      <a:pt x="652463" y="919343"/>
                      <a:pt x="652463" y="910432"/>
                    </a:cubicBezTo>
                    <a:cubicBezTo>
                      <a:pt x="652463" y="902205"/>
                      <a:pt x="645327" y="895350"/>
                      <a:pt x="636764" y="895350"/>
                    </a:cubicBezTo>
                    <a:cubicBezTo>
                      <a:pt x="449087" y="895350"/>
                      <a:pt x="449087" y="895350"/>
                      <a:pt x="449087" y="895350"/>
                    </a:cubicBezTo>
                    <a:close/>
                    <a:moveTo>
                      <a:pt x="838200" y="890588"/>
                    </a:moveTo>
                    <a:cubicBezTo>
                      <a:pt x="838200" y="890588"/>
                      <a:pt x="838200" y="890588"/>
                      <a:pt x="964419" y="890588"/>
                    </a:cubicBezTo>
                    <a:cubicBezTo>
                      <a:pt x="968698" y="890588"/>
                      <a:pt x="971550" y="893420"/>
                      <a:pt x="971550" y="897669"/>
                    </a:cubicBezTo>
                    <a:cubicBezTo>
                      <a:pt x="971550" y="897669"/>
                      <a:pt x="971550" y="897669"/>
                      <a:pt x="971550" y="981932"/>
                    </a:cubicBezTo>
                    <a:cubicBezTo>
                      <a:pt x="971550" y="985472"/>
                      <a:pt x="968698" y="989013"/>
                      <a:pt x="964419" y="989013"/>
                    </a:cubicBezTo>
                    <a:cubicBezTo>
                      <a:pt x="964419" y="989013"/>
                      <a:pt x="964419" y="989013"/>
                      <a:pt x="838200" y="989013"/>
                    </a:cubicBezTo>
                    <a:cubicBezTo>
                      <a:pt x="838200" y="989013"/>
                      <a:pt x="838200" y="989013"/>
                      <a:pt x="838200" y="890588"/>
                    </a:cubicBezTo>
                    <a:close/>
                    <a:moveTo>
                      <a:pt x="75337" y="890588"/>
                    </a:moveTo>
                    <a:cubicBezTo>
                      <a:pt x="75337" y="890588"/>
                      <a:pt x="75337" y="890588"/>
                      <a:pt x="198438" y="890588"/>
                    </a:cubicBezTo>
                    <a:cubicBezTo>
                      <a:pt x="198438" y="890588"/>
                      <a:pt x="198438" y="890588"/>
                      <a:pt x="198438" y="989013"/>
                    </a:cubicBezTo>
                    <a:cubicBezTo>
                      <a:pt x="198438" y="989013"/>
                      <a:pt x="198438" y="989013"/>
                      <a:pt x="75337" y="989013"/>
                    </a:cubicBezTo>
                    <a:cubicBezTo>
                      <a:pt x="71093" y="989013"/>
                      <a:pt x="68263" y="985472"/>
                      <a:pt x="68263" y="981932"/>
                    </a:cubicBezTo>
                    <a:cubicBezTo>
                      <a:pt x="68263" y="981932"/>
                      <a:pt x="68263" y="981932"/>
                      <a:pt x="68263" y="897669"/>
                    </a:cubicBezTo>
                    <a:cubicBezTo>
                      <a:pt x="68263" y="893420"/>
                      <a:pt x="71093" y="890588"/>
                      <a:pt x="75337" y="890588"/>
                    </a:cubicBezTo>
                    <a:close/>
                    <a:moveTo>
                      <a:pt x="375444" y="877888"/>
                    </a:moveTo>
                    <a:cubicBezTo>
                      <a:pt x="357470" y="877888"/>
                      <a:pt x="342900" y="892458"/>
                      <a:pt x="342900" y="910432"/>
                    </a:cubicBezTo>
                    <a:cubicBezTo>
                      <a:pt x="342900" y="928406"/>
                      <a:pt x="357470" y="942976"/>
                      <a:pt x="375444" y="942976"/>
                    </a:cubicBezTo>
                    <a:cubicBezTo>
                      <a:pt x="393418" y="942976"/>
                      <a:pt x="407988" y="928406"/>
                      <a:pt x="407988" y="910432"/>
                    </a:cubicBezTo>
                    <a:cubicBezTo>
                      <a:pt x="407988" y="892458"/>
                      <a:pt x="393418" y="877888"/>
                      <a:pt x="375444" y="877888"/>
                    </a:cubicBezTo>
                    <a:close/>
                    <a:moveTo>
                      <a:pt x="300845" y="836613"/>
                    </a:moveTo>
                    <a:cubicBezTo>
                      <a:pt x="737382" y="836613"/>
                      <a:pt x="737382" y="836613"/>
                      <a:pt x="737382" y="836613"/>
                    </a:cubicBezTo>
                    <a:cubicBezTo>
                      <a:pt x="741676" y="836613"/>
                      <a:pt x="744538" y="840194"/>
                      <a:pt x="744538" y="843775"/>
                    </a:cubicBezTo>
                    <a:cubicBezTo>
                      <a:pt x="744538" y="983439"/>
                      <a:pt x="744538" y="983439"/>
                      <a:pt x="744538" y="983439"/>
                    </a:cubicBezTo>
                    <a:cubicBezTo>
                      <a:pt x="744538" y="987020"/>
                      <a:pt x="741676" y="990601"/>
                      <a:pt x="737382" y="990601"/>
                    </a:cubicBezTo>
                    <a:cubicBezTo>
                      <a:pt x="300845" y="990601"/>
                      <a:pt x="300845" y="990601"/>
                      <a:pt x="300845" y="990601"/>
                    </a:cubicBezTo>
                    <a:cubicBezTo>
                      <a:pt x="296551" y="990601"/>
                      <a:pt x="293688" y="987020"/>
                      <a:pt x="293688" y="983439"/>
                    </a:cubicBezTo>
                    <a:cubicBezTo>
                      <a:pt x="293688" y="843775"/>
                      <a:pt x="293688" y="843775"/>
                      <a:pt x="293688" y="843775"/>
                    </a:cubicBezTo>
                    <a:cubicBezTo>
                      <a:pt x="293688" y="840194"/>
                      <a:pt x="296551" y="836613"/>
                      <a:pt x="300845" y="836613"/>
                    </a:cubicBezTo>
                    <a:close/>
                    <a:moveTo>
                      <a:pt x="838200" y="820738"/>
                    </a:moveTo>
                    <a:cubicBezTo>
                      <a:pt x="838200" y="820738"/>
                      <a:pt x="838200" y="820738"/>
                      <a:pt x="1020991" y="820738"/>
                    </a:cubicBezTo>
                    <a:cubicBezTo>
                      <a:pt x="1029526" y="820738"/>
                      <a:pt x="1036638" y="827886"/>
                      <a:pt x="1036638" y="836463"/>
                    </a:cubicBezTo>
                    <a:cubicBezTo>
                      <a:pt x="1036638" y="836463"/>
                      <a:pt x="1036638" y="836463"/>
                      <a:pt x="1036638" y="1365401"/>
                    </a:cubicBezTo>
                    <a:cubicBezTo>
                      <a:pt x="1036638" y="1373978"/>
                      <a:pt x="1029526" y="1381126"/>
                      <a:pt x="1020991" y="1381126"/>
                    </a:cubicBezTo>
                    <a:cubicBezTo>
                      <a:pt x="1020991" y="1381126"/>
                      <a:pt x="1020991" y="1381126"/>
                      <a:pt x="838200" y="1381126"/>
                    </a:cubicBezTo>
                    <a:cubicBezTo>
                      <a:pt x="838200" y="1381126"/>
                      <a:pt x="838200" y="1381126"/>
                      <a:pt x="838200" y="1349676"/>
                    </a:cubicBezTo>
                    <a:cubicBezTo>
                      <a:pt x="838200" y="1349676"/>
                      <a:pt x="838200" y="1349676"/>
                      <a:pt x="1005343" y="1349676"/>
                    </a:cubicBezTo>
                    <a:cubicBezTo>
                      <a:pt x="1005343" y="1349676"/>
                      <a:pt x="1005343" y="1349676"/>
                      <a:pt x="1005343" y="852188"/>
                    </a:cubicBezTo>
                    <a:cubicBezTo>
                      <a:pt x="1005343" y="852188"/>
                      <a:pt x="1005343" y="852188"/>
                      <a:pt x="838200" y="852188"/>
                    </a:cubicBezTo>
                    <a:cubicBezTo>
                      <a:pt x="838200" y="852188"/>
                      <a:pt x="838200" y="852188"/>
                      <a:pt x="838200" y="820738"/>
                    </a:cubicBezTo>
                    <a:close/>
                    <a:moveTo>
                      <a:pt x="15760" y="820738"/>
                    </a:moveTo>
                    <a:cubicBezTo>
                      <a:pt x="15760" y="820738"/>
                      <a:pt x="15760" y="820738"/>
                      <a:pt x="198438" y="820738"/>
                    </a:cubicBezTo>
                    <a:cubicBezTo>
                      <a:pt x="198438" y="820738"/>
                      <a:pt x="198438" y="820738"/>
                      <a:pt x="198438" y="852188"/>
                    </a:cubicBezTo>
                    <a:cubicBezTo>
                      <a:pt x="198438" y="852188"/>
                      <a:pt x="198438" y="852188"/>
                      <a:pt x="31521" y="852188"/>
                    </a:cubicBezTo>
                    <a:cubicBezTo>
                      <a:pt x="31521" y="852188"/>
                      <a:pt x="31521" y="852188"/>
                      <a:pt x="31521" y="1349676"/>
                    </a:cubicBezTo>
                    <a:cubicBezTo>
                      <a:pt x="31521" y="1349676"/>
                      <a:pt x="31521" y="1349676"/>
                      <a:pt x="198438" y="1349676"/>
                    </a:cubicBezTo>
                    <a:cubicBezTo>
                      <a:pt x="198438" y="1349676"/>
                      <a:pt x="198438" y="1349676"/>
                      <a:pt x="198438" y="1381126"/>
                    </a:cubicBezTo>
                    <a:cubicBezTo>
                      <a:pt x="198438" y="1381126"/>
                      <a:pt x="198438" y="1381126"/>
                      <a:pt x="15760" y="1381126"/>
                    </a:cubicBezTo>
                    <a:cubicBezTo>
                      <a:pt x="7164" y="1381126"/>
                      <a:pt x="0" y="1373978"/>
                      <a:pt x="0" y="1365401"/>
                    </a:cubicBezTo>
                    <a:cubicBezTo>
                      <a:pt x="0" y="1365401"/>
                      <a:pt x="0" y="1365401"/>
                      <a:pt x="0" y="836463"/>
                    </a:cubicBezTo>
                    <a:cubicBezTo>
                      <a:pt x="0" y="827886"/>
                      <a:pt x="7164" y="820738"/>
                      <a:pt x="15760" y="820738"/>
                    </a:cubicBezTo>
                    <a:close/>
                    <a:moveTo>
                      <a:pt x="260350" y="806450"/>
                    </a:moveTo>
                    <a:cubicBezTo>
                      <a:pt x="260350" y="806450"/>
                      <a:pt x="260350" y="806450"/>
                      <a:pt x="260350" y="1443038"/>
                    </a:cubicBezTo>
                    <a:cubicBezTo>
                      <a:pt x="260350" y="1443038"/>
                      <a:pt x="260350" y="1443038"/>
                      <a:pt x="774700" y="1443038"/>
                    </a:cubicBezTo>
                    <a:cubicBezTo>
                      <a:pt x="774700" y="1443038"/>
                      <a:pt x="774700" y="1443038"/>
                      <a:pt x="774700" y="806450"/>
                    </a:cubicBezTo>
                    <a:cubicBezTo>
                      <a:pt x="774700" y="806450"/>
                      <a:pt x="774700" y="806450"/>
                      <a:pt x="260350" y="806450"/>
                    </a:cubicBezTo>
                    <a:close/>
                    <a:moveTo>
                      <a:pt x="244334" y="774700"/>
                    </a:moveTo>
                    <a:cubicBezTo>
                      <a:pt x="244334" y="774700"/>
                      <a:pt x="244334" y="774700"/>
                      <a:pt x="790717" y="774700"/>
                    </a:cubicBezTo>
                    <a:cubicBezTo>
                      <a:pt x="799299" y="774700"/>
                      <a:pt x="806450" y="781837"/>
                      <a:pt x="806450" y="790400"/>
                    </a:cubicBezTo>
                    <a:cubicBezTo>
                      <a:pt x="806450" y="790400"/>
                      <a:pt x="806450" y="790400"/>
                      <a:pt x="806450" y="1459088"/>
                    </a:cubicBezTo>
                    <a:cubicBezTo>
                      <a:pt x="806450" y="1467652"/>
                      <a:pt x="799299" y="1474788"/>
                      <a:pt x="790717" y="1474788"/>
                    </a:cubicBezTo>
                    <a:cubicBezTo>
                      <a:pt x="790717" y="1474788"/>
                      <a:pt x="790717" y="1474788"/>
                      <a:pt x="244334" y="1474788"/>
                    </a:cubicBezTo>
                    <a:cubicBezTo>
                      <a:pt x="235752" y="1474788"/>
                      <a:pt x="228600" y="1467652"/>
                      <a:pt x="228600" y="1459088"/>
                    </a:cubicBezTo>
                    <a:cubicBezTo>
                      <a:pt x="228600" y="1459088"/>
                      <a:pt x="228600" y="1459088"/>
                      <a:pt x="228600" y="790400"/>
                    </a:cubicBezTo>
                    <a:cubicBezTo>
                      <a:pt x="228600" y="781837"/>
                      <a:pt x="235752" y="774700"/>
                      <a:pt x="244334" y="774700"/>
                    </a:cubicBezTo>
                    <a:close/>
                    <a:moveTo>
                      <a:pt x="517604" y="301625"/>
                    </a:moveTo>
                    <a:cubicBezTo>
                      <a:pt x="517604" y="301625"/>
                      <a:pt x="517604" y="301625"/>
                      <a:pt x="518319" y="301625"/>
                    </a:cubicBezTo>
                    <a:cubicBezTo>
                      <a:pt x="526897" y="301625"/>
                      <a:pt x="534045" y="305917"/>
                      <a:pt x="538334" y="312354"/>
                    </a:cubicBezTo>
                    <a:cubicBezTo>
                      <a:pt x="638408" y="410347"/>
                      <a:pt x="638408" y="410347"/>
                      <a:pt x="638408" y="410347"/>
                    </a:cubicBezTo>
                    <a:cubicBezTo>
                      <a:pt x="647701" y="420361"/>
                      <a:pt x="647701" y="435381"/>
                      <a:pt x="638408" y="444680"/>
                    </a:cubicBezTo>
                    <a:cubicBezTo>
                      <a:pt x="629116" y="454694"/>
                      <a:pt x="613390" y="454694"/>
                      <a:pt x="604097" y="445395"/>
                    </a:cubicBezTo>
                    <a:cubicBezTo>
                      <a:pt x="542623" y="384597"/>
                      <a:pt x="542623" y="384597"/>
                      <a:pt x="542623" y="384597"/>
                    </a:cubicBezTo>
                    <a:cubicBezTo>
                      <a:pt x="542623" y="742950"/>
                      <a:pt x="542623" y="742950"/>
                      <a:pt x="542623" y="742950"/>
                    </a:cubicBezTo>
                    <a:cubicBezTo>
                      <a:pt x="494016" y="742950"/>
                      <a:pt x="494016" y="742950"/>
                      <a:pt x="494016" y="742950"/>
                    </a:cubicBezTo>
                    <a:cubicBezTo>
                      <a:pt x="494016" y="384597"/>
                      <a:pt x="494016" y="384597"/>
                      <a:pt x="494016" y="384597"/>
                    </a:cubicBezTo>
                    <a:cubicBezTo>
                      <a:pt x="433256" y="446111"/>
                      <a:pt x="433256" y="446111"/>
                      <a:pt x="433256" y="446111"/>
                    </a:cubicBezTo>
                    <a:cubicBezTo>
                      <a:pt x="428253" y="451117"/>
                      <a:pt x="422534" y="453263"/>
                      <a:pt x="416101" y="453263"/>
                    </a:cubicBezTo>
                    <a:cubicBezTo>
                      <a:pt x="409667" y="453263"/>
                      <a:pt x="403234" y="451117"/>
                      <a:pt x="398945" y="446826"/>
                    </a:cubicBezTo>
                    <a:cubicBezTo>
                      <a:pt x="388938" y="437527"/>
                      <a:pt x="388938" y="421791"/>
                      <a:pt x="398945" y="412493"/>
                    </a:cubicBezTo>
                    <a:cubicBezTo>
                      <a:pt x="500449" y="308778"/>
                      <a:pt x="500449" y="308778"/>
                      <a:pt x="500449" y="308778"/>
                    </a:cubicBezTo>
                    <a:cubicBezTo>
                      <a:pt x="504738" y="304486"/>
                      <a:pt x="511171" y="301625"/>
                      <a:pt x="517604" y="301625"/>
                    </a:cubicBezTo>
                    <a:close/>
                    <a:moveTo>
                      <a:pt x="411129" y="57150"/>
                    </a:moveTo>
                    <a:cubicBezTo>
                      <a:pt x="486212" y="57150"/>
                      <a:pt x="549139" y="106390"/>
                      <a:pt x="569877" y="173471"/>
                    </a:cubicBezTo>
                    <a:cubicBezTo>
                      <a:pt x="580603" y="168476"/>
                      <a:pt x="592044" y="164908"/>
                      <a:pt x="604915" y="164908"/>
                    </a:cubicBezTo>
                    <a:cubicBezTo>
                      <a:pt x="648535" y="164908"/>
                      <a:pt x="683574" y="198448"/>
                      <a:pt x="687149" y="239838"/>
                    </a:cubicBezTo>
                    <a:cubicBezTo>
                      <a:pt x="701451" y="233416"/>
                      <a:pt x="717898" y="229134"/>
                      <a:pt x="734344" y="229134"/>
                    </a:cubicBezTo>
                    <a:cubicBezTo>
                      <a:pt x="777964" y="229134"/>
                      <a:pt x="815148" y="254111"/>
                      <a:pt x="833025" y="289792"/>
                    </a:cubicBezTo>
                    <a:cubicBezTo>
                      <a:pt x="888087" y="300497"/>
                      <a:pt x="930276" y="347596"/>
                      <a:pt x="930276" y="405400"/>
                    </a:cubicBezTo>
                    <a:cubicBezTo>
                      <a:pt x="930276" y="470340"/>
                      <a:pt x="876645" y="523148"/>
                      <a:pt x="810143" y="523148"/>
                    </a:cubicBezTo>
                    <a:cubicBezTo>
                      <a:pt x="805852" y="523148"/>
                      <a:pt x="797986" y="523148"/>
                      <a:pt x="787975" y="523148"/>
                    </a:cubicBezTo>
                    <a:cubicBezTo>
                      <a:pt x="767953" y="540989"/>
                      <a:pt x="741495" y="552407"/>
                      <a:pt x="712892" y="552407"/>
                    </a:cubicBezTo>
                    <a:cubicBezTo>
                      <a:pt x="689295" y="552407"/>
                      <a:pt x="668557" y="545271"/>
                      <a:pt x="650680" y="533853"/>
                    </a:cubicBezTo>
                    <a:cubicBezTo>
                      <a:pt x="630658" y="552407"/>
                      <a:pt x="604200" y="564539"/>
                      <a:pt x="574882" y="566680"/>
                    </a:cubicBezTo>
                    <a:cubicBezTo>
                      <a:pt x="574882" y="460349"/>
                      <a:pt x="574882" y="460349"/>
                      <a:pt x="574882" y="460349"/>
                    </a:cubicBezTo>
                    <a:cubicBezTo>
                      <a:pt x="582748" y="467485"/>
                      <a:pt x="582748" y="467485"/>
                      <a:pt x="582748" y="467485"/>
                    </a:cubicBezTo>
                    <a:cubicBezTo>
                      <a:pt x="593474" y="478190"/>
                      <a:pt x="607061" y="483899"/>
                      <a:pt x="622077" y="483899"/>
                    </a:cubicBezTo>
                    <a:cubicBezTo>
                      <a:pt x="637094" y="483899"/>
                      <a:pt x="650680" y="477476"/>
                      <a:pt x="661406" y="466772"/>
                    </a:cubicBezTo>
                    <a:cubicBezTo>
                      <a:pt x="682859" y="445363"/>
                      <a:pt x="682859" y="409682"/>
                      <a:pt x="660691" y="388273"/>
                    </a:cubicBezTo>
                    <a:cubicBezTo>
                      <a:pt x="563441" y="292647"/>
                      <a:pt x="563441" y="292647"/>
                      <a:pt x="563441" y="292647"/>
                    </a:cubicBezTo>
                    <a:cubicBezTo>
                      <a:pt x="552715" y="279088"/>
                      <a:pt x="536268" y="271238"/>
                      <a:pt x="519106" y="271238"/>
                    </a:cubicBezTo>
                    <a:cubicBezTo>
                      <a:pt x="518391" y="271238"/>
                      <a:pt x="518391" y="271238"/>
                      <a:pt x="518391" y="271238"/>
                    </a:cubicBezTo>
                    <a:cubicBezTo>
                      <a:pt x="503374" y="271238"/>
                      <a:pt x="489073" y="276947"/>
                      <a:pt x="479062" y="287651"/>
                    </a:cubicBezTo>
                    <a:cubicBezTo>
                      <a:pt x="376805" y="390414"/>
                      <a:pt x="376805" y="390414"/>
                      <a:pt x="376805" y="390414"/>
                    </a:cubicBezTo>
                    <a:cubicBezTo>
                      <a:pt x="366794" y="401118"/>
                      <a:pt x="361074" y="414677"/>
                      <a:pt x="361074" y="429663"/>
                    </a:cubicBezTo>
                    <a:cubicBezTo>
                      <a:pt x="361074" y="444649"/>
                      <a:pt x="366794" y="458208"/>
                      <a:pt x="377521" y="468913"/>
                    </a:cubicBezTo>
                    <a:cubicBezTo>
                      <a:pt x="388247" y="479617"/>
                      <a:pt x="401833" y="484613"/>
                      <a:pt x="416850" y="484613"/>
                    </a:cubicBezTo>
                    <a:cubicBezTo>
                      <a:pt x="431866" y="484613"/>
                      <a:pt x="445453" y="478904"/>
                      <a:pt x="456179" y="468199"/>
                    </a:cubicBezTo>
                    <a:cubicBezTo>
                      <a:pt x="463330" y="461063"/>
                      <a:pt x="463330" y="461063"/>
                      <a:pt x="463330" y="461063"/>
                    </a:cubicBezTo>
                    <a:cubicBezTo>
                      <a:pt x="463330" y="546698"/>
                      <a:pt x="463330" y="546698"/>
                      <a:pt x="463330" y="546698"/>
                    </a:cubicBezTo>
                    <a:cubicBezTo>
                      <a:pt x="435442" y="571675"/>
                      <a:pt x="397543" y="587375"/>
                      <a:pt x="356783" y="587375"/>
                    </a:cubicBezTo>
                    <a:cubicBezTo>
                      <a:pt x="301007" y="587375"/>
                      <a:pt x="252382" y="559543"/>
                      <a:pt x="223779" y="516726"/>
                    </a:cubicBezTo>
                    <a:cubicBezTo>
                      <a:pt x="164427" y="498171"/>
                      <a:pt x="122238" y="443936"/>
                      <a:pt x="122238" y="378996"/>
                    </a:cubicBezTo>
                    <a:cubicBezTo>
                      <a:pt x="122238" y="306919"/>
                      <a:pt x="175869" y="246975"/>
                      <a:pt x="245946" y="237698"/>
                    </a:cubicBezTo>
                    <a:cubicBezTo>
                      <a:pt x="245946" y="231275"/>
                      <a:pt x="245231" y="226280"/>
                      <a:pt x="245231" y="220570"/>
                    </a:cubicBezTo>
                    <a:cubicBezTo>
                      <a:pt x="245231" y="130653"/>
                      <a:pt x="319599" y="57150"/>
                      <a:pt x="411129" y="57150"/>
                    </a:cubicBezTo>
                    <a:close/>
                    <a:moveTo>
                      <a:pt x="409496" y="0"/>
                    </a:moveTo>
                    <a:cubicBezTo>
                      <a:pt x="458107" y="0"/>
                      <a:pt x="504573" y="14972"/>
                      <a:pt x="543176" y="44204"/>
                    </a:cubicBezTo>
                    <a:cubicBezTo>
                      <a:pt x="566767" y="61315"/>
                      <a:pt x="586068" y="83417"/>
                      <a:pt x="601081" y="108371"/>
                    </a:cubicBezTo>
                    <a:cubicBezTo>
                      <a:pt x="601795" y="108371"/>
                      <a:pt x="602510" y="108371"/>
                      <a:pt x="603225" y="108371"/>
                    </a:cubicBezTo>
                    <a:cubicBezTo>
                      <a:pt x="631820" y="108371"/>
                      <a:pt x="658985" y="116214"/>
                      <a:pt x="681861" y="132612"/>
                    </a:cubicBezTo>
                    <a:cubicBezTo>
                      <a:pt x="697588" y="143307"/>
                      <a:pt x="711170" y="156853"/>
                      <a:pt x="721178" y="172539"/>
                    </a:cubicBezTo>
                    <a:cubicBezTo>
                      <a:pt x="724753" y="172539"/>
                      <a:pt x="729042" y="171826"/>
                      <a:pt x="732616" y="171826"/>
                    </a:cubicBezTo>
                    <a:cubicBezTo>
                      <a:pt x="787661" y="171826"/>
                      <a:pt x="836987" y="197493"/>
                      <a:pt x="868442" y="240984"/>
                    </a:cubicBezTo>
                    <a:cubicBezTo>
                      <a:pt x="937784" y="265225"/>
                      <a:pt x="984250" y="331531"/>
                      <a:pt x="984250" y="405680"/>
                    </a:cubicBezTo>
                    <a:cubicBezTo>
                      <a:pt x="984250" y="501931"/>
                      <a:pt x="906330" y="580358"/>
                      <a:pt x="808392" y="580358"/>
                    </a:cubicBezTo>
                    <a:cubicBezTo>
                      <a:pt x="808392" y="580358"/>
                      <a:pt x="808392" y="580358"/>
                      <a:pt x="806248" y="580358"/>
                    </a:cubicBezTo>
                    <a:cubicBezTo>
                      <a:pt x="777653" y="598895"/>
                      <a:pt x="744769" y="609589"/>
                      <a:pt x="711170" y="609589"/>
                    </a:cubicBezTo>
                    <a:cubicBezTo>
                      <a:pt x="691154" y="609589"/>
                      <a:pt x="672567" y="606024"/>
                      <a:pt x="654696" y="599608"/>
                    </a:cubicBezTo>
                    <a:cubicBezTo>
                      <a:pt x="629675" y="614580"/>
                      <a:pt x="601795" y="622423"/>
                      <a:pt x="573201" y="623849"/>
                    </a:cubicBezTo>
                    <a:cubicBezTo>
                      <a:pt x="573201" y="623849"/>
                      <a:pt x="573201" y="623849"/>
                      <a:pt x="573201" y="592478"/>
                    </a:cubicBezTo>
                    <a:cubicBezTo>
                      <a:pt x="601795" y="591052"/>
                      <a:pt x="628246" y="581071"/>
                      <a:pt x="651121" y="564672"/>
                    </a:cubicBezTo>
                    <a:cubicBezTo>
                      <a:pt x="669708" y="573228"/>
                      <a:pt x="690439" y="578219"/>
                      <a:pt x="711170" y="578219"/>
                    </a:cubicBezTo>
                    <a:cubicBezTo>
                      <a:pt x="741910" y="578219"/>
                      <a:pt x="771219" y="567524"/>
                      <a:pt x="795525" y="548987"/>
                    </a:cubicBezTo>
                    <a:cubicBezTo>
                      <a:pt x="795525" y="548987"/>
                      <a:pt x="795525" y="548987"/>
                      <a:pt x="808392" y="548987"/>
                    </a:cubicBezTo>
                    <a:cubicBezTo>
                      <a:pt x="888458" y="548987"/>
                      <a:pt x="953511" y="484820"/>
                      <a:pt x="953511" y="405680"/>
                    </a:cubicBezTo>
                    <a:cubicBezTo>
                      <a:pt x="953511" y="340800"/>
                      <a:pt x="909904" y="284475"/>
                      <a:pt x="848425" y="267364"/>
                    </a:cubicBezTo>
                    <a:cubicBezTo>
                      <a:pt x="824119" y="227437"/>
                      <a:pt x="780512" y="203196"/>
                      <a:pt x="732616" y="203196"/>
                    </a:cubicBezTo>
                    <a:cubicBezTo>
                      <a:pt x="723323" y="203196"/>
                      <a:pt x="713315" y="204622"/>
                      <a:pt x="703307" y="206761"/>
                    </a:cubicBezTo>
                    <a:cubicBezTo>
                      <a:pt x="687580" y="167548"/>
                      <a:pt x="648262" y="139742"/>
                      <a:pt x="603225" y="139742"/>
                    </a:cubicBezTo>
                    <a:cubicBezTo>
                      <a:pt x="596791" y="139742"/>
                      <a:pt x="590358" y="139742"/>
                      <a:pt x="583209" y="141168"/>
                    </a:cubicBezTo>
                    <a:cubicBezTo>
                      <a:pt x="570341" y="113362"/>
                      <a:pt x="549610" y="88408"/>
                      <a:pt x="524590" y="69158"/>
                    </a:cubicBezTo>
                    <a:cubicBezTo>
                      <a:pt x="490991" y="44204"/>
                      <a:pt x="450958" y="31371"/>
                      <a:pt x="409496" y="31371"/>
                    </a:cubicBezTo>
                    <a:cubicBezTo>
                      <a:pt x="305125" y="31371"/>
                      <a:pt x="220056" y="114075"/>
                      <a:pt x="218626" y="216743"/>
                    </a:cubicBezTo>
                    <a:cubicBezTo>
                      <a:pt x="186457" y="225298"/>
                      <a:pt x="159292" y="243123"/>
                      <a:pt x="137131" y="268077"/>
                    </a:cubicBezTo>
                    <a:cubicBezTo>
                      <a:pt x="109966" y="298734"/>
                      <a:pt x="94954" y="337948"/>
                      <a:pt x="94954" y="379300"/>
                    </a:cubicBezTo>
                    <a:cubicBezTo>
                      <a:pt x="94954" y="451310"/>
                      <a:pt x="139991" y="514051"/>
                      <a:pt x="206473" y="538292"/>
                    </a:cubicBezTo>
                    <a:cubicBezTo>
                      <a:pt x="240787" y="585348"/>
                      <a:pt x="295832" y="613154"/>
                      <a:pt x="355166" y="613154"/>
                    </a:cubicBezTo>
                    <a:cubicBezTo>
                      <a:pt x="393769" y="613154"/>
                      <a:pt x="430942" y="601034"/>
                      <a:pt x="461681" y="578932"/>
                    </a:cubicBezTo>
                    <a:cubicBezTo>
                      <a:pt x="461681" y="578932"/>
                      <a:pt x="461681" y="578932"/>
                      <a:pt x="461681" y="616006"/>
                    </a:cubicBezTo>
                    <a:cubicBezTo>
                      <a:pt x="429512" y="634543"/>
                      <a:pt x="393054" y="644525"/>
                      <a:pt x="355166" y="644525"/>
                    </a:cubicBezTo>
                    <a:cubicBezTo>
                      <a:pt x="290113" y="644525"/>
                      <a:pt x="227919" y="614580"/>
                      <a:pt x="186457" y="564672"/>
                    </a:cubicBezTo>
                    <a:cubicBezTo>
                      <a:pt x="152143" y="549700"/>
                      <a:pt x="122119" y="525459"/>
                      <a:pt x="99958" y="494801"/>
                    </a:cubicBezTo>
                    <a:cubicBezTo>
                      <a:pt x="76367" y="460579"/>
                      <a:pt x="63500" y="420652"/>
                      <a:pt x="63500" y="379300"/>
                    </a:cubicBezTo>
                    <a:cubicBezTo>
                      <a:pt x="63500" y="330818"/>
                      <a:pt x="81371" y="283762"/>
                      <a:pt x="113541" y="247401"/>
                    </a:cubicBezTo>
                    <a:cubicBezTo>
                      <a:pt x="134272" y="223872"/>
                      <a:pt x="160007" y="205335"/>
                      <a:pt x="188602" y="193928"/>
                    </a:cubicBezTo>
                    <a:cubicBezTo>
                      <a:pt x="194321" y="144020"/>
                      <a:pt x="217196" y="98390"/>
                      <a:pt x="253655" y="62741"/>
                    </a:cubicBezTo>
                    <a:cubicBezTo>
                      <a:pt x="295117" y="22102"/>
                      <a:pt x="350877" y="0"/>
                      <a:pt x="409496" y="0"/>
                    </a:cubicBezTo>
                    <a:close/>
                  </a:path>
                </a:pathLst>
              </a:custGeom>
              <a:solidFill>
                <a:srgbClr val="FFFFFF"/>
              </a:solidFill>
              <a:ln>
                <a:noFill/>
              </a:ln>
            </p:spPr>
            <p:txBody>
              <a:bodyPr vert="horz" wrap="square" lIns="82296" tIns="41148" rIns="82296" bIns="41148" numCol="1" anchor="t" anchorCtr="0" compatLnSpc="1">
                <a:prstTxWarp prst="textNoShape">
                  <a:avLst/>
                </a:prstTxWarp>
                <a:noAutofit/>
              </a:bodyPr>
              <a:lstStyle/>
              <a:p>
                <a:endParaRPr lang="en-US" sz="600" dirty="0">
                  <a:solidFill>
                    <a:srgbClr val="575757"/>
                  </a:solidFill>
                </a:endParaRPr>
              </a:p>
            </p:txBody>
          </p:sp>
        </p:grpSp>
        <p:grpSp>
          <p:nvGrpSpPr>
            <p:cNvPr id="55" name="Group 54">
              <a:extLst>
                <a:ext uri="{FF2B5EF4-FFF2-40B4-BE49-F238E27FC236}">
                  <a16:creationId xmlns:a16="http://schemas.microsoft.com/office/drawing/2014/main" id="{4C5AD065-08E8-594B-841E-E996E1EDB768}"/>
                </a:ext>
              </a:extLst>
            </p:cNvPr>
            <p:cNvGrpSpPr>
              <a:grpSpLocks noChangeAspect="1"/>
            </p:cNvGrpSpPr>
            <p:nvPr/>
          </p:nvGrpSpPr>
          <p:grpSpPr>
            <a:xfrm>
              <a:off x="10884889" y="5168550"/>
              <a:ext cx="319407" cy="319099"/>
              <a:chOff x="5273675" y="2606675"/>
              <a:chExt cx="1646238" cy="1644650"/>
            </a:xfrm>
          </p:grpSpPr>
          <p:sp>
            <p:nvSpPr>
              <p:cNvPr id="56" name="AutoShape 3">
                <a:extLst>
                  <a:ext uri="{FF2B5EF4-FFF2-40B4-BE49-F238E27FC236}">
                    <a16:creationId xmlns:a16="http://schemas.microsoft.com/office/drawing/2014/main" id="{76DC16EA-5140-F344-A150-62E0A248152D}"/>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526" tIns="45263" rIns="90526" bIns="45263" numCol="1" anchor="t" anchorCtr="0" compatLnSpc="1">
                <a:prstTxWarp prst="textNoShape">
                  <a:avLst/>
                </a:prstTxWarp>
              </a:bodyPr>
              <a:lstStyle/>
              <a:p>
                <a:endParaRPr lang="en-US" sz="600" dirty="0">
                  <a:solidFill>
                    <a:srgbClr val="575757"/>
                  </a:solidFill>
                </a:endParaRPr>
              </a:p>
            </p:txBody>
          </p:sp>
          <p:sp>
            <p:nvSpPr>
              <p:cNvPr id="57" name="Freeform 16">
                <a:extLst>
                  <a:ext uri="{FF2B5EF4-FFF2-40B4-BE49-F238E27FC236}">
                    <a16:creationId xmlns:a16="http://schemas.microsoft.com/office/drawing/2014/main" id="{4D017E6F-32A6-8A41-A4DB-D093B993C034}"/>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90526" tIns="45263" rIns="90526" bIns="45263" numCol="1" anchor="t" anchorCtr="0" compatLnSpc="1">
                <a:prstTxWarp prst="textNoShape">
                  <a:avLst/>
                </a:prstTxWarp>
                <a:noAutofit/>
              </a:bodyPr>
              <a:lstStyle/>
              <a:p>
                <a:endParaRPr lang="en-US" sz="600" dirty="0">
                  <a:solidFill>
                    <a:srgbClr val="575757"/>
                  </a:solidFill>
                </a:endParaRPr>
              </a:p>
            </p:txBody>
          </p:sp>
        </p:grpSp>
        <p:sp>
          <p:nvSpPr>
            <p:cNvPr id="58" name="Oval 20">
              <a:extLst>
                <a:ext uri="{FF2B5EF4-FFF2-40B4-BE49-F238E27FC236}">
                  <a16:creationId xmlns:a16="http://schemas.microsoft.com/office/drawing/2014/main" id="{C5A4C18B-1C4B-C141-AA86-DF729A46E287}"/>
                </a:ext>
              </a:extLst>
            </p:cNvPr>
            <p:cNvSpPr>
              <a:spLocks noChangeAspect="1" noChangeArrowheads="1"/>
            </p:cNvSpPr>
            <p:nvPr/>
          </p:nvSpPr>
          <p:spPr bwMode="auto">
            <a:xfrm>
              <a:off x="10976655" y="5024062"/>
              <a:ext cx="135876" cy="135876"/>
            </a:xfrm>
            <a:prstGeom prst="ellipse">
              <a:avLst/>
            </a:prstGeom>
            <a:solidFill>
              <a:srgbClr val="000F69"/>
            </a:solidFill>
            <a:ln w="1714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450" b="1" i="0" u="none" strike="noStrike" kern="0" cap="none" spc="0" normalizeH="0" baseline="0" noProof="0" dirty="0">
                  <a:ln>
                    <a:noFill/>
                  </a:ln>
                  <a:solidFill>
                    <a:prstClr val="white"/>
                  </a:solidFill>
                  <a:effectLst/>
                  <a:uLnTx/>
                  <a:uFillTx/>
                </a:rPr>
                <a:t>6</a:t>
              </a:r>
            </a:p>
          </p:txBody>
        </p:sp>
        <p:sp>
          <p:nvSpPr>
            <p:cNvPr id="59" name="Oval 20">
              <a:extLst>
                <a:ext uri="{FF2B5EF4-FFF2-40B4-BE49-F238E27FC236}">
                  <a16:creationId xmlns:a16="http://schemas.microsoft.com/office/drawing/2014/main" id="{FDAF0C14-6252-2642-98DD-358645603342}"/>
                </a:ext>
              </a:extLst>
            </p:cNvPr>
            <p:cNvSpPr>
              <a:spLocks noChangeAspect="1" noChangeArrowheads="1"/>
            </p:cNvSpPr>
            <p:nvPr/>
          </p:nvSpPr>
          <p:spPr bwMode="auto">
            <a:xfrm>
              <a:off x="8038256" y="6263091"/>
              <a:ext cx="135876" cy="135876"/>
            </a:xfrm>
            <a:prstGeom prst="ellipse">
              <a:avLst/>
            </a:prstGeom>
            <a:solidFill>
              <a:srgbClr val="0073CD"/>
            </a:solidFill>
            <a:ln w="1714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540" b="1" dirty="0">
                  <a:solidFill>
                    <a:prstClr val="white"/>
                  </a:solidFill>
                </a:rPr>
                <a:t>4</a:t>
              </a:r>
            </a:p>
          </p:txBody>
        </p:sp>
        <p:sp>
          <p:nvSpPr>
            <p:cNvPr id="60" name="Oval 20">
              <a:extLst>
                <a:ext uri="{FF2B5EF4-FFF2-40B4-BE49-F238E27FC236}">
                  <a16:creationId xmlns:a16="http://schemas.microsoft.com/office/drawing/2014/main" id="{A0119BD6-8CF7-E74A-BFC9-03D89AB71DF1}"/>
                </a:ext>
              </a:extLst>
            </p:cNvPr>
            <p:cNvSpPr>
              <a:spLocks noChangeAspect="1" noChangeArrowheads="1"/>
            </p:cNvSpPr>
            <p:nvPr/>
          </p:nvSpPr>
          <p:spPr bwMode="auto">
            <a:xfrm>
              <a:off x="8038256" y="5564291"/>
              <a:ext cx="135876" cy="135876"/>
            </a:xfrm>
            <a:prstGeom prst="ellipse">
              <a:avLst/>
            </a:prstGeom>
            <a:solidFill>
              <a:srgbClr val="00AFF0"/>
            </a:solidFill>
            <a:ln w="1714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540" b="1" dirty="0">
                  <a:solidFill>
                    <a:prstClr val="white"/>
                  </a:solidFill>
                </a:rPr>
                <a:t>2</a:t>
              </a:r>
            </a:p>
          </p:txBody>
        </p:sp>
        <p:sp>
          <p:nvSpPr>
            <p:cNvPr id="61" name="Oval 20">
              <a:extLst>
                <a:ext uri="{FF2B5EF4-FFF2-40B4-BE49-F238E27FC236}">
                  <a16:creationId xmlns:a16="http://schemas.microsoft.com/office/drawing/2014/main" id="{1A27AA61-57F1-514C-A724-A2520AED8FFA}"/>
                </a:ext>
              </a:extLst>
            </p:cNvPr>
            <p:cNvSpPr>
              <a:spLocks noChangeAspect="1" noChangeArrowheads="1"/>
            </p:cNvSpPr>
            <p:nvPr/>
          </p:nvSpPr>
          <p:spPr bwMode="auto">
            <a:xfrm>
              <a:off x="8038256" y="5916644"/>
              <a:ext cx="135876" cy="135876"/>
            </a:xfrm>
            <a:prstGeom prst="ellipse">
              <a:avLst/>
            </a:prstGeom>
            <a:solidFill>
              <a:srgbClr val="6B80FF"/>
            </a:solidFill>
            <a:ln w="1714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540" b="1" dirty="0">
                  <a:solidFill>
                    <a:prstClr val="white"/>
                  </a:solidFill>
                </a:rPr>
                <a:t>3</a:t>
              </a:r>
            </a:p>
          </p:txBody>
        </p:sp>
        <p:sp>
          <p:nvSpPr>
            <p:cNvPr id="62" name="Oval 20">
              <a:extLst>
                <a:ext uri="{FF2B5EF4-FFF2-40B4-BE49-F238E27FC236}">
                  <a16:creationId xmlns:a16="http://schemas.microsoft.com/office/drawing/2014/main" id="{8DCD7CB0-962B-CE4A-B2B8-20CE0B18112F}"/>
                </a:ext>
              </a:extLst>
            </p:cNvPr>
            <p:cNvSpPr>
              <a:spLocks noChangeAspect="1" noChangeArrowheads="1"/>
            </p:cNvSpPr>
            <p:nvPr/>
          </p:nvSpPr>
          <p:spPr bwMode="auto">
            <a:xfrm>
              <a:off x="8038256" y="5185089"/>
              <a:ext cx="135876" cy="135876"/>
            </a:xfrm>
            <a:prstGeom prst="ellipse">
              <a:avLst/>
            </a:prstGeom>
            <a:solidFill>
              <a:srgbClr val="C800A1"/>
            </a:solidFill>
            <a:ln w="1714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540" b="1" i="0" u="none" strike="noStrike" kern="0" cap="none" spc="0" normalizeH="0" baseline="0" noProof="0" dirty="0">
                  <a:ln>
                    <a:noFill/>
                  </a:ln>
                  <a:solidFill>
                    <a:prstClr val="white"/>
                  </a:solidFill>
                  <a:effectLst/>
                  <a:uLnTx/>
                  <a:uFillTx/>
                </a:rPr>
                <a:t>1</a:t>
              </a:r>
            </a:p>
          </p:txBody>
        </p:sp>
        <p:sp>
          <p:nvSpPr>
            <p:cNvPr id="63" name="TextBox 62">
              <a:extLst>
                <a:ext uri="{FF2B5EF4-FFF2-40B4-BE49-F238E27FC236}">
                  <a16:creationId xmlns:a16="http://schemas.microsoft.com/office/drawing/2014/main" id="{6B471528-1F61-D649-896B-86641A494455}"/>
                </a:ext>
              </a:extLst>
            </p:cNvPr>
            <p:cNvSpPr txBox="1"/>
            <p:nvPr/>
          </p:nvSpPr>
          <p:spPr>
            <a:xfrm>
              <a:off x="10188132" y="5210645"/>
              <a:ext cx="344288" cy="829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630" dirty="0">
                  <a:solidFill>
                    <a:schemeClr val="bg1"/>
                  </a:solidFill>
                </a:rPr>
                <a:t>GridDesign</a:t>
              </a:r>
            </a:p>
          </p:txBody>
        </p:sp>
        <p:grpSp>
          <p:nvGrpSpPr>
            <p:cNvPr id="64" name="Group 63">
              <a:extLst>
                <a:ext uri="{FF2B5EF4-FFF2-40B4-BE49-F238E27FC236}">
                  <a16:creationId xmlns:a16="http://schemas.microsoft.com/office/drawing/2014/main" id="{10B8E09A-651E-9B44-895F-F715CE1C28A1}"/>
                </a:ext>
              </a:extLst>
            </p:cNvPr>
            <p:cNvGrpSpPr>
              <a:grpSpLocks noChangeAspect="1"/>
            </p:cNvGrpSpPr>
            <p:nvPr/>
          </p:nvGrpSpPr>
          <p:grpSpPr>
            <a:xfrm>
              <a:off x="9895540" y="5192656"/>
              <a:ext cx="390920" cy="144656"/>
              <a:chOff x="1514255" y="2606675"/>
              <a:chExt cx="5405658" cy="2000304"/>
            </a:xfrm>
          </p:grpSpPr>
          <p:sp>
            <p:nvSpPr>
              <p:cNvPr id="65" name="AutoShape 3">
                <a:extLst>
                  <a:ext uri="{FF2B5EF4-FFF2-40B4-BE49-F238E27FC236}">
                    <a16:creationId xmlns:a16="http://schemas.microsoft.com/office/drawing/2014/main" id="{A52FE796-2645-7345-9C3B-E8E22E2B2D0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sz="600" dirty="0"/>
              </a:p>
            </p:txBody>
          </p:sp>
          <p:grpSp>
            <p:nvGrpSpPr>
              <p:cNvPr id="66" name="Group 65">
                <a:extLst>
                  <a:ext uri="{FF2B5EF4-FFF2-40B4-BE49-F238E27FC236}">
                    <a16:creationId xmlns:a16="http://schemas.microsoft.com/office/drawing/2014/main" id="{58D2A057-635B-C046-ADFC-4F7825D02648}"/>
                  </a:ext>
                </a:extLst>
              </p:cNvPr>
              <p:cNvGrpSpPr/>
              <p:nvPr/>
            </p:nvGrpSpPr>
            <p:grpSpPr>
              <a:xfrm>
                <a:off x="1514255" y="2608245"/>
                <a:ext cx="5189758" cy="1998734"/>
                <a:chOff x="1514255" y="2608245"/>
                <a:chExt cx="5189758" cy="1998734"/>
              </a:xfrm>
            </p:grpSpPr>
            <p:sp>
              <p:nvSpPr>
                <p:cNvPr id="67" name="Freeform 16">
                  <a:extLst>
                    <a:ext uri="{FF2B5EF4-FFF2-40B4-BE49-F238E27FC236}">
                      <a16:creationId xmlns:a16="http://schemas.microsoft.com/office/drawing/2014/main" id="{71894DFD-68B4-5E42-BF84-A783F6B6FB0A}"/>
                    </a:ext>
                  </a:extLst>
                </p:cNvPr>
                <p:cNvSpPr>
                  <a:spLocks/>
                </p:cNvSpPr>
                <p:nvPr/>
              </p:nvSpPr>
              <p:spPr bwMode="auto">
                <a:xfrm>
                  <a:off x="6200775" y="3081338"/>
                  <a:ext cx="503238" cy="611188"/>
                </a:xfrm>
                <a:custGeom>
                  <a:avLst/>
                  <a:gdLst>
                    <a:gd name="T0" fmla="*/ 11 w 704"/>
                    <a:gd name="T1" fmla="*/ 799 h 858"/>
                    <a:gd name="T2" fmla="*/ 78 w 704"/>
                    <a:gd name="T3" fmla="*/ 851 h 858"/>
                    <a:gd name="T4" fmla="*/ 109 w 704"/>
                    <a:gd name="T5" fmla="*/ 847 h 858"/>
                    <a:gd name="T6" fmla="*/ 704 w 704"/>
                    <a:gd name="T7" fmla="*/ 78 h 858"/>
                    <a:gd name="T8" fmla="*/ 602 w 704"/>
                    <a:gd name="T9" fmla="*/ 0 h 858"/>
                    <a:gd name="T10" fmla="*/ 8 w 704"/>
                    <a:gd name="T11" fmla="*/ 769 h 858"/>
                    <a:gd name="T12" fmla="*/ 11 w 704"/>
                    <a:gd name="T13" fmla="*/ 799 h 858"/>
                  </a:gdLst>
                  <a:ahLst/>
                  <a:cxnLst>
                    <a:cxn ang="0">
                      <a:pos x="T0" y="T1"/>
                    </a:cxn>
                    <a:cxn ang="0">
                      <a:pos x="T2" y="T3"/>
                    </a:cxn>
                    <a:cxn ang="0">
                      <a:pos x="T4" y="T5"/>
                    </a:cxn>
                    <a:cxn ang="0">
                      <a:pos x="T6" y="T7"/>
                    </a:cxn>
                    <a:cxn ang="0">
                      <a:pos x="T8" y="T9"/>
                    </a:cxn>
                    <a:cxn ang="0">
                      <a:pos x="T10" y="T11"/>
                    </a:cxn>
                    <a:cxn ang="0">
                      <a:pos x="T12" y="T13"/>
                    </a:cxn>
                  </a:cxnLst>
                  <a:rect l="0" t="0" r="r" b="b"/>
                  <a:pathLst>
                    <a:path w="704" h="858">
                      <a:moveTo>
                        <a:pt x="11" y="799"/>
                      </a:moveTo>
                      <a:cubicBezTo>
                        <a:pt x="78" y="851"/>
                        <a:pt x="78" y="851"/>
                        <a:pt x="78" y="851"/>
                      </a:cubicBezTo>
                      <a:cubicBezTo>
                        <a:pt x="88" y="858"/>
                        <a:pt x="101" y="856"/>
                        <a:pt x="109" y="847"/>
                      </a:cubicBezTo>
                      <a:cubicBezTo>
                        <a:pt x="704" y="78"/>
                        <a:pt x="704" y="78"/>
                        <a:pt x="704" y="78"/>
                      </a:cubicBezTo>
                      <a:cubicBezTo>
                        <a:pt x="602" y="0"/>
                        <a:pt x="602" y="0"/>
                        <a:pt x="602" y="0"/>
                      </a:cubicBezTo>
                      <a:cubicBezTo>
                        <a:pt x="8" y="769"/>
                        <a:pt x="8" y="769"/>
                        <a:pt x="8" y="769"/>
                      </a:cubicBezTo>
                      <a:cubicBezTo>
                        <a:pt x="0" y="778"/>
                        <a:pt x="2" y="792"/>
                        <a:pt x="11" y="799"/>
                      </a:cubicBezTo>
                      <a:close/>
                    </a:path>
                  </a:pathLst>
                </a:custGeom>
                <a:solidFill>
                  <a:schemeClr val="tx2"/>
                </a:solidFill>
                <a:ln>
                  <a:noFill/>
                </a:ln>
              </p:spPr>
              <p:txBody>
                <a:bodyPr vert="horz" wrap="square" lIns="82296" tIns="41148" rIns="82296" bIns="41148" numCol="1" anchor="t" anchorCtr="0" compatLnSpc="1">
                  <a:prstTxWarp prst="textNoShape">
                    <a:avLst/>
                  </a:prstTxWarp>
                </a:bodyPr>
                <a:lstStyle/>
                <a:p>
                  <a:endParaRPr lang="en-US" sz="600" dirty="0"/>
                </a:p>
              </p:txBody>
            </p:sp>
            <p:sp>
              <p:nvSpPr>
                <p:cNvPr id="68" name="Freeform 17">
                  <a:extLst>
                    <a:ext uri="{FF2B5EF4-FFF2-40B4-BE49-F238E27FC236}">
                      <a16:creationId xmlns:a16="http://schemas.microsoft.com/office/drawing/2014/main" id="{D227A3D8-6B16-814E-851B-15CDB37201A6}"/>
                    </a:ext>
                  </a:extLst>
                </p:cNvPr>
                <p:cNvSpPr>
                  <a:spLocks/>
                </p:cNvSpPr>
                <p:nvPr/>
              </p:nvSpPr>
              <p:spPr bwMode="auto">
                <a:xfrm>
                  <a:off x="1514255" y="2608245"/>
                  <a:ext cx="3024936" cy="1998734"/>
                </a:xfrm>
                <a:custGeom>
                  <a:avLst/>
                  <a:gdLst>
                    <a:gd name="connsiteX0" fmla="*/ 279072 w 1508202"/>
                    <a:gd name="connsiteY0" fmla="*/ 774296 h 996546"/>
                    <a:gd name="connsiteX1" fmla="*/ 415582 w 1508202"/>
                    <a:gd name="connsiteY1" fmla="*/ 782182 h 996546"/>
                    <a:gd name="connsiteX2" fmla="*/ 592116 w 1508202"/>
                    <a:gd name="connsiteY2" fmla="*/ 829500 h 996546"/>
                    <a:gd name="connsiteX3" fmla="*/ 600692 w 1508202"/>
                    <a:gd name="connsiteY3" fmla="*/ 856027 h 996546"/>
                    <a:gd name="connsiteX4" fmla="*/ 269066 w 1508202"/>
                    <a:gd name="connsiteY4" fmla="*/ 927003 h 996546"/>
                    <a:gd name="connsiteX5" fmla="*/ 108256 w 1508202"/>
                    <a:gd name="connsiteY5" fmla="*/ 941342 h 996546"/>
                    <a:gd name="connsiteX6" fmla="*/ 47505 w 1508202"/>
                    <a:gd name="connsiteY6" fmla="*/ 951379 h 996546"/>
                    <a:gd name="connsiteX7" fmla="*/ 356975 w 1508202"/>
                    <a:gd name="connsiteY7" fmla="*/ 964284 h 996546"/>
                    <a:gd name="connsiteX8" fmla="*/ 656440 w 1508202"/>
                    <a:gd name="connsiteY8" fmla="*/ 957115 h 996546"/>
                    <a:gd name="connsiteX9" fmla="*/ 672878 w 1508202"/>
                    <a:gd name="connsiteY9" fmla="*/ 972170 h 996546"/>
                    <a:gd name="connsiteX10" fmla="*/ 657869 w 1508202"/>
                    <a:gd name="connsiteY10" fmla="*/ 988660 h 996546"/>
                    <a:gd name="connsiteX11" fmla="*/ 343396 w 1508202"/>
                    <a:gd name="connsiteY11" fmla="*/ 995829 h 996546"/>
                    <a:gd name="connsiteX12" fmla="*/ 308375 w 1508202"/>
                    <a:gd name="connsiteY12" fmla="*/ 996546 h 996546"/>
                    <a:gd name="connsiteX13" fmla="*/ 122550 w 1508202"/>
                    <a:gd name="connsiteY13" fmla="*/ 991528 h 996546"/>
                    <a:gd name="connsiteX14" fmla="*/ 1764 w 1508202"/>
                    <a:gd name="connsiteY14" fmla="*/ 959265 h 996546"/>
                    <a:gd name="connsiteX15" fmla="*/ 3193 w 1508202"/>
                    <a:gd name="connsiteY15" fmla="*/ 939908 h 996546"/>
                    <a:gd name="connsiteX16" fmla="*/ 266207 w 1508202"/>
                    <a:gd name="connsiteY16" fmla="*/ 895458 h 996546"/>
                    <a:gd name="connsiteX17" fmla="*/ 468470 w 1508202"/>
                    <a:gd name="connsiteY17" fmla="*/ 876101 h 996546"/>
                    <a:gd name="connsiteX18" fmla="*/ 569245 w 1508202"/>
                    <a:gd name="connsiteY18" fmla="*/ 851725 h 996546"/>
                    <a:gd name="connsiteX19" fmla="*/ 568530 w 1508202"/>
                    <a:gd name="connsiteY19" fmla="*/ 851008 h 996546"/>
                    <a:gd name="connsiteX20" fmla="*/ 412723 w 1508202"/>
                    <a:gd name="connsiteY20" fmla="*/ 813728 h 996546"/>
                    <a:gd name="connsiteX21" fmla="*/ 278357 w 1508202"/>
                    <a:gd name="connsiteY21" fmla="*/ 805841 h 996546"/>
                    <a:gd name="connsiteX22" fmla="*/ 263348 w 1508202"/>
                    <a:gd name="connsiteY22" fmla="*/ 790069 h 996546"/>
                    <a:gd name="connsiteX23" fmla="*/ 279072 w 1508202"/>
                    <a:gd name="connsiteY23" fmla="*/ 774296 h 996546"/>
                    <a:gd name="connsiteX24" fmla="*/ 1245396 w 1508202"/>
                    <a:gd name="connsiteY24" fmla="*/ 136121 h 996546"/>
                    <a:gd name="connsiteX25" fmla="*/ 1270377 w 1508202"/>
                    <a:gd name="connsiteY25" fmla="*/ 155395 h 996546"/>
                    <a:gd name="connsiteX26" fmla="*/ 824300 w 1508202"/>
                    <a:gd name="connsiteY26" fmla="*/ 732893 h 996546"/>
                    <a:gd name="connsiteX27" fmla="*/ 768630 w 1508202"/>
                    <a:gd name="connsiteY27" fmla="*/ 897077 h 996546"/>
                    <a:gd name="connsiteX28" fmla="*/ 787900 w 1508202"/>
                    <a:gd name="connsiteY28" fmla="*/ 912068 h 996546"/>
                    <a:gd name="connsiteX29" fmla="*/ 932072 w 1508202"/>
                    <a:gd name="connsiteY29" fmla="*/ 816413 h 996546"/>
                    <a:gd name="connsiteX30" fmla="*/ 1378863 w 1508202"/>
                    <a:gd name="connsiteY30" fmla="*/ 239628 h 996546"/>
                    <a:gd name="connsiteX31" fmla="*/ 1403843 w 1508202"/>
                    <a:gd name="connsiteY31" fmla="*/ 258902 h 996546"/>
                    <a:gd name="connsiteX32" fmla="*/ 955625 w 1508202"/>
                    <a:gd name="connsiteY32" fmla="*/ 837828 h 996546"/>
                    <a:gd name="connsiteX33" fmla="*/ 952057 w 1508202"/>
                    <a:gd name="connsiteY33" fmla="*/ 841397 h 996546"/>
                    <a:gd name="connsiteX34" fmla="*/ 735799 w 1508202"/>
                    <a:gd name="connsiteY34" fmla="*/ 984880 h 996546"/>
                    <a:gd name="connsiteX35" fmla="*/ 727234 w 1508202"/>
                    <a:gd name="connsiteY35" fmla="*/ 987021 h 996546"/>
                    <a:gd name="connsiteX36" fmla="*/ 717242 w 1508202"/>
                    <a:gd name="connsiteY36" fmla="*/ 984166 h 996546"/>
                    <a:gd name="connsiteX37" fmla="*/ 712246 w 1508202"/>
                    <a:gd name="connsiteY37" fmla="*/ 966320 h 996546"/>
                    <a:gd name="connsiteX38" fmla="*/ 795038 w 1508202"/>
                    <a:gd name="connsiteY38" fmla="*/ 720044 h 996546"/>
                    <a:gd name="connsiteX39" fmla="*/ 797893 w 1508202"/>
                    <a:gd name="connsiteY39" fmla="*/ 715761 h 996546"/>
                    <a:gd name="connsiteX40" fmla="*/ 1245396 w 1508202"/>
                    <a:gd name="connsiteY40" fmla="*/ 136121 h 996546"/>
                    <a:gd name="connsiteX41" fmla="*/ 1356886 w 1508202"/>
                    <a:gd name="connsiteY41" fmla="*/ 150 h 996546"/>
                    <a:gd name="connsiteX42" fmla="*/ 1368818 w 1508202"/>
                    <a:gd name="connsiteY42" fmla="*/ 3005 h 996546"/>
                    <a:gd name="connsiteX43" fmla="*/ 1502311 w 1508202"/>
                    <a:gd name="connsiteY43" fmla="*/ 105804 h 996546"/>
                    <a:gd name="connsiteX44" fmla="*/ 1505181 w 1508202"/>
                    <a:gd name="connsiteY44" fmla="*/ 127934 h 996546"/>
                    <a:gd name="connsiteX45" fmla="*/ 1429105 w 1508202"/>
                    <a:gd name="connsiteY45" fmla="*/ 225021 h 996546"/>
                    <a:gd name="connsiteX46" fmla="*/ 1270492 w 1508202"/>
                    <a:gd name="connsiteY46" fmla="*/ 102948 h 996546"/>
                    <a:gd name="connsiteX47" fmla="*/ 1346569 w 1508202"/>
                    <a:gd name="connsiteY47" fmla="*/ 5861 h 996546"/>
                    <a:gd name="connsiteX48" fmla="*/ 1356886 w 1508202"/>
                    <a:gd name="connsiteY48" fmla="*/ 150 h 99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08202" h="996546">
                      <a:moveTo>
                        <a:pt x="279072" y="774296"/>
                      </a:moveTo>
                      <a:cubicBezTo>
                        <a:pt x="279787" y="774296"/>
                        <a:pt x="345540" y="775730"/>
                        <a:pt x="415582" y="782182"/>
                      </a:cubicBezTo>
                      <a:cubicBezTo>
                        <a:pt x="562098" y="796521"/>
                        <a:pt x="584254" y="821614"/>
                        <a:pt x="592116" y="829500"/>
                      </a:cubicBezTo>
                      <a:cubicBezTo>
                        <a:pt x="600692" y="839537"/>
                        <a:pt x="601407" y="849574"/>
                        <a:pt x="600692" y="856027"/>
                      </a:cubicBezTo>
                      <a:cubicBezTo>
                        <a:pt x="597119" y="896892"/>
                        <a:pt x="501347" y="908363"/>
                        <a:pt x="269066" y="927003"/>
                      </a:cubicBezTo>
                      <a:cubicBezTo>
                        <a:pt x="209030" y="932022"/>
                        <a:pt x="152568" y="936324"/>
                        <a:pt x="108256" y="941342"/>
                      </a:cubicBezTo>
                      <a:cubicBezTo>
                        <a:pt x="78238" y="944927"/>
                        <a:pt x="59655" y="948511"/>
                        <a:pt x="47505" y="951379"/>
                      </a:cubicBezTo>
                      <a:cubicBezTo>
                        <a:pt x="78952" y="957832"/>
                        <a:pt x="156856" y="965718"/>
                        <a:pt x="356975" y="964284"/>
                      </a:cubicBezTo>
                      <a:cubicBezTo>
                        <a:pt x="507780" y="963567"/>
                        <a:pt x="655010" y="957115"/>
                        <a:pt x="656440" y="957115"/>
                      </a:cubicBezTo>
                      <a:cubicBezTo>
                        <a:pt x="665731" y="956398"/>
                        <a:pt x="672878" y="963567"/>
                        <a:pt x="672878" y="972170"/>
                      </a:cubicBezTo>
                      <a:cubicBezTo>
                        <a:pt x="673593" y="980774"/>
                        <a:pt x="666446" y="987943"/>
                        <a:pt x="657869" y="988660"/>
                      </a:cubicBezTo>
                      <a:cubicBezTo>
                        <a:pt x="656440" y="988660"/>
                        <a:pt x="499918" y="995112"/>
                        <a:pt x="343396" y="995829"/>
                      </a:cubicBezTo>
                      <a:cubicBezTo>
                        <a:pt x="331246" y="995829"/>
                        <a:pt x="319810" y="996546"/>
                        <a:pt x="308375" y="996546"/>
                      </a:cubicBezTo>
                      <a:cubicBezTo>
                        <a:pt x="231901" y="996546"/>
                        <a:pt x="169721" y="994395"/>
                        <a:pt x="122550" y="991528"/>
                      </a:cubicBezTo>
                      <a:cubicBezTo>
                        <a:pt x="29637" y="985792"/>
                        <a:pt x="7481" y="975038"/>
                        <a:pt x="1764" y="959265"/>
                      </a:cubicBezTo>
                      <a:cubicBezTo>
                        <a:pt x="-1095" y="952813"/>
                        <a:pt x="-381" y="945644"/>
                        <a:pt x="3193" y="939908"/>
                      </a:cubicBezTo>
                      <a:cubicBezTo>
                        <a:pt x="17487" y="917683"/>
                        <a:pt x="86814" y="909797"/>
                        <a:pt x="266207" y="895458"/>
                      </a:cubicBezTo>
                      <a:cubicBezTo>
                        <a:pt x="336963" y="889723"/>
                        <a:pt x="410579" y="883987"/>
                        <a:pt x="468470" y="876101"/>
                      </a:cubicBezTo>
                      <a:cubicBezTo>
                        <a:pt x="544945" y="866064"/>
                        <a:pt x="564242" y="856027"/>
                        <a:pt x="569245" y="851725"/>
                      </a:cubicBezTo>
                      <a:cubicBezTo>
                        <a:pt x="569245" y="851725"/>
                        <a:pt x="568530" y="851008"/>
                        <a:pt x="568530" y="851008"/>
                      </a:cubicBezTo>
                      <a:cubicBezTo>
                        <a:pt x="562098" y="843122"/>
                        <a:pt x="533509" y="825199"/>
                        <a:pt x="412723" y="813728"/>
                      </a:cubicBezTo>
                      <a:cubicBezTo>
                        <a:pt x="344111" y="807275"/>
                        <a:pt x="279072" y="805841"/>
                        <a:pt x="278357" y="805841"/>
                      </a:cubicBezTo>
                      <a:cubicBezTo>
                        <a:pt x="269781" y="805841"/>
                        <a:pt x="263348" y="798672"/>
                        <a:pt x="263348" y="790069"/>
                      </a:cubicBezTo>
                      <a:cubicBezTo>
                        <a:pt x="263348" y="781465"/>
                        <a:pt x="270495" y="774296"/>
                        <a:pt x="279072" y="774296"/>
                      </a:cubicBezTo>
                      <a:close/>
                      <a:moveTo>
                        <a:pt x="1245396" y="136121"/>
                      </a:moveTo>
                      <a:cubicBezTo>
                        <a:pt x="1245396" y="136121"/>
                        <a:pt x="1245396" y="136121"/>
                        <a:pt x="1270377" y="155395"/>
                      </a:cubicBezTo>
                      <a:cubicBezTo>
                        <a:pt x="1270377" y="155395"/>
                        <a:pt x="1270377" y="155395"/>
                        <a:pt x="824300" y="732893"/>
                      </a:cubicBezTo>
                      <a:cubicBezTo>
                        <a:pt x="824300" y="732893"/>
                        <a:pt x="824300" y="732893"/>
                        <a:pt x="768630" y="897077"/>
                      </a:cubicBezTo>
                      <a:cubicBezTo>
                        <a:pt x="768630" y="897077"/>
                        <a:pt x="768630" y="897077"/>
                        <a:pt x="787900" y="912068"/>
                      </a:cubicBezTo>
                      <a:cubicBezTo>
                        <a:pt x="787900" y="912068"/>
                        <a:pt x="787900" y="912068"/>
                        <a:pt x="932072" y="816413"/>
                      </a:cubicBezTo>
                      <a:lnTo>
                        <a:pt x="1378863" y="239628"/>
                      </a:lnTo>
                      <a:cubicBezTo>
                        <a:pt x="1378863" y="239628"/>
                        <a:pt x="1378863" y="239628"/>
                        <a:pt x="1403843" y="258902"/>
                      </a:cubicBezTo>
                      <a:cubicBezTo>
                        <a:pt x="1403843" y="258902"/>
                        <a:pt x="1403843" y="258902"/>
                        <a:pt x="955625" y="837828"/>
                      </a:cubicBezTo>
                      <a:cubicBezTo>
                        <a:pt x="954198" y="839256"/>
                        <a:pt x="953484" y="839970"/>
                        <a:pt x="952057" y="841397"/>
                      </a:cubicBezTo>
                      <a:cubicBezTo>
                        <a:pt x="952057" y="841397"/>
                        <a:pt x="952057" y="841397"/>
                        <a:pt x="735799" y="984880"/>
                      </a:cubicBezTo>
                      <a:cubicBezTo>
                        <a:pt x="732944" y="986307"/>
                        <a:pt x="730089" y="987021"/>
                        <a:pt x="727234" y="987021"/>
                      </a:cubicBezTo>
                      <a:cubicBezTo>
                        <a:pt x="723665" y="987021"/>
                        <a:pt x="720097" y="986307"/>
                        <a:pt x="717242" y="984166"/>
                      </a:cubicBezTo>
                      <a:cubicBezTo>
                        <a:pt x="712246" y="979883"/>
                        <a:pt x="710105" y="972744"/>
                        <a:pt x="712246" y="966320"/>
                      </a:cubicBezTo>
                      <a:cubicBezTo>
                        <a:pt x="712246" y="966320"/>
                        <a:pt x="712246" y="966320"/>
                        <a:pt x="795038" y="720044"/>
                      </a:cubicBezTo>
                      <a:cubicBezTo>
                        <a:pt x="795751" y="718616"/>
                        <a:pt x="796465" y="717189"/>
                        <a:pt x="797893" y="715761"/>
                      </a:cubicBezTo>
                      <a:cubicBezTo>
                        <a:pt x="797893" y="715761"/>
                        <a:pt x="797893" y="715761"/>
                        <a:pt x="1245396" y="136121"/>
                      </a:cubicBezTo>
                      <a:close/>
                      <a:moveTo>
                        <a:pt x="1356886" y="150"/>
                      </a:moveTo>
                      <a:cubicBezTo>
                        <a:pt x="1360923" y="-386"/>
                        <a:pt x="1365229" y="507"/>
                        <a:pt x="1368818" y="3005"/>
                      </a:cubicBezTo>
                      <a:cubicBezTo>
                        <a:pt x="1368818" y="3005"/>
                        <a:pt x="1368818" y="3005"/>
                        <a:pt x="1502311" y="105804"/>
                      </a:cubicBezTo>
                      <a:cubicBezTo>
                        <a:pt x="1508770" y="111515"/>
                        <a:pt x="1510205" y="120795"/>
                        <a:pt x="1505181" y="127934"/>
                      </a:cubicBezTo>
                      <a:cubicBezTo>
                        <a:pt x="1505181" y="127934"/>
                        <a:pt x="1505181" y="127934"/>
                        <a:pt x="1429105" y="225021"/>
                      </a:cubicBezTo>
                      <a:cubicBezTo>
                        <a:pt x="1429105" y="225021"/>
                        <a:pt x="1429105" y="225021"/>
                        <a:pt x="1270492" y="102948"/>
                      </a:cubicBezTo>
                      <a:cubicBezTo>
                        <a:pt x="1270492" y="102948"/>
                        <a:pt x="1270492" y="102948"/>
                        <a:pt x="1346569" y="5861"/>
                      </a:cubicBezTo>
                      <a:cubicBezTo>
                        <a:pt x="1349081" y="2648"/>
                        <a:pt x="1352849" y="685"/>
                        <a:pt x="1356886" y="150"/>
                      </a:cubicBezTo>
                      <a:close/>
                    </a:path>
                  </a:pathLst>
                </a:custGeom>
                <a:solidFill>
                  <a:schemeClr val="accent1"/>
                </a:solidFill>
                <a:ln w="8572" cap="flat" cmpd="sng" algn="ctr">
                  <a:solidFill>
                    <a:srgbClr val="FFFFFF"/>
                  </a:solidFill>
                  <a:prstDash val="solid"/>
                  <a:round/>
                  <a:headEnd type="none" w="med" len="med"/>
                  <a:tailEnd type="none" w="med" len="med"/>
                </a:ln>
              </p:spPr>
              <p:txBody>
                <a:bodyPr vert="horz" wrap="square" lIns="82296" tIns="41148" rIns="82296" bIns="41148" numCol="1" anchor="t" anchorCtr="0" compatLnSpc="1">
                  <a:prstTxWarp prst="textNoShape">
                    <a:avLst/>
                  </a:prstTxWarp>
                  <a:noAutofit/>
                </a:bodyPr>
                <a:lstStyle/>
                <a:p>
                  <a:endParaRPr lang="en-US" sz="600" dirty="0"/>
                </a:p>
              </p:txBody>
            </p:sp>
          </p:grpSp>
        </p:grpSp>
        <p:grpSp>
          <p:nvGrpSpPr>
            <p:cNvPr id="69" name="Group 68">
              <a:extLst>
                <a:ext uri="{FF2B5EF4-FFF2-40B4-BE49-F238E27FC236}">
                  <a16:creationId xmlns:a16="http://schemas.microsoft.com/office/drawing/2014/main" id="{AEF1DE37-DAF8-4140-9801-D38FAB1E7935}"/>
                </a:ext>
              </a:extLst>
            </p:cNvPr>
            <p:cNvGrpSpPr>
              <a:grpSpLocks noChangeAspect="1"/>
            </p:cNvGrpSpPr>
            <p:nvPr/>
          </p:nvGrpSpPr>
          <p:grpSpPr>
            <a:xfrm>
              <a:off x="9668902" y="5916644"/>
              <a:ext cx="134329" cy="134199"/>
              <a:chOff x="2593697" y="-748079"/>
              <a:chExt cx="347151" cy="347472"/>
            </a:xfrm>
          </p:grpSpPr>
          <p:sp>
            <p:nvSpPr>
              <p:cNvPr id="70" name="AutoShape 33">
                <a:extLst>
                  <a:ext uri="{FF2B5EF4-FFF2-40B4-BE49-F238E27FC236}">
                    <a16:creationId xmlns:a16="http://schemas.microsoft.com/office/drawing/2014/main" id="{1055E4A0-C0A4-9D44-9746-765A13BFF8A8}"/>
                  </a:ext>
                </a:extLst>
              </p:cNvPr>
              <p:cNvSpPr>
                <a:spLocks noChangeAspect="1" noChangeArrowheads="1" noTextEdit="1"/>
              </p:cNvSpPr>
              <p:nvPr/>
            </p:nvSpPr>
            <p:spPr bwMode="auto">
              <a:xfrm>
                <a:off x="2593697" y="-748079"/>
                <a:ext cx="347151" cy="347472"/>
              </a:xfrm>
              <a:prstGeom prst="rect">
                <a:avLst/>
              </a:prstGeom>
              <a:noFill/>
              <a:ln w="8572"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US" sz="600" dirty="0"/>
              </a:p>
            </p:txBody>
          </p:sp>
          <p:grpSp>
            <p:nvGrpSpPr>
              <p:cNvPr id="71" name="Group 70">
                <a:extLst>
                  <a:ext uri="{FF2B5EF4-FFF2-40B4-BE49-F238E27FC236}">
                    <a16:creationId xmlns:a16="http://schemas.microsoft.com/office/drawing/2014/main" id="{50E7F513-3A09-424C-B222-C50B5C9322CF}"/>
                  </a:ext>
                </a:extLst>
              </p:cNvPr>
              <p:cNvGrpSpPr/>
              <p:nvPr/>
            </p:nvGrpSpPr>
            <p:grpSpPr>
              <a:xfrm>
                <a:off x="2629973" y="-712366"/>
                <a:ext cx="268905" cy="268646"/>
                <a:chOff x="5445632" y="2775204"/>
                <a:chExt cx="1301877" cy="1306068"/>
              </a:xfrm>
            </p:grpSpPr>
            <p:sp>
              <p:nvSpPr>
                <p:cNvPr id="72" name="Freeform 35">
                  <a:extLst>
                    <a:ext uri="{FF2B5EF4-FFF2-40B4-BE49-F238E27FC236}">
                      <a16:creationId xmlns:a16="http://schemas.microsoft.com/office/drawing/2014/main" id="{BA881F33-0018-F041-B9AA-7DDC3B1639B5}"/>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w="8572" cap="flat" cmpd="sng" algn="ctr">
                  <a:solidFill>
                    <a:srgbClr val="FFFFFF"/>
                  </a:solidFill>
                  <a:prstDash val="solid"/>
                  <a:round/>
                  <a:headEnd type="none" w="med" len="med"/>
                  <a:tailEnd type="none" w="med" len="med"/>
                </a:ln>
              </p:spPr>
              <p:txBody>
                <a:bodyPr vert="horz" wrap="square" lIns="82296" tIns="41148" rIns="82296" bIns="41148" numCol="1" anchor="t" anchorCtr="0" compatLnSpc="1">
                  <a:prstTxWarp prst="textNoShape">
                    <a:avLst/>
                  </a:prstTxWarp>
                </a:bodyPr>
                <a:lstStyle/>
                <a:p>
                  <a:endParaRPr lang="en-US" sz="600" dirty="0"/>
                </a:p>
              </p:txBody>
            </p:sp>
            <p:sp>
              <p:nvSpPr>
                <p:cNvPr id="73" name="Freeform 36">
                  <a:extLst>
                    <a:ext uri="{FF2B5EF4-FFF2-40B4-BE49-F238E27FC236}">
                      <a16:creationId xmlns:a16="http://schemas.microsoft.com/office/drawing/2014/main" id="{BC056078-7DF0-B04C-9D41-4D79578C3C73}"/>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w="8572" cap="flat" cmpd="sng" algn="ctr">
                  <a:solidFill>
                    <a:srgbClr val="FFFFFF"/>
                  </a:solidFill>
                  <a:prstDash val="solid"/>
                  <a:round/>
                  <a:headEnd type="none" w="med" len="med"/>
                  <a:tailEnd type="none" w="med" len="med"/>
                </a:ln>
              </p:spPr>
              <p:txBody>
                <a:bodyPr vert="horz" wrap="square" lIns="82296" tIns="41148" rIns="82296" bIns="41148" numCol="1" anchor="t" anchorCtr="0" compatLnSpc="1">
                  <a:prstTxWarp prst="textNoShape">
                    <a:avLst/>
                  </a:prstTxWarp>
                </a:bodyPr>
                <a:lstStyle/>
                <a:p>
                  <a:endParaRPr lang="en-US" sz="600" dirty="0"/>
                </a:p>
              </p:txBody>
            </p:sp>
          </p:grpSp>
        </p:grpSp>
        <p:sp>
          <p:nvSpPr>
            <p:cNvPr id="74" name="TextBox 73">
              <a:extLst>
                <a:ext uri="{FF2B5EF4-FFF2-40B4-BE49-F238E27FC236}">
                  <a16:creationId xmlns:a16="http://schemas.microsoft.com/office/drawing/2014/main" id="{B304FC9A-006D-3044-B8FB-A7B624E1FB9E}"/>
                </a:ext>
              </a:extLst>
            </p:cNvPr>
            <p:cNvSpPr txBox="1"/>
            <p:nvPr/>
          </p:nvSpPr>
          <p:spPr>
            <a:xfrm>
              <a:off x="9811825" y="5950931"/>
              <a:ext cx="355586" cy="71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540" dirty="0">
                  <a:solidFill>
                    <a:schemeClr val="bg1"/>
                  </a:solidFill>
                </a:rPr>
                <a:t>GridLake</a:t>
              </a:r>
            </a:p>
          </p:txBody>
        </p:sp>
        <p:grpSp>
          <p:nvGrpSpPr>
            <p:cNvPr id="75" name="Group 74">
              <a:extLst>
                <a:ext uri="{FF2B5EF4-FFF2-40B4-BE49-F238E27FC236}">
                  <a16:creationId xmlns:a16="http://schemas.microsoft.com/office/drawing/2014/main" id="{4C864896-238D-624A-9598-8B3391547CD3}"/>
                </a:ext>
              </a:extLst>
            </p:cNvPr>
            <p:cNvGrpSpPr>
              <a:grpSpLocks noChangeAspect="1"/>
            </p:cNvGrpSpPr>
            <p:nvPr/>
          </p:nvGrpSpPr>
          <p:grpSpPr>
            <a:xfrm>
              <a:off x="9601126" y="5498698"/>
              <a:ext cx="238434" cy="238434"/>
              <a:chOff x="5273675" y="2606675"/>
              <a:chExt cx="1646238" cy="1646238"/>
            </a:xfrm>
          </p:grpSpPr>
          <p:sp>
            <p:nvSpPr>
              <p:cNvPr id="76" name="AutoShape 29">
                <a:extLst>
                  <a:ext uri="{FF2B5EF4-FFF2-40B4-BE49-F238E27FC236}">
                    <a16:creationId xmlns:a16="http://schemas.microsoft.com/office/drawing/2014/main" id="{94B324F5-BA91-1C43-95AC-9E3AC3B4249B}"/>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sz="600" dirty="0"/>
              </a:p>
            </p:txBody>
          </p:sp>
          <p:grpSp>
            <p:nvGrpSpPr>
              <p:cNvPr id="77" name="Group 76">
                <a:extLst>
                  <a:ext uri="{FF2B5EF4-FFF2-40B4-BE49-F238E27FC236}">
                    <a16:creationId xmlns:a16="http://schemas.microsoft.com/office/drawing/2014/main" id="{922191DB-B79D-9C45-8C42-E48FD6DBB515}"/>
                  </a:ext>
                </a:extLst>
              </p:cNvPr>
              <p:cNvGrpSpPr/>
              <p:nvPr/>
            </p:nvGrpSpPr>
            <p:grpSpPr>
              <a:xfrm>
                <a:off x="5524500" y="3071813"/>
                <a:ext cx="1144588" cy="714375"/>
                <a:chOff x="5524500" y="3071813"/>
                <a:chExt cx="1144588" cy="714375"/>
              </a:xfrm>
            </p:grpSpPr>
            <p:sp>
              <p:nvSpPr>
                <p:cNvPr id="78" name="Freeform 31">
                  <a:extLst>
                    <a:ext uri="{FF2B5EF4-FFF2-40B4-BE49-F238E27FC236}">
                      <a16:creationId xmlns:a16="http://schemas.microsoft.com/office/drawing/2014/main" id="{BBF55456-2521-8C40-AA90-DB26BF04152C}"/>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600" dirty="0"/>
                </a:p>
              </p:txBody>
            </p:sp>
            <p:sp>
              <p:nvSpPr>
                <p:cNvPr id="79" name="Freeform 32">
                  <a:extLst>
                    <a:ext uri="{FF2B5EF4-FFF2-40B4-BE49-F238E27FC236}">
                      <a16:creationId xmlns:a16="http://schemas.microsoft.com/office/drawing/2014/main" id="{0A57A639-42AB-2F41-84E8-88E00E25CA27}"/>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chemeClr val="accent1"/>
                </a:solidFill>
                <a:ln w="8572" cap="flat" cmpd="sng" algn="ctr">
                  <a:solidFill>
                    <a:srgbClr val="FFFFFF"/>
                  </a:solidFill>
                  <a:prstDash val="solid"/>
                  <a:round/>
                  <a:headEnd type="none" w="med" len="med"/>
                  <a:tailEnd type="none" w="med" len="med"/>
                </a:ln>
              </p:spPr>
              <p:txBody>
                <a:bodyPr vert="horz" wrap="square" lIns="82296" tIns="41148" rIns="82296" bIns="41148" numCol="1" anchor="t" anchorCtr="0" compatLnSpc="1">
                  <a:prstTxWarp prst="textNoShape">
                    <a:avLst/>
                  </a:prstTxWarp>
                </a:bodyPr>
                <a:lstStyle/>
                <a:p>
                  <a:endParaRPr lang="en-US" sz="600" dirty="0"/>
                </a:p>
              </p:txBody>
            </p:sp>
          </p:grpSp>
        </p:grpSp>
        <p:grpSp>
          <p:nvGrpSpPr>
            <p:cNvPr id="80" name="Group 79">
              <a:extLst>
                <a:ext uri="{FF2B5EF4-FFF2-40B4-BE49-F238E27FC236}">
                  <a16:creationId xmlns:a16="http://schemas.microsoft.com/office/drawing/2014/main" id="{F8C11548-A6AE-D946-8EB6-24824D83D339}"/>
                </a:ext>
              </a:extLst>
            </p:cNvPr>
            <p:cNvGrpSpPr>
              <a:grpSpLocks noChangeAspect="1"/>
            </p:cNvGrpSpPr>
            <p:nvPr/>
          </p:nvGrpSpPr>
          <p:grpSpPr>
            <a:xfrm>
              <a:off x="9432551" y="6184418"/>
              <a:ext cx="286573" cy="286573"/>
              <a:chOff x="5273675" y="2606675"/>
              <a:chExt cx="1646238" cy="1646238"/>
            </a:xfrm>
          </p:grpSpPr>
          <p:sp>
            <p:nvSpPr>
              <p:cNvPr id="81" name="AutoShape 29">
                <a:extLst>
                  <a:ext uri="{FF2B5EF4-FFF2-40B4-BE49-F238E27FC236}">
                    <a16:creationId xmlns:a16="http://schemas.microsoft.com/office/drawing/2014/main" id="{F428DBFB-6391-1A43-967D-C6DF6433BCE6}"/>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sz="600" dirty="0"/>
              </a:p>
            </p:txBody>
          </p:sp>
          <p:grpSp>
            <p:nvGrpSpPr>
              <p:cNvPr id="82" name="Group 81">
                <a:extLst>
                  <a:ext uri="{FF2B5EF4-FFF2-40B4-BE49-F238E27FC236}">
                    <a16:creationId xmlns:a16="http://schemas.microsoft.com/office/drawing/2014/main" id="{539EE9F1-A116-CE4C-A8F7-F01FB967B1E9}"/>
                  </a:ext>
                </a:extLst>
              </p:cNvPr>
              <p:cNvGrpSpPr/>
              <p:nvPr/>
            </p:nvGrpSpPr>
            <p:grpSpPr>
              <a:xfrm>
                <a:off x="5524500" y="3071813"/>
                <a:ext cx="1144588" cy="714375"/>
                <a:chOff x="5524500" y="3071813"/>
                <a:chExt cx="1144588" cy="714375"/>
              </a:xfrm>
            </p:grpSpPr>
            <p:sp>
              <p:nvSpPr>
                <p:cNvPr id="83" name="Freeform 31">
                  <a:extLst>
                    <a:ext uri="{FF2B5EF4-FFF2-40B4-BE49-F238E27FC236}">
                      <a16:creationId xmlns:a16="http://schemas.microsoft.com/office/drawing/2014/main" id="{5D16AC1C-E6BD-8D4B-B778-84661326C37B}"/>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600" dirty="0"/>
                </a:p>
              </p:txBody>
            </p:sp>
            <p:sp>
              <p:nvSpPr>
                <p:cNvPr id="84" name="Freeform 32">
                  <a:extLst>
                    <a:ext uri="{FF2B5EF4-FFF2-40B4-BE49-F238E27FC236}">
                      <a16:creationId xmlns:a16="http://schemas.microsoft.com/office/drawing/2014/main" id="{1F38020C-607F-AE4C-AA69-E3CD23CB8FBD}"/>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chemeClr val="accent1"/>
                </a:solidFill>
                <a:ln w="8572" cap="flat" cmpd="sng" algn="ctr">
                  <a:solidFill>
                    <a:srgbClr val="FFFFFF"/>
                  </a:solidFill>
                  <a:prstDash val="solid"/>
                  <a:round/>
                  <a:headEnd type="none" w="med" len="med"/>
                  <a:tailEnd type="none" w="med" len="med"/>
                </a:ln>
              </p:spPr>
              <p:txBody>
                <a:bodyPr vert="horz" wrap="square" lIns="82296" tIns="41148" rIns="82296" bIns="41148" numCol="1" anchor="t" anchorCtr="0" compatLnSpc="1">
                  <a:prstTxWarp prst="textNoShape">
                    <a:avLst/>
                  </a:prstTxWarp>
                </a:bodyPr>
                <a:lstStyle/>
                <a:p>
                  <a:endParaRPr lang="en-US" sz="600" dirty="0"/>
                </a:p>
              </p:txBody>
            </p:sp>
          </p:grpSp>
        </p:grpSp>
        <p:sp>
          <p:nvSpPr>
            <p:cNvPr id="85" name="TextBox 84">
              <a:extLst>
                <a:ext uri="{FF2B5EF4-FFF2-40B4-BE49-F238E27FC236}">
                  <a16:creationId xmlns:a16="http://schemas.microsoft.com/office/drawing/2014/main" id="{6C0D513F-FB97-D042-B80E-08823E897837}"/>
                </a:ext>
              </a:extLst>
            </p:cNvPr>
            <p:cNvSpPr txBox="1"/>
            <p:nvPr/>
          </p:nvSpPr>
          <p:spPr>
            <a:xfrm>
              <a:off x="9834947" y="5594434"/>
              <a:ext cx="246900" cy="71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540" dirty="0">
                  <a:solidFill>
                    <a:schemeClr val="bg1"/>
                  </a:solidFill>
                </a:rPr>
                <a:t>GridCRM</a:t>
              </a:r>
            </a:p>
          </p:txBody>
        </p:sp>
        <p:sp>
          <p:nvSpPr>
            <p:cNvPr id="86" name="TextBox 85">
              <a:extLst>
                <a:ext uri="{FF2B5EF4-FFF2-40B4-BE49-F238E27FC236}">
                  <a16:creationId xmlns:a16="http://schemas.microsoft.com/office/drawing/2014/main" id="{7152D37F-9B0D-E540-973B-16B0711801BA}"/>
                </a:ext>
              </a:extLst>
            </p:cNvPr>
            <p:cNvSpPr txBox="1"/>
            <p:nvPr/>
          </p:nvSpPr>
          <p:spPr>
            <a:xfrm>
              <a:off x="9700067" y="6296762"/>
              <a:ext cx="467344" cy="71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540" dirty="0">
                  <a:solidFill>
                    <a:schemeClr val="bg1"/>
                  </a:solidFill>
                </a:rPr>
                <a:t>GridDevices</a:t>
              </a:r>
            </a:p>
          </p:txBody>
        </p:sp>
        <p:sp>
          <p:nvSpPr>
            <p:cNvPr id="87" name="TextBox 86">
              <a:extLst>
                <a:ext uri="{FF2B5EF4-FFF2-40B4-BE49-F238E27FC236}">
                  <a16:creationId xmlns:a16="http://schemas.microsoft.com/office/drawing/2014/main" id="{5D876A29-B635-6D46-A6F6-6F0A44E72BE9}"/>
                </a:ext>
              </a:extLst>
            </p:cNvPr>
            <p:cNvSpPr txBox="1"/>
            <p:nvPr/>
          </p:nvSpPr>
          <p:spPr>
            <a:xfrm>
              <a:off x="10759943" y="6207803"/>
              <a:ext cx="630826" cy="1422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r>
                <a:rPr lang="en-US" sz="540" dirty="0">
                  <a:solidFill>
                    <a:schemeClr val="bg1"/>
                  </a:solidFill>
                </a:rPr>
                <a:t>GridIdentity</a:t>
              </a:r>
            </a:p>
          </p:txBody>
        </p:sp>
        <p:grpSp>
          <p:nvGrpSpPr>
            <p:cNvPr id="88" name="Group 87">
              <a:extLst>
                <a:ext uri="{FF2B5EF4-FFF2-40B4-BE49-F238E27FC236}">
                  <a16:creationId xmlns:a16="http://schemas.microsoft.com/office/drawing/2014/main" id="{58FF9D9A-F16B-784D-8E17-0A8C263BFC0D}"/>
                </a:ext>
              </a:extLst>
            </p:cNvPr>
            <p:cNvGrpSpPr>
              <a:grpSpLocks noChangeAspect="1"/>
            </p:cNvGrpSpPr>
            <p:nvPr/>
          </p:nvGrpSpPr>
          <p:grpSpPr>
            <a:xfrm>
              <a:off x="10896814" y="5930437"/>
              <a:ext cx="313938" cy="313938"/>
              <a:chOff x="5273675" y="2606675"/>
              <a:chExt cx="1646238" cy="1646238"/>
            </a:xfrm>
          </p:grpSpPr>
          <p:sp>
            <p:nvSpPr>
              <p:cNvPr id="89" name="AutoShape 29">
                <a:extLst>
                  <a:ext uri="{FF2B5EF4-FFF2-40B4-BE49-F238E27FC236}">
                    <a16:creationId xmlns:a16="http://schemas.microsoft.com/office/drawing/2014/main" id="{3F515B02-917C-E247-9281-E6C2FE548C63}"/>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sz="600" dirty="0"/>
              </a:p>
            </p:txBody>
          </p:sp>
          <p:grpSp>
            <p:nvGrpSpPr>
              <p:cNvPr id="90" name="Group 89">
                <a:extLst>
                  <a:ext uri="{FF2B5EF4-FFF2-40B4-BE49-F238E27FC236}">
                    <a16:creationId xmlns:a16="http://schemas.microsoft.com/office/drawing/2014/main" id="{DAFB3505-ACA1-2242-AA96-97A046A94B42}"/>
                  </a:ext>
                </a:extLst>
              </p:cNvPr>
              <p:cNvGrpSpPr/>
              <p:nvPr/>
            </p:nvGrpSpPr>
            <p:grpSpPr>
              <a:xfrm>
                <a:off x="5524500" y="3071813"/>
                <a:ext cx="1144588" cy="714375"/>
                <a:chOff x="5524500" y="3071813"/>
                <a:chExt cx="1144588" cy="714375"/>
              </a:xfrm>
            </p:grpSpPr>
            <p:sp>
              <p:nvSpPr>
                <p:cNvPr id="91" name="Freeform 31">
                  <a:extLst>
                    <a:ext uri="{FF2B5EF4-FFF2-40B4-BE49-F238E27FC236}">
                      <a16:creationId xmlns:a16="http://schemas.microsoft.com/office/drawing/2014/main" id="{0255F097-83CD-B047-A668-7A4B4E9F82EE}"/>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600" dirty="0"/>
                </a:p>
              </p:txBody>
            </p:sp>
            <p:sp>
              <p:nvSpPr>
                <p:cNvPr id="92" name="Freeform 32">
                  <a:extLst>
                    <a:ext uri="{FF2B5EF4-FFF2-40B4-BE49-F238E27FC236}">
                      <a16:creationId xmlns:a16="http://schemas.microsoft.com/office/drawing/2014/main" id="{D0AFD2D7-D46A-4144-B351-018120639103}"/>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chemeClr val="accent1"/>
                </a:solidFill>
                <a:ln w="8572" cap="flat" cmpd="sng" algn="ctr">
                  <a:solidFill>
                    <a:srgbClr val="FFFFFF"/>
                  </a:solidFill>
                  <a:prstDash val="solid"/>
                  <a:round/>
                  <a:headEnd type="none" w="med" len="med"/>
                  <a:tailEnd type="none" w="med" len="med"/>
                </a:ln>
              </p:spPr>
              <p:txBody>
                <a:bodyPr vert="horz" wrap="square" lIns="82296" tIns="41148" rIns="82296" bIns="41148" numCol="1" anchor="t" anchorCtr="0" compatLnSpc="1">
                  <a:prstTxWarp prst="textNoShape">
                    <a:avLst/>
                  </a:prstTxWarp>
                </a:bodyPr>
                <a:lstStyle/>
                <a:p>
                  <a:endParaRPr lang="en-US" sz="600" dirty="0"/>
                </a:p>
              </p:txBody>
            </p:sp>
          </p:grpSp>
        </p:grpSp>
        <p:grpSp>
          <p:nvGrpSpPr>
            <p:cNvPr id="93" name="Group 92">
              <a:extLst>
                <a:ext uri="{FF2B5EF4-FFF2-40B4-BE49-F238E27FC236}">
                  <a16:creationId xmlns:a16="http://schemas.microsoft.com/office/drawing/2014/main" id="{7061F052-F241-8B44-87FA-941E5D180EDA}"/>
                </a:ext>
              </a:extLst>
            </p:cNvPr>
            <p:cNvGrpSpPr/>
            <p:nvPr/>
          </p:nvGrpSpPr>
          <p:grpSpPr>
            <a:xfrm>
              <a:off x="10231197" y="5405765"/>
              <a:ext cx="592861" cy="1102145"/>
              <a:chOff x="7920743" y="2192359"/>
              <a:chExt cx="1339122" cy="2489464"/>
            </a:xfrm>
          </p:grpSpPr>
          <p:sp>
            <p:nvSpPr>
              <p:cNvPr id="94" name="Rectangle 93">
                <a:extLst>
                  <a:ext uri="{FF2B5EF4-FFF2-40B4-BE49-F238E27FC236}">
                    <a16:creationId xmlns:a16="http://schemas.microsoft.com/office/drawing/2014/main" id="{226022D2-98DE-DC43-8F57-FDF599F7A275}"/>
                  </a:ext>
                </a:extLst>
              </p:cNvPr>
              <p:cNvSpPr/>
              <p:nvPr/>
            </p:nvSpPr>
            <p:spPr>
              <a:xfrm>
                <a:off x="7920743" y="2325722"/>
                <a:ext cx="1194302" cy="2356101"/>
              </a:xfrm>
              <a:prstGeom prst="rect">
                <a:avLst/>
              </a:prstGeom>
              <a:solidFill>
                <a:srgbClr val="00148C"/>
              </a:solidFill>
              <a:ln w="9525" cap="rnd" cmpd="sng" algn="ctr">
                <a:noFill/>
                <a:prstDash val="solid"/>
                <a:round/>
                <a:headEnd type="none" w="med" len="med"/>
                <a:tailEnd type="none" w="med" len="med"/>
              </a:ln>
              <a:effec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R="0" lvl="0" defTabSz="914400" eaLnBrk="1" fontAlgn="auto" latinLnBrk="0" hangingPunct="1">
                  <a:lnSpc>
                    <a:spcPct val="100000"/>
                  </a:lnSpc>
                  <a:spcBef>
                    <a:spcPts val="0"/>
                  </a:spcBef>
                  <a:spcAft>
                    <a:spcPts val="0"/>
                  </a:spcAft>
                  <a:buClrTx/>
                  <a:buSzTx/>
                  <a:buFontTx/>
                  <a:buNone/>
                  <a:tabLst/>
                  <a:defRPr/>
                </a:pPr>
                <a:endParaRPr kumimoji="0" lang="en-US" sz="54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54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54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endParaRPr kumimoji="0" lang="en-US" sz="540" b="1" i="0" u="none" strike="noStrike" kern="0" cap="none" spc="0" normalizeH="0" baseline="0" noProof="0" dirty="0">
                  <a:ln>
                    <a:noFill/>
                  </a:ln>
                  <a:solidFill>
                    <a:srgbClr val="FFFFFF"/>
                  </a:solidFill>
                  <a:effectLst/>
                  <a:uLnTx/>
                  <a:uFillTx/>
                  <a:ea typeface="+mn-ea"/>
                  <a:cs typeface="+mn-cs"/>
                </a:endParaRPr>
              </a:p>
              <a:p>
                <a:pPr marR="0" lvl="0" defTabSz="914400" eaLnBrk="1" fontAlgn="auto" latinLnBrk="0" hangingPunct="1">
                  <a:lnSpc>
                    <a:spcPct val="100000"/>
                  </a:lnSpc>
                  <a:spcBef>
                    <a:spcPts val="0"/>
                  </a:spcBef>
                  <a:spcAft>
                    <a:spcPts val="0"/>
                  </a:spcAft>
                  <a:buClrTx/>
                  <a:buSzTx/>
                  <a:buFontTx/>
                  <a:buNone/>
                  <a:tabLst/>
                  <a:defRPr/>
                </a:pPr>
                <a:r>
                  <a:rPr kumimoji="0" lang="en-US" sz="450" b="1" i="0" u="none" strike="noStrike" kern="0" cap="none" spc="0" normalizeH="0" baseline="0" noProof="0" dirty="0">
                    <a:ln>
                      <a:noFill/>
                    </a:ln>
                    <a:solidFill>
                      <a:srgbClr val="FFFFFF"/>
                    </a:solidFill>
                    <a:effectLst/>
                    <a:uLnTx/>
                    <a:uFillTx/>
                    <a:ea typeface="+mn-ea"/>
                    <a:cs typeface="+mn-cs"/>
                  </a:rPr>
                  <a:t>Integration Products: </a:t>
                </a:r>
              </a:p>
            </p:txBody>
          </p:sp>
          <p:sp>
            <p:nvSpPr>
              <p:cNvPr id="95" name="Oval 20">
                <a:extLst>
                  <a:ext uri="{FF2B5EF4-FFF2-40B4-BE49-F238E27FC236}">
                    <a16:creationId xmlns:a16="http://schemas.microsoft.com/office/drawing/2014/main" id="{2C630990-1D85-CB4A-88F9-9ED811FFC96F}"/>
                  </a:ext>
                </a:extLst>
              </p:cNvPr>
              <p:cNvSpPr>
                <a:spLocks noChangeAspect="1" noChangeArrowheads="1"/>
              </p:cNvSpPr>
              <p:nvPr/>
            </p:nvSpPr>
            <p:spPr bwMode="auto">
              <a:xfrm>
                <a:off x="8331055" y="2192359"/>
                <a:ext cx="306910" cy="306910"/>
              </a:xfrm>
              <a:prstGeom prst="ellipse">
                <a:avLst/>
              </a:prstGeom>
              <a:solidFill>
                <a:srgbClr val="00148C"/>
              </a:solidFill>
              <a:ln w="1714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450" b="1" i="0" u="none" strike="noStrike" kern="0" cap="none" spc="0" normalizeH="0" baseline="0" noProof="0" dirty="0">
                    <a:ln>
                      <a:noFill/>
                    </a:ln>
                    <a:solidFill>
                      <a:prstClr val="white"/>
                    </a:solidFill>
                    <a:effectLst/>
                    <a:uLnTx/>
                    <a:uFillTx/>
                  </a:rPr>
                  <a:t>5</a:t>
                </a:r>
              </a:p>
            </p:txBody>
          </p:sp>
          <p:sp>
            <p:nvSpPr>
              <p:cNvPr id="96" name="TextBox 95">
                <a:extLst>
                  <a:ext uri="{FF2B5EF4-FFF2-40B4-BE49-F238E27FC236}">
                    <a16:creationId xmlns:a16="http://schemas.microsoft.com/office/drawing/2014/main" id="{7E6A7275-FA9E-7440-B253-F18BA4F4B768}"/>
                  </a:ext>
                </a:extLst>
              </p:cNvPr>
              <p:cNvSpPr txBox="1"/>
              <p:nvPr/>
            </p:nvSpPr>
            <p:spPr>
              <a:xfrm>
                <a:off x="7934555" y="4304552"/>
                <a:ext cx="1325310" cy="3212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r>
                  <a:rPr lang="en-US" sz="540" dirty="0">
                    <a:solidFill>
                      <a:schemeClr val="bg1"/>
                    </a:solidFill>
                  </a:rPr>
                  <a:t>GridSpecs</a:t>
                </a:r>
              </a:p>
            </p:txBody>
          </p:sp>
          <p:grpSp>
            <p:nvGrpSpPr>
              <p:cNvPr id="97" name="Group 96">
                <a:extLst>
                  <a:ext uri="{FF2B5EF4-FFF2-40B4-BE49-F238E27FC236}">
                    <a16:creationId xmlns:a16="http://schemas.microsoft.com/office/drawing/2014/main" id="{0DA70C76-9704-F141-A2B2-E5A19D0943ED}"/>
                  </a:ext>
                </a:extLst>
              </p:cNvPr>
              <p:cNvGrpSpPr>
                <a:grpSpLocks noChangeAspect="1"/>
              </p:cNvGrpSpPr>
              <p:nvPr/>
            </p:nvGrpSpPr>
            <p:grpSpPr>
              <a:xfrm>
                <a:off x="8021967" y="4022816"/>
                <a:ext cx="551211" cy="341331"/>
                <a:chOff x="5868000" y="3086830"/>
                <a:chExt cx="907886" cy="562198"/>
              </a:xfrm>
            </p:grpSpPr>
            <p:sp>
              <p:nvSpPr>
                <p:cNvPr id="98" name="AutoShape 3">
                  <a:extLst>
                    <a:ext uri="{FF2B5EF4-FFF2-40B4-BE49-F238E27FC236}">
                      <a16:creationId xmlns:a16="http://schemas.microsoft.com/office/drawing/2014/main" id="{507777FA-C629-9749-B502-15DF0FC0F27B}"/>
                    </a:ext>
                  </a:extLst>
                </p:cNvPr>
                <p:cNvSpPr>
                  <a:spLocks noChangeAspect="1" noChangeArrowheads="1" noTextEdit="1"/>
                </p:cNvSpPr>
                <p:nvPr/>
              </p:nvSpPr>
              <p:spPr bwMode="auto">
                <a:xfrm>
                  <a:off x="5868000" y="3191828"/>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sz="800" dirty="0"/>
                </a:p>
              </p:txBody>
            </p:sp>
            <p:sp>
              <p:nvSpPr>
                <p:cNvPr id="99" name="Freeform 5">
                  <a:extLst>
                    <a:ext uri="{FF2B5EF4-FFF2-40B4-BE49-F238E27FC236}">
                      <a16:creationId xmlns:a16="http://schemas.microsoft.com/office/drawing/2014/main" id="{36BF6BCD-1C4E-7042-8E89-B0E314F490D2}"/>
                    </a:ext>
                  </a:extLst>
                </p:cNvPr>
                <p:cNvSpPr>
                  <a:spLocks noEditPoints="1"/>
                </p:cNvSpPr>
                <p:nvPr/>
              </p:nvSpPr>
              <p:spPr bwMode="auto">
                <a:xfrm>
                  <a:off x="6483786" y="3086830"/>
                  <a:ext cx="292100" cy="349251"/>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chemeClr val="tx2"/>
                </a:solidFill>
                <a:ln w="8572" cap="flat" cmpd="sng" algn="ctr">
                  <a:solidFill>
                    <a:srgbClr val="FFFFFF"/>
                  </a:solidFill>
                  <a:prstDash val="solid"/>
                  <a:round/>
                  <a:headEnd type="none" w="med" len="med"/>
                  <a:tailEnd type="none" w="med" len="med"/>
                </a:ln>
              </p:spPr>
              <p:txBody>
                <a:bodyPr vert="horz" wrap="square" lIns="82296" tIns="41148" rIns="82296" bIns="41148" numCol="1" anchor="t" anchorCtr="0" compatLnSpc="1">
                  <a:prstTxWarp prst="textNoShape">
                    <a:avLst/>
                  </a:prstTxWarp>
                </a:bodyPr>
                <a:lstStyle/>
                <a:p>
                  <a:endParaRPr lang="en-US" sz="800" dirty="0"/>
                </a:p>
              </p:txBody>
            </p:sp>
          </p:grpSp>
        </p:grpSp>
        <p:grpSp>
          <p:nvGrpSpPr>
            <p:cNvPr id="100" name="Group 99">
              <a:extLst>
                <a:ext uri="{FF2B5EF4-FFF2-40B4-BE49-F238E27FC236}">
                  <a16:creationId xmlns:a16="http://schemas.microsoft.com/office/drawing/2014/main" id="{0D83D106-FBAD-D945-A4F6-883206F2AD80}"/>
                </a:ext>
              </a:extLst>
            </p:cNvPr>
            <p:cNvGrpSpPr>
              <a:grpSpLocks noChangeAspect="1"/>
            </p:cNvGrpSpPr>
            <p:nvPr/>
          </p:nvGrpSpPr>
          <p:grpSpPr>
            <a:xfrm>
              <a:off x="10340366" y="5558444"/>
              <a:ext cx="319099" cy="319099"/>
              <a:chOff x="5273675" y="2606675"/>
              <a:chExt cx="1644650" cy="1644650"/>
            </a:xfrm>
          </p:grpSpPr>
          <p:sp>
            <p:nvSpPr>
              <p:cNvPr id="101" name="AutoShape 3">
                <a:extLst>
                  <a:ext uri="{FF2B5EF4-FFF2-40B4-BE49-F238E27FC236}">
                    <a16:creationId xmlns:a16="http://schemas.microsoft.com/office/drawing/2014/main" id="{35A626E3-0D58-4C4F-B6F4-F16E23C30C46}"/>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526" tIns="45263" rIns="90526" bIns="45263" numCol="1" anchor="t" anchorCtr="0" compatLnSpc="1">
                <a:prstTxWarp prst="textNoShape">
                  <a:avLst/>
                </a:prstTxWarp>
              </a:bodyPr>
              <a:lstStyle/>
              <a:p>
                <a:endParaRPr lang="en-US" sz="600" dirty="0">
                  <a:solidFill>
                    <a:srgbClr val="575757"/>
                  </a:solidFill>
                </a:endParaRPr>
              </a:p>
            </p:txBody>
          </p:sp>
          <p:sp>
            <p:nvSpPr>
              <p:cNvPr id="102" name="Freeform 17">
                <a:extLst>
                  <a:ext uri="{FF2B5EF4-FFF2-40B4-BE49-F238E27FC236}">
                    <a16:creationId xmlns:a16="http://schemas.microsoft.com/office/drawing/2014/main" id="{441F7D4D-A9C4-404C-8844-55422D333706}"/>
                  </a:ext>
                </a:extLst>
              </p:cNvPr>
              <p:cNvSpPr>
                <a:spLocks/>
              </p:cNvSpPr>
              <p:nvPr/>
            </p:nvSpPr>
            <p:spPr bwMode="auto">
              <a:xfrm>
                <a:off x="5511836" y="2844966"/>
                <a:ext cx="1168335" cy="1168079"/>
              </a:xfrm>
              <a:custGeom>
                <a:avLst/>
                <a:gdLst>
                  <a:gd name="connsiteX0" fmla="*/ 196471 w 1168335"/>
                  <a:gd name="connsiteY0" fmla="*/ 745959 h 1168079"/>
                  <a:gd name="connsiteX1" fmla="*/ 196471 w 1168335"/>
                  <a:gd name="connsiteY1" fmla="*/ 891297 h 1168079"/>
                  <a:gd name="connsiteX2" fmla="*/ 197186 w 1168335"/>
                  <a:gd name="connsiteY2" fmla="*/ 899846 h 1168079"/>
                  <a:gd name="connsiteX3" fmla="*/ 184314 w 1168335"/>
                  <a:gd name="connsiteY3" fmla="*/ 911957 h 1168079"/>
                  <a:gd name="connsiteX4" fmla="*/ 129967 w 1168335"/>
                  <a:gd name="connsiteY4" fmla="*/ 966815 h 1168079"/>
                  <a:gd name="connsiteX5" fmla="*/ 129967 w 1168335"/>
                  <a:gd name="connsiteY5" fmla="*/ 1038059 h 1168079"/>
                  <a:gd name="connsiteX6" fmla="*/ 201476 w 1168335"/>
                  <a:gd name="connsiteY6" fmla="*/ 1038059 h 1168079"/>
                  <a:gd name="connsiteX7" fmla="*/ 257968 w 1168335"/>
                  <a:gd name="connsiteY7" fmla="*/ 981776 h 1168079"/>
                  <a:gd name="connsiteX8" fmla="*/ 267264 w 1168335"/>
                  <a:gd name="connsiteY8" fmla="*/ 972515 h 1168079"/>
                  <a:gd name="connsiteX9" fmla="*/ 278706 w 1168335"/>
                  <a:gd name="connsiteY9" fmla="*/ 973227 h 1168079"/>
                  <a:gd name="connsiteX10" fmla="*/ 360941 w 1168335"/>
                  <a:gd name="connsiteY10" fmla="*/ 891297 h 1168079"/>
                  <a:gd name="connsiteX11" fmla="*/ 360941 w 1168335"/>
                  <a:gd name="connsiteY11" fmla="*/ 745959 h 1168079"/>
                  <a:gd name="connsiteX12" fmla="*/ 395266 w 1168335"/>
                  <a:gd name="connsiteY12" fmla="*/ 773032 h 1168079"/>
                  <a:gd name="connsiteX13" fmla="*/ 395266 w 1168335"/>
                  <a:gd name="connsiteY13" fmla="*/ 1006712 h 1168079"/>
                  <a:gd name="connsiteX14" fmla="*/ 338773 w 1168335"/>
                  <a:gd name="connsiteY14" fmla="*/ 1064419 h 1168079"/>
                  <a:gd name="connsiteX15" fmla="*/ 282996 w 1168335"/>
                  <a:gd name="connsiteY15" fmla="*/ 1119990 h 1168079"/>
                  <a:gd name="connsiteX16" fmla="*/ 47732 w 1168335"/>
                  <a:gd name="connsiteY16" fmla="*/ 1119990 h 1168079"/>
                  <a:gd name="connsiteX17" fmla="*/ 47732 w 1168335"/>
                  <a:gd name="connsiteY17" fmla="*/ 885597 h 1168079"/>
                  <a:gd name="connsiteX18" fmla="*/ 103509 w 1168335"/>
                  <a:gd name="connsiteY18" fmla="*/ 830027 h 1168079"/>
                  <a:gd name="connsiteX19" fmla="*/ 161431 w 1168335"/>
                  <a:gd name="connsiteY19" fmla="*/ 773032 h 1168079"/>
                  <a:gd name="connsiteX20" fmla="*/ 196471 w 1168335"/>
                  <a:gd name="connsiteY20" fmla="*/ 745959 h 1168079"/>
                  <a:gd name="connsiteX21" fmla="*/ 405362 w 1168335"/>
                  <a:gd name="connsiteY21" fmla="*/ 449097 h 1168079"/>
                  <a:gd name="connsiteX22" fmla="*/ 482565 w 1168335"/>
                  <a:gd name="connsiteY22" fmla="*/ 545763 h 1168079"/>
                  <a:gd name="connsiteX23" fmla="*/ 408936 w 1168335"/>
                  <a:gd name="connsiteY23" fmla="*/ 619515 h 1168079"/>
                  <a:gd name="connsiteX24" fmla="*/ 361042 w 1168335"/>
                  <a:gd name="connsiteY24" fmla="*/ 653885 h 1168079"/>
                  <a:gd name="connsiteX25" fmla="*/ 361042 w 1168335"/>
                  <a:gd name="connsiteY25" fmla="*/ 500652 h 1168079"/>
                  <a:gd name="connsiteX26" fmla="*/ 360327 w 1168335"/>
                  <a:gd name="connsiteY26" fmla="*/ 494924 h 1168079"/>
                  <a:gd name="connsiteX27" fmla="*/ 405362 w 1168335"/>
                  <a:gd name="connsiteY27" fmla="*/ 449097 h 1168079"/>
                  <a:gd name="connsiteX28" fmla="*/ 278570 w 1168335"/>
                  <a:gd name="connsiteY28" fmla="*/ 449097 h 1168079"/>
                  <a:gd name="connsiteX29" fmla="*/ 328577 w 1168335"/>
                  <a:gd name="connsiteY29" fmla="*/ 499810 h 1168079"/>
                  <a:gd name="connsiteX30" fmla="*/ 328577 w 1168335"/>
                  <a:gd name="connsiteY30" fmla="*/ 831226 h 1168079"/>
                  <a:gd name="connsiteX31" fmla="*/ 328577 w 1168335"/>
                  <a:gd name="connsiteY31" fmla="*/ 890510 h 1168079"/>
                  <a:gd name="connsiteX32" fmla="*/ 278570 w 1168335"/>
                  <a:gd name="connsiteY32" fmla="*/ 941222 h 1168079"/>
                  <a:gd name="connsiteX33" fmla="*/ 228564 w 1168335"/>
                  <a:gd name="connsiteY33" fmla="*/ 890510 h 1168079"/>
                  <a:gd name="connsiteX34" fmla="*/ 228564 w 1168335"/>
                  <a:gd name="connsiteY34" fmla="*/ 833369 h 1168079"/>
                  <a:gd name="connsiteX35" fmla="*/ 228564 w 1168335"/>
                  <a:gd name="connsiteY35" fmla="*/ 499810 h 1168079"/>
                  <a:gd name="connsiteX36" fmla="*/ 278570 w 1168335"/>
                  <a:gd name="connsiteY36" fmla="*/ 449097 h 1168079"/>
                  <a:gd name="connsiteX37" fmla="*/ 493744 w 1168335"/>
                  <a:gd name="connsiteY37" fmla="*/ 360197 h 1168079"/>
                  <a:gd name="connsiteX38" fmla="*/ 499468 w 1168335"/>
                  <a:gd name="connsiteY38" fmla="*/ 360906 h 1168079"/>
                  <a:gd name="connsiteX39" fmla="*/ 654014 w 1168335"/>
                  <a:gd name="connsiteY39" fmla="*/ 360906 h 1168079"/>
                  <a:gd name="connsiteX40" fmla="*/ 621102 w 1168335"/>
                  <a:gd name="connsiteY40" fmla="*/ 406263 h 1168079"/>
                  <a:gd name="connsiteX41" fmla="*/ 547406 w 1168335"/>
                  <a:gd name="connsiteY41" fmla="*/ 479260 h 1168079"/>
                  <a:gd name="connsiteX42" fmla="*/ 450814 w 1168335"/>
                  <a:gd name="connsiteY42" fmla="*/ 402720 h 1168079"/>
                  <a:gd name="connsiteX43" fmla="*/ 493744 w 1168335"/>
                  <a:gd name="connsiteY43" fmla="*/ 360197 h 1168079"/>
                  <a:gd name="connsiteX44" fmla="*/ 233819 w 1168335"/>
                  <a:gd name="connsiteY44" fmla="*/ 296697 h 1168079"/>
                  <a:gd name="connsiteX45" fmla="*/ 328577 w 1168335"/>
                  <a:gd name="connsiteY45" fmla="*/ 375100 h 1168079"/>
                  <a:gd name="connsiteX46" fmla="*/ 284404 w 1168335"/>
                  <a:gd name="connsiteY46" fmla="*/ 418578 h 1168079"/>
                  <a:gd name="connsiteX47" fmla="*/ 278704 w 1168335"/>
                  <a:gd name="connsiteY47" fmla="*/ 418578 h 1168079"/>
                  <a:gd name="connsiteX48" fmla="*/ 196771 w 1168335"/>
                  <a:gd name="connsiteY48" fmla="*/ 500545 h 1168079"/>
                  <a:gd name="connsiteX49" fmla="*/ 196771 w 1168335"/>
                  <a:gd name="connsiteY49" fmla="*/ 645947 h 1168079"/>
                  <a:gd name="connsiteX50" fmla="*/ 161148 w 1168335"/>
                  <a:gd name="connsiteY50" fmla="*/ 618862 h 1168079"/>
                  <a:gd name="connsiteX51" fmla="*/ 161148 w 1168335"/>
                  <a:gd name="connsiteY51" fmla="*/ 370111 h 1168079"/>
                  <a:gd name="connsiteX52" fmla="*/ 233819 w 1168335"/>
                  <a:gd name="connsiteY52" fmla="*/ 296697 h 1168079"/>
                  <a:gd name="connsiteX53" fmla="*/ 500013 w 1168335"/>
                  <a:gd name="connsiteY53" fmla="*/ 228434 h 1168079"/>
                  <a:gd name="connsiteX54" fmla="*/ 557237 w 1168335"/>
                  <a:gd name="connsiteY54" fmla="*/ 228434 h 1168079"/>
                  <a:gd name="connsiteX55" fmla="*/ 890566 w 1168335"/>
                  <a:gd name="connsiteY55" fmla="*/ 228434 h 1168079"/>
                  <a:gd name="connsiteX56" fmla="*/ 941352 w 1168335"/>
                  <a:gd name="connsiteY56" fmla="*/ 278440 h 1168079"/>
                  <a:gd name="connsiteX57" fmla="*/ 890566 w 1168335"/>
                  <a:gd name="connsiteY57" fmla="*/ 328447 h 1168079"/>
                  <a:gd name="connsiteX58" fmla="*/ 559383 w 1168335"/>
                  <a:gd name="connsiteY58" fmla="*/ 328447 h 1168079"/>
                  <a:gd name="connsiteX59" fmla="*/ 500013 w 1168335"/>
                  <a:gd name="connsiteY59" fmla="*/ 328447 h 1168079"/>
                  <a:gd name="connsiteX60" fmla="*/ 449227 w 1168335"/>
                  <a:gd name="connsiteY60" fmla="*/ 278440 h 1168079"/>
                  <a:gd name="connsiteX61" fmla="*/ 500013 w 1168335"/>
                  <a:gd name="connsiteY61" fmla="*/ 228434 h 1168079"/>
                  <a:gd name="connsiteX62" fmla="*/ 496992 w 1168335"/>
                  <a:gd name="connsiteY62" fmla="*/ 106011 h 1168079"/>
                  <a:gd name="connsiteX63" fmla="*/ 621604 w 1168335"/>
                  <a:gd name="connsiteY63" fmla="*/ 157843 h 1168079"/>
                  <a:gd name="connsiteX64" fmla="*/ 650840 w 1168335"/>
                  <a:gd name="connsiteY64" fmla="*/ 196316 h 1168079"/>
                  <a:gd name="connsiteX65" fmla="*/ 500379 w 1168335"/>
                  <a:gd name="connsiteY65" fmla="*/ 196316 h 1168079"/>
                  <a:gd name="connsiteX66" fmla="*/ 418374 w 1168335"/>
                  <a:gd name="connsiteY66" fmla="*/ 278249 h 1168079"/>
                  <a:gd name="connsiteX67" fmla="*/ 419087 w 1168335"/>
                  <a:gd name="connsiteY67" fmla="*/ 283949 h 1168079"/>
                  <a:gd name="connsiteX68" fmla="*/ 378441 w 1168335"/>
                  <a:gd name="connsiteY68" fmla="*/ 325272 h 1168079"/>
                  <a:gd name="connsiteX69" fmla="*/ 300002 w 1168335"/>
                  <a:gd name="connsiteY69" fmla="*/ 230514 h 1168079"/>
                  <a:gd name="connsiteX70" fmla="*/ 373450 w 1168335"/>
                  <a:gd name="connsiteY70" fmla="*/ 157843 h 1168079"/>
                  <a:gd name="connsiteX71" fmla="*/ 496992 w 1168335"/>
                  <a:gd name="connsiteY71" fmla="*/ 106011 h 1168079"/>
                  <a:gd name="connsiteX72" fmla="*/ 1003047 w 1168335"/>
                  <a:gd name="connsiteY72" fmla="*/ 0 h 1168079"/>
                  <a:gd name="connsiteX73" fmla="*/ 1120625 w 1168335"/>
                  <a:gd name="connsiteY73" fmla="*/ 48124 h 1168079"/>
                  <a:gd name="connsiteX74" fmla="*/ 1120625 w 1168335"/>
                  <a:gd name="connsiteY74" fmla="*/ 282685 h 1168079"/>
                  <a:gd name="connsiteX75" fmla="*/ 1064874 w 1168335"/>
                  <a:gd name="connsiteY75" fmla="*/ 338295 h 1168079"/>
                  <a:gd name="connsiteX76" fmla="*/ 1006978 w 1168335"/>
                  <a:gd name="connsiteY76" fmla="*/ 395331 h 1168079"/>
                  <a:gd name="connsiteX77" fmla="*/ 773250 w 1168335"/>
                  <a:gd name="connsiteY77" fmla="*/ 395331 h 1168079"/>
                  <a:gd name="connsiteX78" fmla="*/ 746089 w 1168335"/>
                  <a:gd name="connsiteY78" fmla="*/ 360396 h 1168079"/>
                  <a:gd name="connsiteX79" fmla="*/ 891186 w 1168335"/>
                  <a:gd name="connsiteY79" fmla="*/ 360396 h 1168079"/>
                  <a:gd name="connsiteX80" fmla="*/ 973384 w 1168335"/>
                  <a:gd name="connsiteY80" fmla="*/ 278407 h 1168079"/>
                  <a:gd name="connsiteX81" fmla="*/ 972669 w 1168335"/>
                  <a:gd name="connsiteY81" fmla="*/ 267000 h 1168079"/>
                  <a:gd name="connsiteX82" fmla="*/ 981961 w 1168335"/>
                  <a:gd name="connsiteY82" fmla="*/ 257731 h 1168079"/>
                  <a:gd name="connsiteX83" fmla="*/ 1038427 w 1168335"/>
                  <a:gd name="connsiteY83" fmla="*/ 201408 h 1168079"/>
                  <a:gd name="connsiteX84" fmla="*/ 1038427 w 1168335"/>
                  <a:gd name="connsiteY84" fmla="*/ 130113 h 1168079"/>
                  <a:gd name="connsiteX85" fmla="*/ 966951 w 1168335"/>
                  <a:gd name="connsiteY85" fmla="*/ 130113 h 1168079"/>
                  <a:gd name="connsiteX86" fmla="*/ 911914 w 1168335"/>
                  <a:gd name="connsiteY86" fmla="*/ 184298 h 1168079"/>
                  <a:gd name="connsiteX87" fmla="*/ 899763 w 1168335"/>
                  <a:gd name="connsiteY87" fmla="*/ 197131 h 1168079"/>
                  <a:gd name="connsiteX88" fmla="*/ 891186 w 1168335"/>
                  <a:gd name="connsiteY88" fmla="*/ 196418 h 1168079"/>
                  <a:gd name="connsiteX89" fmla="*/ 746089 w 1168335"/>
                  <a:gd name="connsiteY89" fmla="*/ 196418 h 1168079"/>
                  <a:gd name="connsiteX90" fmla="*/ 773250 w 1168335"/>
                  <a:gd name="connsiteY90" fmla="*/ 161483 h 1168079"/>
                  <a:gd name="connsiteX91" fmla="*/ 829717 w 1168335"/>
                  <a:gd name="connsiteY91" fmla="*/ 103734 h 1168079"/>
                  <a:gd name="connsiteX92" fmla="*/ 885468 w 1168335"/>
                  <a:gd name="connsiteY92" fmla="*/ 48124 h 1168079"/>
                  <a:gd name="connsiteX93" fmla="*/ 1003047 w 1168335"/>
                  <a:gd name="connsiteY93" fmla="*/ 0 h 116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68335" h="1168079">
                    <a:moveTo>
                      <a:pt x="196471" y="745959"/>
                    </a:moveTo>
                    <a:cubicBezTo>
                      <a:pt x="196471" y="891297"/>
                      <a:pt x="196471" y="891297"/>
                      <a:pt x="196471" y="891297"/>
                    </a:cubicBezTo>
                    <a:cubicBezTo>
                      <a:pt x="196471" y="894146"/>
                      <a:pt x="196471" y="896996"/>
                      <a:pt x="197186" y="899846"/>
                    </a:cubicBezTo>
                    <a:cubicBezTo>
                      <a:pt x="184314" y="911957"/>
                      <a:pt x="184314" y="911957"/>
                      <a:pt x="184314" y="911957"/>
                    </a:cubicBezTo>
                    <a:cubicBezTo>
                      <a:pt x="129967" y="966815"/>
                      <a:pt x="129967" y="966815"/>
                      <a:pt x="129967" y="966815"/>
                    </a:cubicBezTo>
                    <a:cubicBezTo>
                      <a:pt x="109945" y="986764"/>
                      <a:pt x="109945" y="1018823"/>
                      <a:pt x="129967" y="1038059"/>
                    </a:cubicBezTo>
                    <a:cubicBezTo>
                      <a:pt x="149275" y="1058007"/>
                      <a:pt x="181454" y="1058007"/>
                      <a:pt x="201476" y="1038059"/>
                    </a:cubicBezTo>
                    <a:cubicBezTo>
                      <a:pt x="257968" y="981776"/>
                      <a:pt x="257968" y="981776"/>
                      <a:pt x="257968" y="981776"/>
                    </a:cubicBezTo>
                    <a:cubicBezTo>
                      <a:pt x="267264" y="972515"/>
                      <a:pt x="267264" y="972515"/>
                      <a:pt x="267264" y="972515"/>
                    </a:cubicBezTo>
                    <a:cubicBezTo>
                      <a:pt x="270840" y="972515"/>
                      <a:pt x="275130" y="973227"/>
                      <a:pt x="278706" y="973227"/>
                    </a:cubicBezTo>
                    <a:cubicBezTo>
                      <a:pt x="323757" y="973227"/>
                      <a:pt x="360941" y="936180"/>
                      <a:pt x="360941" y="891297"/>
                    </a:cubicBezTo>
                    <a:cubicBezTo>
                      <a:pt x="360941" y="745959"/>
                      <a:pt x="360941" y="745959"/>
                      <a:pt x="360941" y="745959"/>
                    </a:cubicBezTo>
                    <a:cubicBezTo>
                      <a:pt x="373098" y="753084"/>
                      <a:pt x="385254" y="761633"/>
                      <a:pt x="395266" y="773032"/>
                    </a:cubicBezTo>
                    <a:cubicBezTo>
                      <a:pt x="460339" y="837151"/>
                      <a:pt x="460339" y="942592"/>
                      <a:pt x="395266" y="1006712"/>
                    </a:cubicBezTo>
                    <a:cubicBezTo>
                      <a:pt x="338773" y="1064419"/>
                      <a:pt x="338773" y="1064419"/>
                      <a:pt x="338773" y="1064419"/>
                    </a:cubicBezTo>
                    <a:cubicBezTo>
                      <a:pt x="282996" y="1119990"/>
                      <a:pt x="282996" y="1119990"/>
                      <a:pt x="282996" y="1119990"/>
                    </a:cubicBezTo>
                    <a:cubicBezTo>
                      <a:pt x="217923" y="1184109"/>
                      <a:pt x="112805" y="1184109"/>
                      <a:pt x="47732" y="1119990"/>
                    </a:cubicBezTo>
                    <a:cubicBezTo>
                      <a:pt x="-15911" y="1055158"/>
                      <a:pt x="-15911" y="950429"/>
                      <a:pt x="47732" y="885597"/>
                    </a:cubicBezTo>
                    <a:cubicBezTo>
                      <a:pt x="103509" y="830027"/>
                      <a:pt x="103509" y="830027"/>
                      <a:pt x="103509" y="830027"/>
                    </a:cubicBezTo>
                    <a:cubicBezTo>
                      <a:pt x="161431" y="773032"/>
                      <a:pt x="161431" y="773032"/>
                      <a:pt x="161431" y="773032"/>
                    </a:cubicBezTo>
                    <a:cubicBezTo>
                      <a:pt x="172157" y="762345"/>
                      <a:pt x="183599" y="753084"/>
                      <a:pt x="196471" y="745959"/>
                    </a:cubicBezTo>
                    <a:close/>
                    <a:moveTo>
                      <a:pt x="405362" y="449097"/>
                    </a:moveTo>
                    <a:cubicBezTo>
                      <a:pt x="405362" y="449097"/>
                      <a:pt x="405362" y="449097"/>
                      <a:pt x="482565" y="545763"/>
                    </a:cubicBezTo>
                    <a:cubicBezTo>
                      <a:pt x="482565" y="545763"/>
                      <a:pt x="482565" y="545763"/>
                      <a:pt x="408936" y="619515"/>
                    </a:cubicBezTo>
                    <a:cubicBezTo>
                      <a:pt x="394639" y="633836"/>
                      <a:pt x="378913" y="645293"/>
                      <a:pt x="361042" y="653885"/>
                    </a:cubicBezTo>
                    <a:cubicBezTo>
                      <a:pt x="361042" y="653885"/>
                      <a:pt x="361042" y="653885"/>
                      <a:pt x="361042" y="500652"/>
                    </a:cubicBezTo>
                    <a:cubicBezTo>
                      <a:pt x="361042" y="498504"/>
                      <a:pt x="361042" y="497072"/>
                      <a:pt x="360327" y="494924"/>
                    </a:cubicBezTo>
                    <a:cubicBezTo>
                      <a:pt x="360327" y="494924"/>
                      <a:pt x="360327" y="494924"/>
                      <a:pt x="405362" y="449097"/>
                    </a:cubicBezTo>
                    <a:close/>
                    <a:moveTo>
                      <a:pt x="278570" y="449097"/>
                    </a:moveTo>
                    <a:cubicBezTo>
                      <a:pt x="306039" y="449097"/>
                      <a:pt x="328577" y="471953"/>
                      <a:pt x="328577" y="499810"/>
                    </a:cubicBezTo>
                    <a:cubicBezTo>
                      <a:pt x="328577" y="831226"/>
                      <a:pt x="328577" y="831226"/>
                      <a:pt x="328577" y="831226"/>
                    </a:cubicBezTo>
                    <a:cubicBezTo>
                      <a:pt x="328577" y="890510"/>
                      <a:pt x="328577" y="890510"/>
                      <a:pt x="328577" y="890510"/>
                    </a:cubicBezTo>
                    <a:cubicBezTo>
                      <a:pt x="328577" y="918366"/>
                      <a:pt x="306039" y="941222"/>
                      <a:pt x="278570" y="941222"/>
                    </a:cubicBezTo>
                    <a:cubicBezTo>
                      <a:pt x="251102" y="941222"/>
                      <a:pt x="228564" y="918366"/>
                      <a:pt x="228564" y="890510"/>
                    </a:cubicBezTo>
                    <a:cubicBezTo>
                      <a:pt x="228564" y="833369"/>
                      <a:pt x="228564" y="833369"/>
                      <a:pt x="228564" y="833369"/>
                    </a:cubicBezTo>
                    <a:cubicBezTo>
                      <a:pt x="228564" y="499810"/>
                      <a:pt x="228564" y="499810"/>
                      <a:pt x="228564" y="499810"/>
                    </a:cubicBezTo>
                    <a:cubicBezTo>
                      <a:pt x="228564" y="471953"/>
                      <a:pt x="251102" y="449097"/>
                      <a:pt x="278570" y="449097"/>
                    </a:cubicBezTo>
                    <a:close/>
                    <a:moveTo>
                      <a:pt x="493744" y="360197"/>
                    </a:moveTo>
                    <a:cubicBezTo>
                      <a:pt x="495890" y="360906"/>
                      <a:pt x="497321" y="360906"/>
                      <a:pt x="499468" y="360906"/>
                    </a:cubicBezTo>
                    <a:cubicBezTo>
                      <a:pt x="499468" y="360906"/>
                      <a:pt x="499468" y="360906"/>
                      <a:pt x="654014" y="360906"/>
                    </a:cubicBezTo>
                    <a:cubicBezTo>
                      <a:pt x="645428" y="377206"/>
                      <a:pt x="634696" y="392798"/>
                      <a:pt x="621102" y="406263"/>
                    </a:cubicBezTo>
                    <a:cubicBezTo>
                      <a:pt x="621102" y="406263"/>
                      <a:pt x="621102" y="406263"/>
                      <a:pt x="547406" y="479260"/>
                    </a:cubicBezTo>
                    <a:cubicBezTo>
                      <a:pt x="547406" y="479260"/>
                      <a:pt x="547406" y="479260"/>
                      <a:pt x="450814" y="402720"/>
                    </a:cubicBezTo>
                    <a:cubicBezTo>
                      <a:pt x="450814" y="402720"/>
                      <a:pt x="450814" y="402720"/>
                      <a:pt x="493744" y="360197"/>
                    </a:cubicBezTo>
                    <a:close/>
                    <a:moveTo>
                      <a:pt x="233819" y="296697"/>
                    </a:moveTo>
                    <a:cubicBezTo>
                      <a:pt x="233819" y="296697"/>
                      <a:pt x="233819" y="296697"/>
                      <a:pt x="328577" y="375100"/>
                    </a:cubicBezTo>
                    <a:cubicBezTo>
                      <a:pt x="328577" y="375100"/>
                      <a:pt x="328577" y="375100"/>
                      <a:pt x="284404" y="418578"/>
                    </a:cubicBezTo>
                    <a:cubicBezTo>
                      <a:pt x="282979" y="418578"/>
                      <a:pt x="280842" y="418578"/>
                      <a:pt x="278704" y="418578"/>
                    </a:cubicBezTo>
                    <a:cubicBezTo>
                      <a:pt x="233107" y="418578"/>
                      <a:pt x="196771" y="455642"/>
                      <a:pt x="196771" y="500545"/>
                    </a:cubicBezTo>
                    <a:cubicBezTo>
                      <a:pt x="196771" y="500545"/>
                      <a:pt x="196771" y="500545"/>
                      <a:pt x="196771" y="645947"/>
                    </a:cubicBezTo>
                    <a:cubicBezTo>
                      <a:pt x="183947" y="638820"/>
                      <a:pt x="171835" y="629554"/>
                      <a:pt x="161148" y="618862"/>
                    </a:cubicBezTo>
                    <a:cubicBezTo>
                      <a:pt x="92039" y="549725"/>
                      <a:pt x="92039" y="438535"/>
                      <a:pt x="161148" y="370111"/>
                    </a:cubicBezTo>
                    <a:cubicBezTo>
                      <a:pt x="161148" y="370111"/>
                      <a:pt x="161148" y="370111"/>
                      <a:pt x="233819" y="296697"/>
                    </a:cubicBezTo>
                    <a:close/>
                    <a:moveTo>
                      <a:pt x="500013" y="228434"/>
                    </a:moveTo>
                    <a:cubicBezTo>
                      <a:pt x="500013" y="228434"/>
                      <a:pt x="500013" y="228434"/>
                      <a:pt x="557237" y="228434"/>
                    </a:cubicBezTo>
                    <a:cubicBezTo>
                      <a:pt x="557237" y="228434"/>
                      <a:pt x="557237" y="228434"/>
                      <a:pt x="890566" y="228434"/>
                    </a:cubicBezTo>
                    <a:cubicBezTo>
                      <a:pt x="918463" y="228434"/>
                      <a:pt x="941352" y="250972"/>
                      <a:pt x="941352" y="278440"/>
                    </a:cubicBezTo>
                    <a:cubicBezTo>
                      <a:pt x="941352" y="305909"/>
                      <a:pt x="918463" y="328447"/>
                      <a:pt x="890566" y="328447"/>
                    </a:cubicBezTo>
                    <a:cubicBezTo>
                      <a:pt x="890566" y="328447"/>
                      <a:pt x="890566" y="328447"/>
                      <a:pt x="559383" y="328447"/>
                    </a:cubicBezTo>
                    <a:cubicBezTo>
                      <a:pt x="559383" y="328447"/>
                      <a:pt x="559383" y="328447"/>
                      <a:pt x="500013" y="328447"/>
                    </a:cubicBezTo>
                    <a:cubicBezTo>
                      <a:pt x="472117" y="328447"/>
                      <a:pt x="449227" y="305909"/>
                      <a:pt x="449227" y="278440"/>
                    </a:cubicBezTo>
                    <a:cubicBezTo>
                      <a:pt x="449227" y="250972"/>
                      <a:pt x="472117" y="228434"/>
                      <a:pt x="500013" y="228434"/>
                    </a:cubicBezTo>
                    <a:close/>
                    <a:moveTo>
                      <a:pt x="496992" y="106011"/>
                    </a:moveTo>
                    <a:cubicBezTo>
                      <a:pt x="541916" y="106011"/>
                      <a:pt x="587019" y="123288"/>
                      <a:pt x="621604" y="157843"/>
                    </a:cubicBezTo>
                    <a:cubicBezTo>
                      <a:pt x="633013" y="169242"/>
                      <a:pt x="642996" y="182067"/>
                      <a:pt x="650840" y="196316"/>
                    </a:cubicBezTo>
                    <a:cubicBezTo>
                      <a:pt x="650840" y="196316"/>
                      <a:pt x="650840" y="196316"/>
                      <a:pt x="500379" y="196316"/>
                    </a:cubicBezTo>
                    <a:cubicBezTo>
                      <a:pt x="455455" y="196316"/>
                      <a:pt x="418374" y="232652"/>
                      <a:pt x="418374" y="278249"/>
                    </a:cubicBezTo>
                    <a:cubicBezTo>
                      <a:pt x="418374" y="280387"/>
                      <a:pt x="418374" y="282524"/>
                      <a:pt x="419087" y="283949"/>
                    </a:cubicBezTo>
                    <a:cubicBezTo>
                      <a:pt x="419087" y="283949"/>
                      <a:pt x="419087" y="283949"/>
                      <a:pt x="378441" y="325272"/>
                    </a:cubicBezTo>
                    <a:cubicBezTo>
                      <a:pt x="378441" y="325272"/>
                      <a:pt x="378441" y="325272"/>
                      <a:pt x="300002" y="230514"/>
                    </a:cubicBezTo>
                    <a:cubicBezTo>
                      <a:pt x="300002" y="230514"/>
                      <a:pt x="300002" y="230514"/>
                      <a:pt x="373450" y="157843"/>
                    </a:cubicBezTo>
                    <a:cubicBezTo>
                      <a:pt x="407321" y="123288"/>
                      <a:pt x="452068" y="106011"/>
                      <a:pt x="496992" y="106011"/>
                    </a:cubicBezTo>
                    <a:close/>
                    <a:moveTo>
                      <a:pt x="1003047" y="0"/>
                    </a:moveTo>
                    <a:cubicBezTo>
                      <a:pt x="1045575" y="0"/>
                      <a:pt x="1088104" y="16042"/>
                      <a:pt x="1120625" y="48124"/>
                    </a:cubicBezTo>
                    <a:cubicBezTo>
                      <a:pt x="1184239" y="113003"/>
                      <a:pt x="1184239" y="217806"/>
                      <a:pt x="1120625" y="282685"/>
                    </a:cubicBezTo>
                    <a:cubicBezTo>
                      <a:pt x="1120625" y="282685"/>
                      <a:pt x="1120625" y="282685"/>
                      <a:pt x="1064874" y="338295"/>
                    </a:cubicBezTo>
                    <a:cubicBezTo>
                      <a:pt x="1064874" y="338295"/>
                      <a:pt x="1064874" y="338295"/>
                      <a:pt x="1006978" y="395331"/>
                    </a:cubicBezTo>
                    <a:cubicBezTo>
                      <a:pt x="942649" y="460209"/>
                      <a:pt x="836864" y="460209"/>
                      <a:pt x="773250" y="395331"/>
                    </a:cubicBezTo>
                    <a:cubicBezTo>
                      <a:pt x="761814" y="384637"/>
                      <a:pt x="753237" y="372516"/>
                      <a:pt x="746089" y="360396"/>
                    </a:cubicBezTo>
                    <a:cubicBezTo>
                      <a:pt x="746089" y="360396"/>
                      <a:pt x="746089" y="360396"/>
                      <a:pt x="891186" y="360396"/>
                    </a:cubicBezTo>
                    <a:cubicBezTo>
                      <a:pt x="936216" y="360396"/>
                      <a:pt x="973384" y="323323"/>
                      <a:pt x="973384" y="278407"/>
                    </a:cubicBezTo>
                    <a:cubicBezTo>
                      <a:pt x="973384" y="274842"/>
                      <a:pt x="972669" y="270564"/>
                      <a:pt x="972669" y="267000"/>
                    </a:cubicBezTo>
                    <a:cubicBezTo>
                      <a:pt x="972669" y="267000"/>
                      <a:pt x="972669" y="267000"/>
                      <a:pt x="981961" y="257731"/>
                    </a:cubicBezTo>
                    <a:cubicBezTo>
                      <a:pt x="981961" y="257731"/>
                      <a:pt x="981961" y="257731"/>
                      <a:pt x="1038427" y="201408"/>
                    </a:cubicBezTo>
                    <a:cubicBezTo>
                      <a:pt x="1058441" y="181446"/>
                      <a:pt x="1058441" y="149363"/>
                      <a:pt x="1038427" y="130113"/>
                    </a:cubicBezTo>
                    <a:cubicBezTo>
                      <a:pt x="1019129" y="110151"/>
                      <a:pt x="986965" y="110151"/>
                      <a:pt x="966951" y="130113"/>
                    </a:cubicBezTo>
                    <a:cubicBezTo>
                      <a:pt x="966951" y="130113"/>
                      <a:pt x="966951" y="130113"/>
                      <a:pt x="911914" y="184298"/>
                    </a:cubicBezTo>
                    <a:cubicBezTo>
                      <a:pt x="911914" y="184298"/>
                      <a:pt x="911914" y="184298"/>
                      <a:pt x="899763" y="197131"/>
                    </a:cubicBezTo>
                    <a:cubicBezTo>
                      <a:pt x="896904" y="196418"/>
                      <a:pt x="894045" y="196418"/>
                      <a:pt x="891186" y="196418"/>
                    </a:cubicBezTo>
                    <a:cubicBezTo>
                      <a:pt x="891186" y="196418"/>
                      <a:pt x="891186" y="196418"/>
                      <a:pt x="746089" y="196418"/>
                    </a:cubicBezTo>
                    <a:cubicBezTo>
                      <a:pt x="753237" y="183585"/>
                      <a:pt x="762529" y="172177"/>
                      <a:pt x="773250" y="161483"/>
                    </a:cubicBezTo>
                    <a:cubicBezTo>
                      <a:pt x="773250" y="161483"/>
                      <a:pt x="773250" y="161483"/>
                      <a:pt x="829717" y="103734"/>
                    </a:cubicBezTo>
                    <a:cubicBezTo>
                      <a:pt x="829717" y="103734"/>
                      <a:pt x="829717" y="103734"/>
                      <a:pt x="885468" y="48124"/>
                    </a:cubicBezTo>
                    <a:cubicBezTo>
                      <a:pt x="917990" y="16042"/>
                      <a:pt x="960518" y="0"/>
                      <a:pt x="1003047" y="0"/>
                    </a:cubicBezTo>
                    <a:close/>
                  </a:path>
                </a:pathLst>
              </a:custGeom>
              <a:solidFill>
                <a:srgbClr val="FFFFFF"/>
              </a:solidFill>
              <a:ln>
                <a:noFill/>
              </a:ln>
            </p:spPr>
            <p:txBody>
              <a:bodyPr vert="horz" wrap="square" lIns="90526" tIns="45263" rIns="90526" bIns="45263" numCol="1" anchor="t" anchorCtr="0" compatLnSpc="1">
                <a:prstTxWarp prst="textNoShape">
                  <a:avLst/>
                </a:prstTxWarp>
                <a:noAutofit/>
              </a:bodyPr>
              <a:lstStyle/>
              <a:p>
                <a:endParaRPr lang="en-US" sz="600" dirty="0">
                  <a:solidFill>
                    <a:srgbClr val="575757"/>
                  </a:solidFill>
                </a:endParaRPr>
              </a:p>
            </p:txBody>
          </p:sp>
        </p:grpSp>
        <p:sp>
          <p:nvSpPr>
            <p:cNvPr id="6" name="Rectangle 5">
              <a:extLst>
                <a:ext uri="{FF2B5EF4-FFF2-40B4-BE49-F238E27FC236}">
                  <a16:creationId xmlns:a16="http://schemas.microsoft.com/office/drawing/2014/main" id="{D88A99F6-51B9-7340-B292-1D6AAF628861}"/>
                </a:ext>
              </a:extLst>
            </p:cNvPr>
            <p:cNvSpPr/>
            <p:nvPr/>
          </p:nvSpPr>
          <p:spPr>
            <a:xfrm>
              <a:off x="8140024" y="5114013"/>
              <a:ext cx="1443265" cy="268627"/>
            </a:xfrm>
            <a:prstGeom prst="rect">
              <a:avLst/>
            </a:prstGeom>
          </p:spPr>
          <p:txBody>
            <a:bodyPr wrap="none" lIns="82296" tIns="41148" rIns="82296" bIns="41148">
              <a:spAutoFit/>
            </a:bodyPr>
            <a:lstStyle/>
            <a:p>
              <a:pPr marL="257175" lvl="0">
                <a:defRPr/>
              </a:pPr>
              <a:r>
                <a:rPr lang="en-US" sz="720" b="1" kern="0" dirty="0">
                  <a:solidFill>
                    <a:srgbClr val="FFFFFF"/>
                  </a:solidFill>
                </a:rPr>
                <a:t>Digital products &amp; services </a:t>
              </a:r>
            </a:p>
            <a:p>
              <a:pPr marL="257175" lvl="0">
                <a:defRPr/>
              </a:pPr>
              <a:r>
                <a:rPr lang="en-US" sz="720" b="1" kern="0" dirty="0">
                  <a:solidFill>
                    <a:srgbClr val="FFFFFF"/>
                  </a:solidFill>
                </a:rPr>
                <a:t>layer products</a:t>
              </a:r>
            </a:p>
          </p:txBody>
        </p:sp>
        <p:sp>
          <p:nvSpPr>
            <p:cNvPr id="104" name="Rectangle 103">
              <a:extLst>
                <a:ext uri="{FF2B5EF4-FFF2-40B4-BE49-F238E27FC236}">
                  <a16:creationId xmlns:a16="http://schemas.microsoft.com/office/drawing/2014/main" id="{99963EE9-4100-4B42-95F8-D7C85A82D3E1}"/>
                </a:ext>
              </a:extLst>
            </p:cNvPr>
            <p:cNvSpPr/>
            <p:nvPr/>
          </p:nvSpPr>
          <p:spPr>
            <a:xfrm>
              <a:off x="8140024" y="5521901"/>
              <a:ext cx="1203553" cy="165916"/>
            </a:xfrm>
            <a:prstGeom prst="rect">
              <a:avLst/>
            </a:prstGeom>
          </p:spPr>
          <p:txBody>
            <a:bodyPr wrap="none" lIns="82296" tIns="41148" rIns="82296" bIns="41148">
              <a:spAutoFit/>
            </a:bodyPr>
            <a:lstStyle/>
            <a:p>
              <a:pPr marL="257175" lvl="0">
                <a:defRPr/>
              </a:pPr>
              <a:r>
                <a:rPr lang="en-US" sz="720" b="1" kern="0" dirty="0">
                  <a:solidFill>
                    <a:srgbClr val="FFFFFF"/>
                  </a:solidFill>
                </a:rPr>
                <a:t>Core system products</a:t>
              </a:r>
            </a:p>
          </p:txBody>
        </p:sp>
        <p:sp>
          <p:nvSpPr>
            <p:cNvPr id="105" name="Rectangle 104">
              <a:extLst>
                <a:ext uri="{FF2B5EF4-FFF2-40B4-BE49-F238E27FC236}">
                  <a16:creationId xmlns:a16="http://schemas.microsoft.com/office/drawing/2014/main" id="{ACA62DBF-055A-304A-B60D-D61B1D153632}"/>
                </a:ext>
              </a:extLst>
            </p:cNvPr>
            <p:cNvSpPr/>
            <p:nvPr/>
          </p:nvSpPr>
          <p:spPr>
            <a:xfrm>
              <a:off x="8140024" y="5820163"/>
              <a:ext cx="1611263" cy="268627"/>
            </a:xfrm>
            <a:prstGeom prst="rect">
              <a:avLst/>
            </a:prstGeom>
          </p:spPr>
          <p:txBody>
            <a:bodyPr wrap="square" lIns="82296" tIns="41148" rIns="82296" bIns="41148">
              <a:spAutoFit/>
            </a:bodyPr>
            <a:lstStyle/>
            <a:p>
              <a:pPr marL="258604" lvl="0">
                <a:defRPr/>
              </a:pPr>
              <a:r>
                <a:rPr lang="en-US" sz="720" b="1" kern="0" dirty="0">
                  <a:solidFill>
                    <a:srgbClr val="FFFFFF"/>
                  </a:solidFill>
                </a:rPr>
                <a:t>Data &amp; analytics</a:t>
              </a:r>
            </a:p>
            <a:p>
              <a:pPr marL="258604" lvl="0">
                <a:defRPr/>
              </a:pPr>
              <a:r>
                <a:rPr lang="en-US" sz="720" b="1" kern="0" dirty="0">
                  <a:solidFill>
                    <a:srgbClr val="FFFFFF"/>
                  </a:solidFill>
                </a:rPr>
                <a:t>layer products:</a:t>
              </a:r>
            </a:p>
          </p:txBody>
        </p:sp>
        <p:sp>
          <p:nvSpPr>
            <p:cNvPr id="107" name="Rectangle 106">
              <a:extLst>
                <a:ext uri="{FF2B5EF4-FFF2-40B4-BE49-F238E27FC236}">
                  <a16:creationId xmlns:a16="http://schemas.microsoft.com/office/drawing/2014/main" id="{BB5D3C65-4FA1-9048-9F8C-532BEA15CD9C}"/>
                </a:ext>
              </a:extLst>
            </p:cNvPr>
            <p:cNvSpPr/>
            <p:nvPr/>
          </p:nvSpPr>
          <p:spPr>
            <a:xfrm>
              <a:off x="8140024" y="6175763"/>
              <a:ext cx="1611263" cy="165916"/>
            </a:xfrm>
            <a:prstGeom prst="rect">
              <a:avLst/>
            </a:prstGeom>
          </p:spPr>
          <p:txBody>
            <a:bodyPr wrap="square" lIns="82296" tIns="41148" rIns="82296" bIns="41148">
              <a:spAutoFit/>
            </a:bodyPr>
            <a:lstStyle/>
            <a:p>
              <a:pPr marL="258604" lvl="0">
                <a:defRPr/>
              </a:pPr>
              <a:r>
                <a:rPr lang="en-US" sz="720" b="1" kern="0" dirty="0">
                  <a:solidFill>
                    <a:srgbClr val="FFFFFF"/>
                  </a:solidFill>
                </a:rPr>
                <a:t>Infrastructure products:</a:t>
              </a:r>
            </a:p>
          </p:txBody>
        </p:sp>
      </p:grpSp>
      <p:pic>
        <p:nvPicPr>
          <p:cNvPr id="127" name="Picture 126">
            <a:extLst>
              <a:ext uri="{FF2B5EF4-FFF2-40B4-BE49-F238E27FC236}">
                <a16:creationId xmlns:a16="http://schemas.microsoft.com/office/drawing/2014/main" id="{1021351D-5CC1-EA44-8937-E3CF0EA9797D}"/>
              </a:ext>
            </a:extLst>
          </p:cNvPr>
          <p:cNvPicPr>
            <a:picLocks noChangeAspect="1"/>
          </p:cNvPicPr>
          <p:nvPr/>
        </p:nvPicPr>
        <p:blipFill>
          <a:blip r:embed="rId9"/>
          <a:stretch>
            <a:fillRect/>
          </a:stretch>
        </p:blipFill>
        <p:spPr>
          <a:xfrm>
            <a:off x="2984050" y="4778915"/>
            <a:ext cx="1035679" cy="269277"/>
          </a:xfrm>
          <a:prstGeom prst="rect">
            <a:avLst/>
          </a:prstGeom>
        </p:spPr>
      </p:pic>
      <p:pic>
        <p:nvPicPr>
          <p:cNvPr id="128" name="Picture 127">
            <a:extLst>
              <a:ext uri="{FF2B5EF4-FFF2-40B4-BE49-F238E27FC236}">
                <a16:creationId xmlns:a16="http://schemas.microsoft.com/office/drawing/2014/main" id="{3B75D0D2-7DAB-7E46-908B-48E4346281AC}"/>
              </a:ext>
            </a:extLst>
          </p:cNvPr>
          <p:cNvPicPr>
            <a:picLocks noChangeAspect="1"/>
          </p:cNvPicPr>
          <p:nvPr/>
        </p:nvPicPr>
        <p:blipFill>
          <a:blip r:embed="rId10"/>
          <a:stretch>
            <a:fillRect/>
          </a:stretch>
        </p:blipFill>
        <p:spPr>
          <a:xfrm>
            <a:off x="7538872" y="1612111"/>
            <a:ext cx="685581" cy="511921"/>
          </a:xfrm>
          <a:prstGeom prst="rect">
            <a:avLst/>
          </a:prstGeom>
        </p:spPr>
      </p:pic>
      <p:pic>
        <p:nvPicPr>
          <p:cNvPr id="131" name="Picture 130">
            <a:extLst>
              <a:ext uri="{FF2B5EF4-FFF2-40B4-BE49-F238E27FC236}">
                <a16:creationId xmlns:a16="http://schemas.microsoft.com/office/drawing/2014/main" id="{3AD5A9C0-6C33-A14F-B8E4-6DD8A1E98F2C}"/>
              </a:ext>
            </a:extLst>
          </p:cNvPr>
          <p:cNvPicPr>
            <a:picLocks noChangeAspect="1"/>
          </p:cNvPicPr>
          <p:nvPr/>
        </p:nvPicPr>
        <p:blipFill>
          <a:blip r:embed="rId11"/>
          <a:stretch>
            <a:fillRect/>
          </a:stretch>
        </p:blipFill>
        <p:spPr>
          <a:xfrm>
            <a:off x="1703518" y="4832953"/>
            <a:ext cx="898258" cy="269277"/>
          </a:xfrm>
          <a:prstGeom prst="rect">
            <a:avLst/>
          </a:prstGeom>
        </p:spPr>
      </p:pic>
      <p:pic>
        <p:nvPicPr>
          <p:cNvPr id="132" name="Picture 131">
            <a:extLst>
              <a:ext uri="{FF2B5EF4-FFF2-40B4-BE49-F238E27FC236}">
                <a16:creationId xmlns:a16="http://schemas.microsoft.com/office/drawing/2014/main" id="{C35E36FA-3A2A-9C47-9297-578E818661DE}"/>
              </a:ext>
            </a:extLst>
          </p:cNvPr>
          <p:cNvPicPr>
            <a:picLocks noChangeAspect="1"/>
          </p:cNvPicPr>
          <p:nvPr/>
        </p:nvPicPr>
        <p:blipFill>
          <a:blip r:embed="rId12"/>
          <a:stretch>
            <a:fillRect/>
          </a:stretch>
        </p:blipFill>
        <p:spPr>
          <a:xfrm>
            <a:off x="698363" y="4810048"/>
            <a:ext cx="647537" cy="401062"/>
          </a:xfrm>
          <a:prstGeom prst="rect">
            <a:avLst/>
          </a:prstGeom>
        </p:spPr>
      </p:pic>
      <p:pic>
        <p:nvPicPr>
          <p:cNvPr id="8" name="Picture 7">
            <a:extLst>
              <a:ext uri="{FF2B5EF4-FFF2-40B4-BE49-F238E27FC236}">
                <a16:creationId xmlns:a16="http://schemas.microsoft.com/office/drawing/2014/main" id="{0713B5E9-7CE3-E14A-8A7D-43116BBB07BE}"/>
              </a:ext>
            </a:extLst>
          </p:cNvPr>
          <p:cNvPicPr>
            <a:picLocks noChangeAspect="1"/>
          </p:cNvPicPr>
          <p:nvPr/>
        </p:nvPicPr>
        <p:blipFill>
          <a:blip r:embed="rId13"/>
          <a:stretch>
            <a:fillRect/>
          </a:stretch>
        </p:blipFill>
        <p:spPr>
          <a:xfrm>
            <a:off x="2689111" y="5343706"/>
            <a:ext cx="1254764" cy="304625"/>
          </a:xfrm>
          <a:prstGeom prst="rect">
            <a:avLst/>
          </a:prstGeom>
        </p:spPr>
      </p:pic>
      <p:pic>
        <p:nvPicPr>
          <p:cNvPr id="9" name="Picture 8">
            <a:extLst>
              <a:ext uri="{FF2B5EF4-FFF2-40B4-BE49-F238E27FC236}">
                <a16:creationId xmlns:a16="http://schemas.microsoft.com/office/drawing/2014/main" id="{9966AAB6-7743-F148-BA0D-DF6145855B69}"/>
              </a:ext>
            </a:extLst>
          </p:cNvPr>
          <p:cNvPicPr>
            <a:picLocks noChangeAspect="1"/>
          </p:cNvPicPr>
          <p:nvPr/>
        </p:nvPicPr>
        <p:blipFill>
          <a:blip r:embed="rId14"/>
          <a:stretch>
            <a:fillRect/>
          </a:stretch>
        </p:blipFill>
        <p:spPr>
          <a:xfrm>
            <a:off x="793562" y="5320449"/>
            <a:ext cx="1444205" cy="408558"/>
          </a:xfrm>
          <a:prstGeom prst="rect">
            <a:avLst/>
          </a:prstGeom>
        </p:spPr>
      </p:pic>
      <p:sp>
        <p:nvSpPr>
          <p:cNvPr id="106" name="ee4pContent1">
            <a:extLst>
              <a:ext uri="{FF2B5EF4-FFF2-40B4-BE49-F238E27FC236}">
                <a16:creationId xmlns:a16="http://schemas.microsoft.com/office/drawing/2014/main" id="{E4ECBA1D-72EB-4C67-813A-14E55D532613}"/>
              </a:ext>
            </a:extLst>
          </p:cNvPr>
          <p:cNvSpPr txBox="1"/>
          <p:nvPr/>
        </p:nvSpPr>
        <p:spPr>
          <a:xfrm>
            <a:off x="5226401" y="5280165"/>
            <a:ext cx="1804818" cy="90164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1200">
                <a:solidFill>
                  <a:srgbClr val="000000"/>
                </a:solidFill>
              </a:defRPr>
            </a:lvl1pPr>
            <a:lvl2pPr marL="324000" lvl="1" indent="-216000">
              <a:buClr>
                <a:srgbClr val="00148C"/>
              </a:buClr>
              <a:buSzPct val="100000"/>
              <a:buFont typeface="Trebuchet MS" panose="020B0603020202020204" pitchFamily="34" charset="0"/>
              <a:buChar char="•"/>
              <a:defRPr sz="1200">
                <a:solidFill>
                  <a:srgbClr val="000000"/>
                </a:solidFill>
              </a:defRPr>
            </a:lvl2pPr>
            <a:lvl3pPr marL="648000" lvl="2" indent="-216000">
              <a:buClr>
                <a:srgbClr val="00148C"/>
              </a:buClr>
              <a:buSzPct val="100000"/>
              <a:buFont typeface="Trebuchet MS" panose="020B0603020202020204" pitchFamily="34" charset="0"/>
              <a:buChar char="–"/>
              <a:defRPr sz="1200">
                <a:solidFill>
                  <a:srgbClr val="000000"/>
                </a:solidFill>
              </a:defRPr>
            </a:lvl3pPr>
            <a:lvl4pPr marL="0" lvl="3">
              <a:buClr>
                <a:srgbClr val="00148C"/>
              </a:buClr>
              <a:buSzPct val="100000"/>
              <a:buFont typeface="Trebuchet MS" panose="020B0603020202020204" pitchFamily="34" charset="0"/>
              <a:buChar char="​"/>
              <a:defRPr sz="1600" b="1">
                <a:solidFill>
                  <a:srgbClr val="00148C"/>
                </a:solidFill>
              </a:defRPr>
            </a:lvl4pPr>
            <a:lvl5pPr marL="0" lvl="4">
              <a:buClr>
                <a:srgbClr val="00148C"/>
              </a:buClr>
              <a:buSzPct val="100000"/>
              <a:buFont typeface="Trebuchet MS" panose="020B0603020202020204" pitchFamily="34" charset="0"/>
              <a:buChar char="​"/>
              <a:defRPr sz="1600" b="1">
                <a:solidFill>
                  <a:srgbClr val="000000"/>
                </a:solidFill>
              </a:defRPr>
            </a:lvl5pPr>
            <a:lvl6pPr marL="324000" lvl="5" indent="-216000">
              <a:buClr>
                <a:srgbClr val="00148C"/>
              </a:buClr>
              <a:buSzPct val="100000"/>
              <a:buFont typeface="Trebuchet MS" panose="020B0603020202020204" pitchFamily="34" charset="0"/>
              <a:buChar char="•"/>
              <a:defRPr sz="1600">
                <a:solidFill>
                  <a:srgbClr val="000000"/>
                </a:solidFill>
              </a:defRPr>
            </a:lvl6pPr>
            <a:lvl7pPr marL="0" lvl="6">
              <a:buClr>
                <a:srgbClr val="00148C"/>
              </a:buClr>
              <a:buSzPct val="100000"/>
              <a:buFont typeface="Trebuchet MS" panose="020B0603020202020204" pitchFamily="34" charset="0"/>
              <a:buChar char="​"/>
              <a:defRPr sz="4400">
                <a:solidFill>
                  <a:srgbClr val="000000"/>
                </a:solidFill>
              </a:defRPr>
            </a:lvl7pPr>
            <a:lvl8pPr marL="0" lvl="7">
              <a:buClr>
                <a:srgbClr val="00148C"/>
              </a:buClr>
              <a:buSzPct val="100000"/>
              <a:buFont typeface="Trebuchet MS" panose="020B0603020202020204" pitchFamily="34" charset="0"/>
              <a:buChar char="​"/>
              <a:defRPr sz="5400">
                <a:solidFill>
                  <a:srgbClr val="00148C"/>
                </a:solidFill>
              </a:defRPr>
            </a:lvl8pPr>
            <a:lvl9pPr marL="0" lvl="8">
              <a:buClr>
                <a:srgbClr val="00148C"/>
              </a:buClr>
              <a:buSzPct val="100000"/>
              <a:buFont typeface="Trebuchet MS" panose="020B0603020202020204" pitchFamily="34" charset="0"/>
              <a:buChar char="​"/>
              <a:defRPr sz="2400">
                <a:solidFill>
                  <a:srgbClr val="00148C"/>
                </a:solidFill>
              </a:defRPr>
            </a:lvl9pPr>
          </a:lstStyle>
          <a:p>
            <a:pPr lvl="0" algn="ctr" defTabSz="914377">
              <a:defRPr/>
            </a:pPr>
            <a:r>
              <a:rPr lang="en-US" b="1" dirty="0">
                <a:solidFill>
                  <a:srgbClr val="55555A"/>
                </a:solidFill>
                <a:latin typeface="Arial" panose="020B0604020202020204" pitchFamily="34" charset="0"/>
              </a:rPr>
              <a:t>E.g., Process Performance &amp; Improvement, Change Management, Finance</a:t>
            </a:r>
          </a:p>
        </p:txBody>
      </p:sp>
      <p:sp>
        <p:nvSpPr>
          <p:cNvPr id="108" name="NavigationTriangle">
            <a:extLst>
              <a:ext uri="{FF2B5EF4-FFF2-40B4-BE49-F238E27FC236}">
                <a16:creationId xmlns:a16="http://schemas.microsoft.com/office/drawing/2014/main" id="{A2C65ADE-B1AF-47C0-B4C4-505927324DA5}"/>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9" name="NavigationIcon">
            <a:extLst>
              <a:ext uri="{FF2B5EF4-FFF2-40B4-BE49-F238E27FC236}">
                <a16:creationId xmlns:a16="http://schemas.microsoft.com/office/drawing/2014/main" id="{6CCA8DDF-FF89-42E9-B6A2-D07CA564734A}"/>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3</a:t>
            </a:r>
          </a:p>
        </p:txBody>
      </p:sp>
    </p:spTree>
    <p:custDataLst>
      <p:tags r:id="rId2"/>
    </p:custDataLst>
    <p:extLst>
      <p:ext uri="{BB962C8B-B14F-4D97-AF65-F5344CB8AC3E}">
        <p14:creationId xmlns:p14="http://schemas.microsoft.com/office/powerpoint/2010/main" val="161899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3F0F139-0989-4BAB-8DB0-EC51536A9B91}"/>
              </a:ext>
            </a:extLst>
          </p:cNvPr>
          <p:cNvGraphicFramePr>
            <a:graphicFrameLocks noChangeAspect="1"/>
          </p:cNvGraphicFramePr>
          <p:nvPr>
            <p:custDataLst>
              <p:tags r:id="rId2"/>
            </p:custDataLst>
            <p:extLst>
              <p:ext uri="{D42A27DB-BD31-4B8C-83A1-F6EECF244321}">
                <p14:modId xmlns:p14="http://schemas.microsoft.com/office/powerpoint/2010/main" val="5940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4" name="think-cell Slide" r:id="rId5" imgW="381" imgH="381" progId="TCLayout.ActiveDocument.1">
                  <p:embed/>
                </p:oleObj>
              </mc:Choice>
              <mc:Fallback>
                <p:oleObj name="think-cell Slide" r:id="rId5" imgW="381" imgH="381" progId="TCLayout.ActiveDocument.1">
                  <p:embed/>
                  <p:pic>
                    <p:nvPicPr>
                      <p:cNvPr id="10" name="Object 9" hidden="1">
                        <a:extLst>
                          <a:ext uri="{FF2B5EF4-FFF2-40B4-BE49-F238E27FC236}">
                            <a16:creationId xmlns:a16="http://schemas.microsoft.com/office/drawing/2014/main" id="{93F0F139-0989-4BAB-8DB0-EC51536A9B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CD74448-D84D-417F-9C6A-D5A8CDB0CB3D}"/>
              </a:ext>
            </a:extLst>
          </p:cNvPr>
          <p:cNvSpPr/>
          <p:nvPr/>
        </p:nvSpPr>
        <p:spPr>
          <a:xfrm>
            <a:off x="4806008" y="1660050"/>
            <a:ext cx="6924062" cy="4544533"/>
          </a:xfrm>
          <a:prstGeom prst="rect">
            <a:avLst/>
          </a:prstGeom>
          <a:solidFill>
            <a:schemeClr val="bg2">
              <a:lumMod val="9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b="1" dirty="0">
                <a:solidFill>
                  <a:srgbClr val="55555A"/>
                </a:solidFill>
              </a:rPr>
              <a:t>Product C</a:t>
            </a:r>
          </a:p>
        </p:txBody>
      </p:sp>
      <p:sp>
        <p:nvSpPr>
          <p:cNvPr id="7" name="Title 6">
            <a:extLst>
              <a:ext uri="{FF2B5EF4-FFF2-40B4-BE49-F238E27FC236}">
                <a16:creationId xmlns:a16="http://schemas.microsoft.com/office/drawing/2014/main" id="{34C2E654-06CB-417C-86EA-7D7900728FAF}"/>
              </a:ext>
            </a:extLst>
          </p:cNvPr>
          <p:cNvSpPr>
            <a:spLocks noGrp="1"/>
          </p:cNvSpPr>
          <p:nvPr>
            <p:ph type="title"/>
          </p:nvPr>
        </p:nvSpPr>
        <p:spPr>
          <a:xfrm>
            <a:off x="630000" y="622800"/>
            <a:ext cx="10933200" cy="443198"/>
          </a:xfrm>
          <a:prstGeom prst="rect">
            <a:avLst/>
          </a:prstGeom>
        </p:spPr>
        <p:txBody>
          <a:bodyPr vert="horz">
            <a:spAutoFit/>
          </a:bodyPr>
          <a:lstStyle/>
          <a:p>
            <a:r>
              <a:rPr lang="en-US" dirty="0"/>
              <a:t>Overview of product and product line roles</a:t>
            </a:r>
          </a:p>
        </p:txBody>
      </p:sp>
      <p:sp>
        <p:nvSpPr>
          <p:cNvPr id="46" name="Rectangle 45">
            <a:extLst>
              <a:ext uri="{FF2B5EF4-FFF2-40B4-BE49-F238E27FC236}">
                <a16:creationId xmlns:a16="http://schemas.microsoft.com/office/drawing/2014/main" id="{3D1A232E-0E80-4AD0-B7F3-314A6BBDF695}"/>
              </a:ext>
            </a:extLst>
          </p:cNvPr>
          <p:cNvSpPr/>
          <p:nvPr/>
        </p:nvSpPr>
        <p:spPr>
          <a:xfrm>
            <a:off x="9953251" y="4081016"/>
            <a:ext cx="1590406" cy="2035865"/>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2">
                    <a:lumMod val="9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rgbClr val="55555A"/>
                </a:solidFill>
              </a:rPr>
              <a:t>Typically includes 2-4 squads</a:t>
            </a:r>
          </a:p>
          <a:p>
            <a:endParaRPr lang="en-US" sz="1400" dirty="0">
              <a:solidFill>
                <a:srgbClr val="55555A"/>
              </a:solidFill>
            </a:endParaRPr>
          </a:p>
          <a:p>
            <a:r>
              <a:rPr lang="en-US" sz="1400" dirty="0">
                <a:solidFill>
                  <a:srgbClr val="55555A"/>
                </a:solidFill>
              </a:rPr>
              <a:t>Individual squad configuration will vary based on specific needs</a:t>
            </a:r>
          </a:p>
          <a:p>
            <a:endParaRPr lang="en-US" sz="1400" dirty="0">
              <a:solidFill>
                <a:srgbClr val="55555A"/>
              </a:solidFill>
            </a:endParaRPr>
          </a:p>
          <a:p>
            <a:endParaRPr lang="en-US" sz="1400" dirty="0">
              <a:solidFill>
                <a:srgbClr val="55555A"/>
              </a:solidFill>
            </a:endParaRPr>
          </a:p>
        </p:txBody>
      </p:sp>
      <p:sp>
        <p:nvSpPr>
          <p:cNvPr id="55" name="Rectangle: Rounded Corners 54">
            <a:extLst>
              <a:ext uri="{FF2B5EF4-FFF2-40B4-BE49-F238E27FC236}">
                <a16:creationId xmlns:a16="http://schemas.microsoft.com/office/drawing/2014/main" id="{A8E65B60-5FA3-4BD9-BA36-CBF51C6C421D}"/>
              </a:ext>
            </a:extLst>
          </p:cNvPr>
          <p:cNvSpPr/>
          <p:nvPr/>
        </p:nvSpPr>
        <p:spPr>
          <a:xfrm>
            <a:off x="5598359" y="2288054"/>
            <a:ext cx="4236702" cy="3799231"/>
          </a:xfrm>
          <a:prstGeom prst="roundRect">
            <a:avLst/>
          </a:prstGeom>
          <a:solidFill>
            <a:srgbClr val="F2F2F2"/>
          </a:solidFill>
          <a:ln w="9525" cap="rnd" cmpd="sng" algn="ctr">
            <a:solidFill>
              <a:srgbClr val="A6A6A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None/>
            </a:pPr>
            <a:endParaRPr lang="en-US" sz="1600" b="1" dirty="0">
              <a:solidFill>
                <a:srgbClr val="000000"/>
              </a:solidFill>
            </a:endParaRPr>
          </a:p>
        </p:txBody>
      </p:sp>
      <p:sp>
        <p:nvSpPr>
          <p:cNvPr id="54" name="Rectangle: Rounded Corners 53">
            <a:extLst>
              <a:ext uri="{FF2B5EF4-FFF2-40B4-BE49-F238E27FC236}">
                <a16:creationId xmlns:a16="http://schemas.microsoft.com/office/drawing/2014/main" id="{E43403C5-5B33-463B-8127-99E8FBDC69B1}"/>
              </a:ext>
            </a:extLst>
          </p:cNvPr>
          <p:cNvSpPr/>
          <p:nvPr/>
        </p:nvSpPr>
        <p:spPr>
          <a:xfrm>
            <a:off x="5240666" y="2188676"/>
            <a:ext cx="4236702" cy="3799231"/>
          </a:xfrm>
          <a:prstGeom prst="roundRect">
            <a:avLst/>
          </a:prstGeom>
          <a:solidFill>
            <a:srgbClr val="F2F2F2"/>
          </a:solidFill>
          <a:ln w="9525" cap="rnd" cmpd="sng" algn="ctr">
            <a:solidFill>
              <a:srgbClr val="A6A6A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None/>
            </a:pPr>
            <a:endParaRPr lang="en-US" sz="1600" b="1" dirty="0">
              <a:solidFill>
                <a:srgbClr val="000000"/>
              </a:solidFill>
            </a:endParaRPr>
          </a:p>
        </p:txBody>
      </p:sp>
      <p:sp>
        <p:nvSpPr>
          <p:cNvPr id="8" name="Rectangle: Rounded Corners 7">
            <a:extLst>
              <a:ext uri="{FF2B5EF4-FFF2-40B4-BE49-F238E27FC236}">
                <a16:creationId xmlns:a16="http://schemas.microsoft.com/office/drawing/2014/main" id="{87DB2864-5B52-431D-81BE-2ED3989BD580}"/>
              </a:ext>
            </a:extLst>
          </p:cNvPr>
          <p:cNvSpPr/>
          <p:nvPr/>
        </p:nvSpPr>
        <p:spPr>
          <a:xfrm>
            <a:off x="4919542" y="2089298"/>
            <a:ext cx="4236702" cy="3799231"/>
          </a:xfrm>
          <a:prstGeom prst="roundRect">
            <a:avLst/>
          </a:prstGeom>
          <a:solidFill>
            <a:srgbClr val="F2F2F2"/>
          </a:solidFill>
          <a:ln w="9525" cap="rnd" cmpd="sng" algn="ctr">
            <a:solidFill>
              <a:srgbClr val="A6A6A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algn="ctr">
              <a:buNone/>
            </a:pPr>
            <a:r>
              <a:rPr lang="en-US" sz="1600" b="1" dirty="0">
                <a:solidFill>
                  <a:srgbClr val="000000"/>
                </a:solidFill>
              </a:rPr>
              <a:t>Typical squad roles</a:t>
            </a:r>
          </a:p>
        </p:txBody>
      </p:sp>
      <p:grpSp>
        <p:nvGrpSpPr>
          <p:cNvPr id="9" name="Google Shape;18115;p1604">
            <a:extLst>
              <a:ext uri="{FF2B5EF4-FFF2-40B4-BE49-F238E27FC236}">
                <a16:creationId xmlns:a16="http://schemas.microsoft.com/office/drawing/2014/main" id="{459CB26F-4492-44F7-8645-23419B2EFA9E}"/>
              </a:ext>
            </a:extLst>
          </p:cNvPr>
          <p:cNvGrpSpPr/>
          <p:nvPr/>
        </p:nvGrpSpPr>
        <p:grpSpPr>
          <a:xfrm>
            <a:off x="9912586" y="1751158"/>
            <a:ext cx="346511" cy="346515"/>
            <a:chOff x="1932810" y="1349835"/>
            <a:chExt cx="185335" cy="185337"/>
          </a:xfrm>
          <a:solidFill>
            <a:schemeClr val="tx2"/>
          </a:solidFill>
        </p:grpSpPr>
        <p:sp>
          <p:nvSpPr>
            <p:cNvPr id="11" name="Google Shape;18116;p1604">
              <a:extLst>
                <a:ext uri="{FF2B5EF4-FFF2-40B4-BE49-F238E27FC236}">
                  <a16:creationId xmlns:a16="http://schemas.microsoft.com/office/drawing/2014/main" id="{8522D6E8-80B8-48AE-A387-82A476DC95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 name="Google Shape;18117;p1604">
              <a:extLst>
                <a:ext uri="{FF2B5EF4-FFF2-40B4-BE49-F238E27FC236}">
                  <a16:creationId xmlns:a16="http://schemas.microsoft.com/office/drawing/2014/main" id="{B6831A26-852B-4FA0-BDA0-0181DF15DB4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3" name="TextBox 2">
            <a:extLst>
              <a:ext uri="{FF2B5EF4-FFF2-40B4-BE49-F238E27FC236}">
                <a16:creationId xmlns:a16="http://schemas.microsoft.com/office/drawing/2014/main" id="{963A9FCF-E3C5-4F01-BF74-C13793B39359}"/>
              </a:ext>
            </a:extLst>
          </p:cNvPr>
          <p:cNvSpPr txBox="1"/>
          <p:nvPr/>
        </p:nvSpPr>
        <p:spPr>
          <a:xfrm>
            <a:off x="7805230" y="2797600"/>
            <a:ext cx="1173134"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000000"/>
                </a:solidFill>
              </a:rPr>
              <a:t>Digital Business Manager</a:t>
            </a:r>
          </a:p>
        </p:txBody>
      </p:sp>
      <p:sp>
        <p:nvSpPr>
          <p:cNvPr id="37" name="TextBox 36">
            <a:extLst>
              <a:ext uri="{FF2B5EF4-FFF2-40B4-BE49-F238E27FC236}">
                <a16:creationId xmlns:a16="http://schemas.microsoft.com/office/drawing/2014/main" id="{A9030CBE-DC5F-4E4B-8543-EE29F9F5C222}"/>
              </a:ext>
            </a:extLst>
          </p:cNvPr>
          <p:cNvSpPr txBox="1"/>
          <p:nvPr/>
        </p:nvSpPr>
        <p:spPr>
          <a:xfrm>
            <a:off x="5204739" y="2797600"/>
            <a:ext cx="1173134"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000000"/>
                </a:solidFill>
              </a:rPr>
              <a:t>Product Manager</a:t>
            </a:r>
          </a:p>
        </p:txBody>
      </p:sp>
      <p:sp>
        <p:nvSpPr>
          <p:cNvPr id="38" name="TextBox 37">
            <a:extLst>
              <a:ext uri="{FF2B5EF4-FFF2-40B4-BE49-F238E27FC236}">
                <a16:creationId xmlns:a16="http://schemas.microsoft.com/office/drawing/2014/main" id="{9635A492-C594-44A3-A273-4B5FF49957EF}"/>
              </a:ext>
            </a:extLst>
          </p:cNvPr>
          <p:cNvSpPr txBox="1"/>
          <p:nvPr/>
        </p:nvSpPr>
        <p:spPr>
          <a:xfrm>
            <a:off x="4856139" y="3499203"/>
            <a:ext cx="1173134"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000000"/>
                </a:solidFill>
              </a:rPr>
              <a:t>Design </a:t>
            </a:r>
            <a:r>
              <a:rPr lang="en-US" sz="1100" b="1" dirty="0" err="1">
                <a:solidFill>
                  <a:srgbClr val="000000"/>
                </a:solidFill>
              </a:rPr>
              <a:t>Mgr</a:t>
            </a:r>
            <a:r>
              <a:rPr lang="en-US" sz="1100" b="1" dirty="0">
                <a:solidFill>
                  <a:srgbClr val="000000"/>
                </a:solidFill>
              </a:rPr>
              <a:t>, Product Designer</a:t>
            </a:r>
          </a:p>
        </p:txBody>
      </p:sp>
      <p:sp>
        <p:nvSpPr>
          <p:cNvPr id="39" name="TextBox 38">
            <a:extLst>
              <a:ext uri="{FF2B5EF4-FFF2-40B4-BE49-F238E27FC236}">
                <a16:creationId xmlns:a16="http://schemas.microsoft.com/office/drawing/2014/main" id="{9A3E7F94-2E4F-4F36-9EDE-5ECBD0A64F63}"/>
              </a:ext>
            </a:extLst>
          </p:cNvPr>
          <p:cNvSpPr txBox="1"/>
          <p:nvPr/>
        </p:nvSpPr>
        <p:spPr>
          <a:xfrm>
            <a:off x="8153595" y="3639475"/>
            <a:ext cx="1173134"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err="1">
                <a:solidFill>
                  <a:srgbClr val="000000"/>
                </a:solidFill>
              </a:rPr>
              <a:t>UX</a:t>
            </a:r>
            <a:r>
              <a:rPr lang="en-US" sz="1100" b="1" dirty="0">
                <a:solidFill>
                  <a:srgbClr val="000000"/>
                </a:solidFill>
              </a:rPr>
              <a:t> Researcher</a:t>
            </a:r>
          </a:p>
        </p:txBody>
      </p:sp>
      <p:sp>
        <p:nvSpPr>
          <p:cNvPr id="40" name="TextBox 39">
            <a:extLst>
              <a:ext uri="{FF2B5EF4-FFF2-40B4-BE49-F238E27FC236}">
                <a16:creationId xmlns:a16="http://schemas.microsoft.com/office/drawing/2014/main" id="{37BF63B3-4B56-419A-B0ED-3905DAD3332E}"/>
              </a:ext>
            </a:extLst>
          </p:cNvPr>
          <p:cNvSpPr txBox="1"/>
          <p:nvPr/>
        </p:nvSpPr>
        <p:spPr>
          <a:xfrm>
            <a:off x="7620524" y="5075186"/>
            <a:ext cx="1395162"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000000"/>
                </a:solidFill>
              </a:rPr>
              <a:t>SW </a:t>
            </a:r>
            <a:r>
              <a:rPr lang="en-US" sz="1100" b="1" dirty="0" err="1">
                <a:solidFill>
                  <a:srgbClr val="000000"/>
                </a:solidFill>
              </a:rPr>
              <a:t>Eng</a:t>
            </a:r>
            <a:r>
              <a:rPr lang="en-US" sz="1100" b="1" dirty="0">
                <a:solidFill>
                  <a:srgbClr val="000000"/>
                </a:solidFill>
              </a:rPr>
              <a:t> Manager, Engineers, Sol Architects (2-3)</a:t>
            </a:r>
          </a:p>
        </p:txBody>
      </p:sp>
      <p:sp>
        <p:nvSpPr>
          <p:cNvPr id="42" name="TextBox 41">
            <a:extLst>
              <a:ext uri="{FF2B5EF4-FFF2-40B4-BE49-F238E27FC236}">
                <a16:creationId xmlns:a16="http://schemas.microsoft.com/office/drawing/2014/main" id="{2F482DA3-565B-4DF3-A7B0-E97207AE9BFD}"/>
              </a:ext>
            </a:extLst>
          </p:cNvPr>
          <p:cNvSpPr txBox="1"/>
          <p:nvPr/>
        </p:nvSpPr>
        <p:spPr>
          <a:xfrm>
            <a:off x="5724588" y="5199558"/>
            <a:ext cx="1173134"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000000"/>
                </a:solidFill>
              </a:rPr>
              <a:t>Business SMEs</a:t>
            </a:r>
          </a:p>
        </p:txBody>
      </p:sp>
      <p:sp>
        <p:nvSpPr>
          <p:cNvPr id="53" name="TextBox 52">
            <a:extLst>
              <a:ext uri="{FF2B5EF4-FFF2-40B4-BE49-F238E27FC236}">
                <a16:creationId xmlns:a16="http://schemas.microsoft.com/office/drawing/2014/main" id="{7423FFBD-C0BF-41AB-9659-505ECC56DE30}"/>
              </a:ext>
            </a:extLst>
          </p:cNvPr>
          <p:cNvSpPr txBox="1"/>
          <p:nvPr/>
        </p:nvSpPr>
        <p:spPr>
          <a:xfrm>
            <a:off x="4743421" y="4903922"/>
            <a:ext cx="1173134"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000000"/>
                </a:solidFill>
              </a:rPr>
              <a:t>Enabling functions (partial time)</a:t>
            </a:r>
          </a:p>
        </p:txBody>
      </p:sp>
      <p:sp>
        <p:nvSpPr>
          <p:cNvPr id="56" name="TextBox 55">
            <a:extLst>
              <a:ext uri="{FF2B5EF4-FFF2-40B4-BE49-F238E27FC236}">
                <a16:creationId xmlns:a16="http://schemas.microsoft.com/office/drawing/2014/main" id="{91669192-FDFD-4075-B257-72C9D5ECBB0E}"/>
              </a:ext>
            </a:extLst>
          </p:cNvPr>
          <p:cNvSpPr txBox="1"/>
          <p:nvPr/>
        </p:nvSpPr>
        <p:spPr>
          <a:xfrm>
            <a:off x="10218269" y="1704029"/>
            <a:ext cx="1515466"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000000"/>
                </a:solidFill>
              </a:rPr>
              <a:t>Digital Business Lead</a:t>
            </a:r>
          </a:p>
        </p:txBody>
      </p:sp>
      <p:grpSp>
        <p:nvGrpSpPr>
          <p:cNvPr id="57" name="Google Shape;18115;p1604">
            <a:extLst>
              <a:ext uri="{FF2B5EF4-FFF2-40B4-BE49-F238E27FC236}">
                <a16:creationId xmlns:a16="http://schemas.microsoft.com/office/drawing/2014/main" id="{87CB94BE-7C71-40FD-827D-0850972399AF}"/>
              </a:ext>
            </a:extLst>
          </p:cNvPr>
          <p:cNvGrpSpPr/>
          <p:nvPr/>
        </p:nvGrpSpPr>
        <p:grpSpPr>
          <a:xfrm>
            <a:off x="9912586" y="2314363"/>
            <a:ext cx="346511" cy="346515"/>
            <a:chOff x="1932810" y="1349835"/>
            <a:chExt cx="185335" cy="185337"/>
          </a:xfrm>
          <a:solidFill>
            <a:schemeClr val="tx2"/>
          </a:solidFill>
        </p:grpSpPr>
        <p:sp>
          <p:nvSpPr>
            <p:cNvPr id="58" name="Google Shape;18116;p1604">
              <a:extLst>
                <a:ext uri="{FF2B5EF4-FFF2-40B4-BE49-F238E27FC236}">
                  <a16:creationId xmlns:a16="http://schemas.microsoft.com/office/drawing/2014/main" id="{73B56D51-824F-4F05-9F3A-3BCC433AA3C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9" name="Google Shape;18117;p1604">
              <a:extLst>
                <a:ext uri="{FF2B5EF4-FFF2-40B4-BE49-F238E27FC236}">
                  <a16:creationId xmlns:a16="http://schemas.microsoft.com/office/drawing/2014/main" id="{9CEF7219-8358-4F63-BB6E-B773516FF8E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60" name="TextBox 59">
            <a:extLst>
              <a:ext uri="{FF2B5EF4-FFF2-40B4-BE49-F238E27FC236}">
                <a16:creationId xmlns:a16="http://schemas.microsoft.com/office/drawing/2014/main" id="{C7EBB429-9A12-4D8D-8E5B-D25B5E71DEB6}"/>
              </a:ext>
            </a:extLst>
          </p:cNvPr>
          <p:cNvSpPr txBox="1"/>
          <p:nvPr/>
        </p:nvSpPr>
        <p:spPr>
          <a:xfrm>
            <a:off x="10218269" y="2267234"/>
            <a:ext cx="1515466"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000000"/>
                </a:solidFill>
              </a:rPr>
              <a:t>Lead Product Manager</a:t>
            </a:r>
          </a:p>
        </p:txBody>
      </p:sp>
      <p:grpSp>
        <p:nvGrpSpPr>
          <p:cNvPr id="19" name="Google Shape;18115;p1604">
            <a:extLst>
              <a:ext uri="{FF2B5EF4-FFF2-40B4-BE49-F238E27FC236}">
                <a16:creationId xmlns:a16="http://schemas.microsoft.com/office/drawing/2014/main" id="{206769D7-6942-478B-AA28-40F142D46520}"/>
              </a:ext>
            </a:extLst>
          </p:cNvPr>
          <p:cNvGrpSpPr/>
          <p:nvPr/>
        </p:nvGrpSpPr>
        <p:grpSpPr>
          <a:xfrm>
            <a:off x="7484199" y="2895747"/>
            <a:ext cx="346511" cy="346515"/>
            <a:chOff x="1932810" y="1349835"/>
            <a:chExt cx="185335" cy="185337"/>
          </a:xfrm>
          <a:solidFill>
            <a:schemeClr val="tx2"/>
          </a:solidFill>
        </p:grpSpPr>
        <p:sp>
          <p:nvSpPr>
            <p:cNvPr id="20" name="Google Shape;18116;p1604">
              <a:extLst>
                <a:ext uri="{FF2B5EF4-FFF2-40B4-BE49-F238E27FC236}">
                  <a16:creationId xmlns:a16="http://schemas.microsoft.com/office/drawing/2014/main" id="{74E529EF-9F00-40C4-B484-2793B8B6839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1" name="Google Shape;18117;p1604">
              <a:extLst>
                <a:ext uri="{FF2B5EF4-FFF2-40B4-BE49-F238E27FC236}">
                  <a16:creationId xmlns:a16="http://schemas.microsoft.com/office/drawing/2014/main" id="{34ECD9D5-8D38-4130-BAA8-DA78FEB77B5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2" name="Oval 1">
            <a:extLst>
              <a:ext uri="{FF2B5EF4-FFF2-40B4-BE49-F238E27FC236}">
                <a16:creationId xmlns:a16="http://schemas.microsoft.com/office/drawing/2014/main" id="{DE7018A5-24C9-44E1-9A34-81172D84C5B9}"/>
              </a:ext>
            </a:extLst>
          </p:cNvPr>
          <p:cNvSpPr/>
          <p:nvPr/>
        </p:nvSpPr>
        <p:spPr>
          <a:xfrm>
            <a:off x="5914482" y="2953758"/>
            <a:ext cx="2321515" cy="2321515"/>
          </a:xfrm>
          <a:prstGeom prst="ellipse">
            <a:avLst/>
          </a:prstGeom>
          <a:noFill/>
          <a:ln w="2857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8" name="Google Shape;18115;p1604">
            <a:extLst>
              <a:ext uri="{FF2B5EF4-FFF2-40B4-BE49-F238E27FC236}">
                <a16:creationId xmlns:a16="http://schemas.microsoft.com/office/drawing/2014/main" id="{879E46F3-7483-42BF-BF60-663104EE1B47}"/>
              </a:ext>
            </a:extLst>
          </p:cNvPr>
          <p:cNvGrpSpPr/>
          <p:nvPr/>
        </p:nvGrpSpPr>
        <p:grpSpPr>
          <a:xfrm>
            <a:off x="7802757" y="4638084"/>
            <a:ext cx="346511" cy="346515"/>
            <a:chOff x="1932810" y="1349835"/>
            <a:chExt cx="185335" cy="185337"/>
          </a:xfrm>
          <a:solidFill>
            <a:schemeClr val="tx2"/>
          </a:solidFill>
        </p:grpSpPr>
        <p:sp>
          <p:nvSpPr>
            <p:cNvPr id="29" name="Google Shape;18116;p1604">
              <a:extLst>
                <a:ext uri="{FF2B5EF4-FFF2-40B4-BE49-F238E27FC236}">
                  <a16:creationId xmlns:a16="http://schemas.microsoft.com/office/drawing/2014/main" id="{E8BA30AB-F4A7-4785-BDCE-31C88FE0F40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30" name="Google Shape;18117;p1604">
              <a:extLst>
                <a:ext uri="{FF2B5EF4-FFF2-40B4-BE49-F238E27FC236}">
                  <a16:creationId xmlns:a16="http://schemas.microsoft.com/office/drawing/2014/main" id="{C123B278-921C-4E30-B842-C8E60D825E8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31" name="Google Shape;18115;p1604">
            <a:extLst>
              <a:ext uri="{FF2B5EF4-FFF2-40B4-BE49-F238E27FC236}">
                <a16:creationId xmlns:a16="http://schemas.microsoft.com/office/drawing/2014/main" id="{7DE17E6D-833F-4715-AC77-0FAC324A9C5E}"/>
              </a:ext>
            </a:extLst>
          </p:cNvPr>
          <p:cNvGrpSpPr/>
          <p:nvPr/>
        </p:nvGrpSpPr>
        <p:grpSpPr>
          <a:xfrm>
            <a:off x="6848674" y="5047564"/>
            <a:ext cx="346511" cy="346515"/>
            <a:chOff x="1932810" y="1349835"/>
            <a:chExt cx="185335" cy="185337"/>
          </a:xfrm>
          <a:solidFill>
            <a:schemeClr val="tx2"/>
          </a:solidFill>
        </p:grpSpPr>
        <p:sp>
          <p:nvSpPr>
            <p:cNvPr id="32" name="Google Shape;18116;p1604">
              <a:extLst>
                <a:ext uri="{FF2B5EF4-FFF2-40B4-BE49-F238E27FC236}">
                  <a16:creationId xmlns:a16="http://schemas.microsoft.com/office/drawing/2014/main" id="{DE1343AF-87FE-401C-9667-2249EB05FB5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33" name="Google Shape;18117;p1604">
              <a:extLst>
                <a:ext uri="{FF2B5EF4-FFF2-40B4-BE49-F238E27FC236}">
                  <a16:creationId xmlns:a16="http://schemas.microsoft.com/office/drawing/2014/main" id="{76DDEF1B-53F7-4C9B-BFA2-ED79B5F4653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34" name="Google Shape;18115;p1604">
            <a:extLst>
              <a:ext uri="{FF2B5EF4-FFF2-40B4-BE49-F238E27FC236}">
                <a16:creationId xmlns:a16="http://schemas.microsoft.com/office/drawing/2014/main" id="{864EEA0A-6A63-4D88-A229-46263B05BEB4}"/>
              </a:ext>
            </a:extLst>
          </p:cNvPr>
          <p:cNvGrpSpPr/>
          <p:nvPr/>
        </p:nvGrpSpPr>
        <p:grpSpPr>
          <a:xfrm>
            <a:off x="5781764" y="3734501"/>
            <a:ext cx="346511" cy="346515"/>
            <a:chOff x="1932810" y="1349835"/>
            <a:chExt cx="185335" cy="185337"/>
          </a:xfrm>
          <a:solidFill>
            <a:schemeClr val="tx2"/>
          </a:solidFill>
        </p:grpSpPr>
        <p:sp>
          <p:nvSpPr>
            <p:cNvPr id="35" name="Google Shape;18116;p1604">
              <a:extLst>
                <a:ext uri="{FF2B5EF4-FFF2-40B4-BE49-F238E27FC236}">
                  <a16:creationId xmlns:a16="http://schemas.microsoft.com/office/drawing/2014/main" id="{B73FF7BC-770D-483A-8941-AFE414B3F9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36" name="Google Shape;18117;p1604">
              <a:extLst>
                <a:ext uri="{FF2B5EF4-FFF2-40B4-BE49-F238E27FC236}">
                  <a16:creationId xmlns:a16="http://schemas.microsoft.com/office/drawing/2014/main" id="{0B95D4A6-B973-4C27-A2DD-D511C684232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43" name="Google Shape;18115;p1604">
            <a:extLst>
              <a:ext uri="{FF2B5EF4-FFF2-40B4-BE49-F238E27FC236}">
                <a16:creationId xmlns:a16="http://schemas.microsoft.com/office/drawing/2014/main" id="{D7D02D11-1B3E-4763-BB37-9835808B30EA}"/>
              </a:ext>
            </a:extLst>
          </p:cNvPr>
          <p:cNvGrpSpPr/>
          <p:nvPr/>
        </p:nvGrpSpPr>
        <p:grpSpPr>
          <a:xfrm>
            <a:off x="8154788" y="4638084"/>
            <a:ext cx="346511" cy="346515"/>
            <a:chOff x="1932810" y="1349835"/>
            <a:chExt cx="185335" cy="185337"/>
          </a:xfrm>
          <a:solidFill>
            <a:schemeClr val="tx2"/>
          </a:solidFill>
        </p:grpSpPr>
        <p:sp>
          <p:nvSpPr>
            <p:cNvPr id="44" name="Google Shape;18116;p1604">
              <a:extLst>
                <a:ext uri="{FF2B5EF4-FFF2-40B4-BE49-F238E27FC236}">
                  <a16:creationId xmlns:a16="http://schemas.microsoft.com/office/drawing/2014/main" id="{71C54BDE-38D6-4145-BEB6-DB1ACB2A3DC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45" name="Google Shape;18117;p1604">
              <a:extLst>
                <a:ext uri="{FF2B5EF4-FFF2-40B4-BE49-F238E27FC236}">
                  <a16:creationId xmlns:a16="http://schemas.microsoft.com/office/drawing/2014/main" id="{151EE49E-03F9-4063-A9F8-7D0C8C24132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0" name="Google Shape;18115;p1604">
            <a:extLst>
              <a:ext uri="{FF2B5EF4-FFF2-40B4-BE49-F238E27FC236}">
                <a16:creationId xmlns:a16="http://schemas.microsoft.com/office/drawing/2014/main" id="{B5EEBE91-24B2-46D3-8A07-9D93EE7209AA}"/>
              </a:ext>
            </a:extLst>
          </p:cNvPr>
          <p:cNvGrpSpPr/>
          <p:nvPr/>
        </p:nvGrpSpPr>
        <p:grpSpPr>
          <a:xfrm>
            <a:off x="5167869" y="4576458"/>
            <a:ext cx="346511" cy="346515"/>
            <a:chOff x="1932810" y="1349835"/>
            <a:chExt cx="185335" cy="185337"/>
          </a:xfrm>
          <a:solidFill>
            <a:schemeClr val="tx2"/>
          </a:solidFill>
        </p:grpSpPr>
        <p:sp>
          <p:nvSpPr>
            <p:cNvPr id="51" name="Google Shape;18116;p1604">
              <a:extLst>
                <a:ext uri="{FF2B5EF4-FFF2-40B4-BE49-F238E27FC236}">
                  <a16:creationId xmlns:a16="http://schemas.microsoft.com/office/drawing/2014/main" id="{A290ADBC-CB1F-4C7A-95B0-46FF789C9B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2" name="Google Shape;18117;p1604">
              <a:extLst>
                <a:ext uri="{FF2B5EF4-FFF2-40B4-BE49-F238E27FC236}">
                  <a16:creationId xmlns:a16="http://schemas.microsoft.com/office/drawing/2014/main" id="{143825BB-A717-4D9F-907A-40B43D7B980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6" name="Google Shape;18115;p1604">
            <a:extLst>
              <a:ext uri="{FF2B5EF4-FFF2-40B4-BE49-F238E27FC236}">
                <a16:creationId xmlns:a16="http://schemas.microsoft.com/office/drawing/2014/main" id="{6A169789-4A7C-4E6F-BFD9-AA92D10B8D88}"/>
              </a:ext>
            </a:extLst>
          </p:cNvPr>
          <p:cNvGrpSpPr/>
          <p:nvPr/>
        </p:nvGrpSpPr>
        <p:grpSpPr>
          <a:xfrm>
            <a:off x="8033879" y="3702101"/>
            <a:ext cx="346511" cy="346515"/>
            <a:chOff x="1932810" y="1349835"/>
            <a:chExt cx="185335" cy="185337"/>
          </a:xfrm>
          <a:solidFill>
            <a:schemeClr val="tx2"/>
          </a:solidFill>
        </p:grpSpPr>
        <p:sp>
          <p:nvSpPr>
            <p:cNvPr id="17" name="Google Shape;18116;p1604">
              <a:extLst>
                <a:ext uri="{FF2B5EF4-FFF2-40B4-BE49-F238E27FC236}">
                  <a16:creationId xmlns:a16="http://schemas.microsoft.com/office/drawing/2014/main" id="{26FCBA6B-9343-484D-8B2D-A7490F74B45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8" name="Google Shape;18117;p1604">
              <a:extLst>
                <a:ext uri="{FF2B5EF4-FFF2-40B4-BE49-F238E27FC236}">
                  <a16:creationId xmlns:a16="http://schemas.microsoft.com/office/drawing/2014/main" id="{8C3499B5-20C4-49AC-8289-5309D7668A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22" name="Google Shape;18115;p1604">
            <a:extLst>
              <a:ext uri="{FF2B5EF4-FFF2-40B4-BE49-F238E27FC236}">
                <a16:creationId xmlns:a16="http://schemas.microsoft.com/office/drawing/2014/main" id="{91597A7A-4579-4C1C-A279-550D39671732}"/>
              </a:ext>
            </a:extLst>
          </p:cNvPr>
          <p:cNvGrpSpPr/>
          <p:nvPr/>
        </p:nvGrpSpPr>
        <p:grpSpPr>
          <a:xfrm>
            <a:off x="6361094" y="2898635"/>
            <a:ext cx="346511" cy="346515"/>
            <a:chOff x="1932810" y="1349835"/>
            <a:chExt cx="185335" cy="185337"/>
          </a:xfrm>
          <a:solidFill>
            <a:schemeClr val="tx2"/>
          </a:solidFill>
        </p:grpSpPr>
        <p:sp>
          <p:nvSpPr>
            <p:cNvPr id="23" name="Google Shape;18116;p1604">
              <a:extLst>
                <a:ext uri="{FF2B5EF4-FFF2-40B4-BE49-F238E27FC236}">
                  <a16:creationId xmlns:a16="http://schemas.microsoft.com/office/drawing/2014/main" id="{81D9489A-84EF-4A21-842A-B4C2ED715D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4" name="Google Shape;18117;p1604">
              <a:extLst>
                <a:ext uri="{FF2B5EF4-FFF2-40B4-BE49-F238E27FC236}">
                  <a16:creationId xmlns:a16="http://schemas.microsoft.com/office/drawing/2014/main" id="{29B24EF9-F9B8-4C05-81B9-8593838D495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99" name="Rectangle 98">
            <a:extLst>
              <a:ext uri="{FF2B5EF4-FFF2-40B4-BE49-F238E27FC236}">
                <a16:creationId xmlns:a16="http://schemas.microsoft.com/office/drawing/2014/main" id="{A666C6F1-5FFD-4D4E-8A5E-07FAFAD1DD6C}"/>
              </a:ext>
            </a:extLst>
          </p:cNvPr>
          <p:cNvSpPr/>
          <p:nvPr/>
        </p:nvSpPr>
        <p:spPr>
          <a:xfrm>
            <a:off x="1360805" y="2895747"/>
            <a:ext cx="3290231" cy="3117317"/>
          </a:xfrm>
          <a:prstGeom prst="rect">
            <a:avLst/>
          </a:prstGeom>
          <a:solidFill>
            <a:srgbClr val="C9E7CA"/>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b="1" dirty="0">
                <a:solidFill>
                  <a:srgbClr val="55555A"/>
                </a:solidFill>
              </a:rPr>
              <a:t>Product line 1</a:t>
            </a:r>
          </a:p>
        </p:txBody>
      </p:sp>
      <p:sp>
        <p:nvSpPr>
          <p:cNvPr id="100" name="Rectangle 99">
            <a:extLst>
              <a:ext uri="{FF2B5EF4-FFF2-40B4-BE49-F238E27FC236}">
                <a16:creationId xmlns:a16="http://schemas.microsoft.com/office/drawing/2014/main" id="{3BAF2C2B-45F6-47CC-AAC4-A4BCF582FBB2}"/>
              </a:ext>
            </a:extLst>
          </p:cNvPr>
          <p:cNvSpPr/>
          <p:nvPr/>
        </p:nvSpPr>
        <p:spPr>
          <a:xfrm>
            <a:off x="2067304" y="4151024"/>
            <a:ext cx="2327134" cy="1090986"/>
          </a:xfrm>
          <a:prstGeom prst="rect">
            <a:avLst/>
          </a:prstGeom>
          <a:solidFill>
            <a:schemeClr val="bg2">
              <a:lumMod val="90000"/>
            </a:schemeClr>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b="1" dirty="0">
                <a:solidFill>
                  <a:srgbClr val="55555A"/>
                </a:solidFill>
              </a:rPr>
              <a:t>Product C</a:t>
            </a:r>
          </a:p>
        </p:txBody>
      </p:sp>
      <p:sp>
        <p:nvSpPr>
          <p:cNvPr id="101" name="Rectangle 100">
            <a:extLst>
              <a:ext uri="{FF2B5EF4-FFF2-40B4-BE49-F238E27FC236}">
                <a16:creationId xmlns:a16="http://schemas.microsoft.com/office/drawing/2014/main" id="{1F2F98D8-6D74-49A2-B38C-70D7A2D9A546}"/>
              </a:ext>
            </a:extLst>
          </p:cNvPr>
          <p:cNvSpPr/>
          <p:nvPr/>
        </p:nvSpPr>
        <p:spPr>
          <a:xfrm>
            <a:off x="1773042" y="4410205"/>
            <a:ext cx="2327134" cy="1090986"/>
          </a:xfrm>
          <a:prstGeom prst="rect">
            <a:avLst/>
          </a:prstGeom>
          <a:solidFill>
            <a:schemeClr val="bg2">
              <a:lumMod val="90000"/>
            </a:schemeClr>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b="1" dirty="0">
                <a:solidFill>
                  <a:srgbClr val="55555A"/>
                </a:solidFill>
              </a:rPr>
              <a:t>Product B</a:t>
            </a:r>
          </a:p>
        </p:txBody>
      </p:sp>
      <p:sp>
        <p:nvSpPr>
          <p:cNvPr id="102" name="Rectangle 101">
            <a:extLst>
              <a:ext uri="{FF2B5EF4-FFF2-40B4-BE49-F238E27FC236}">
                <a16:creationId xmlns:a16="http://schemas.microsoft.com/office/drawing/2014/main" id="{A4AF727B-50DD-41C9-8DA3-092DDF485E4E}"/>
              </a:ext>
            </a:extLst>
          </p:cNvPr>
          <p:cNvSpPr/>
          <p:nvPr/>
        </p:nvSpPr>
        <p:spPr>
          <a:xfrm>
            <a:off x="1524650" y="4695993"/>
            <a:ext cx="2327134" cy="1090986"/>
          </a:xfrm>
          <a:prstGeom prst="rect">
            <a:avLst/>
          </a:prstGeom>
          <a:solidFill>
            <a:schemeClr val="bg2">
              <a:lumMod val="90000"/>
            </a:schemeClr>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b="1" dirty="0">
                <a:solidFill>
                  <a:srgbClr val="55555A"/>
                </a:solidFill>
              </a:rPr>
              <a:t>Product A</a:t>
            </a:r>
          </a:p>
        </p:txBody>
      </p:sp>
      <p:sp>
        <p:nvSpPr>
          <p:cNvPr id="103" name="TextBox 102">
            <a:extLst>
              <a:ext uri="{FF2B5EF4-FFF2-40B4-BE49-F238E27FC236}">
                <a16:creationId xmlns:a16="http://schemas.microsoft.com/office/drawing/2014/main" id="{9BEEBE49-EF67-4960-9024-D45BB0824ED9}"/>
              </a:ext>
            </a:extLst>
          </p:cNvPr>
          <p:cNvSpPr txBox="1"/>
          <p:nvPr/>
        </p:nvSpPr>
        <p:spPr>
          <a:xfrm>
            <a:off x="393305" y="5065210"/>
            <a:ext cx="997484" cy="5272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dirty="0">
                <a:solidFill>
                  <a:srgbClr val="000000"/>
                </a:solidFill>
              </a:rPr>
              <a:t>Squad</a:t>
            </a:r>
          </a:p>
        </p:txBody>
      </p:sp>
      <p:sp>
        <p:nvSpPr>
          <p:cNvPr id="104" name="TextBox 103">
            <a:extLst>
              <a:ext uri="{FF2B5EF4-FFF2-40B4-BE49-F238E27FC236}">
                <a16:creationId xmlns:a16="http://schemas.microsoft.com/office/drawing/2014/main" id="{AC18BAA3-61E2-4B47-988E-2E166EE64F59}"/>
              </a:ext>
            </a:extLst>
          </p:cNvPr>
          <p:cNvSpPr txBox="1"/>
          <p:nvPr/>
        </p:nvSpPr>
        <p:spPr>
          <a:xfrm>
            <a:off x="292408" y="4321166"/>
            <a:ext cx="1199277" cy="5272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dirty="0">
                <a:solidFill>
                  <a:srgbClr val="000000"/>
                </a:solidFill>
              </a:rPr>
              <a:t>Product</a:t>
            </a:r>
          </a:p>
        </p:txBody>
      </p:sp>
      <p:sp>
        <p:nvSpPr>
          <p:cNvPr id="105" name="TextBox 104">
            <a:extLst>
              <a:ext uri="{FF2B5EF4-FFF2-40B4-BE49-F238E27FC236}">
                <a16:creationId xmlns:a16="http://schemas.microsoft.com/office/drawing/2014/main" id="{FE75D71B-5D39-4E3C-A471-B8F286F3E8FB}"/>
              </a:ext>
            </a:extLst>
          </p:cNvPr>
          <p:cNvSpPr txBox="1"/>
          <p:nvPr/>
        </p:nvSpPr>
        <p:spPr>
          <a:xfrm>
            <a:off x="455565" y="3201371"/>
            <a:ext cx="872964" cy="5272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i="1" dirty="0">
                <a:solidFill>
                  <a:srgbClr val="000000"/>
                </a:solidFill>
              </a:rPr>
              <a:t>Product line</a:t>
            </a:r>
          </a:p>
        </p:txBody>
      </p:sp>
      <p:grpSp>
        <p:nvGrpSpPr>
          <p:cNvPr id="106" name="Google Shape;18115;p1604">
            <a:extLst>
              <a:ext uri="{FF2B5EF4-FFF2-40B4-BE49-F238E27FC236}">
                <a16:creationId xmlns:a16="http://schemas.microsoft.com/office/drawing/2014/main" id="{BC960B04-7A59-4060-9F24-17F84898F872}"/>
              </a:ext>
            </a:extLst>
          </p:cNvPr>
          <p:cNvGrpSpPr/>
          <p:nvPr/>
        </p:nvGrpSpPr>
        <p:grpSpPr>
          <a:xfrm>
            <a:off x="2113158" y="3410752"/>
            <a:ext cx="282461" cy="282465"/>
            <a:chOff x="1932811" y="1349835"/>
            <a:chExt cx="185335" cy="185338"/>
          </a:xfrm>
          <a:solidFill>
            <a:schemeClr val="tx2"/>
          </a:solidFill>
        </p:grpSpPr>
        <p:sp>
          <p:nvSpPr>
            <p:cNvPr id="107" name="Google Shape;18116;p1604">
              <a:extLst>
                <a:ext uri="{FF2B5EF4-FFF2-40B4-BE49-F238E27FC236}">
                  <a16:creationId xmlns:a16="http://schemas.microsoft.com/office/drawing/2014/main" id="{952A6DE8-14AF-4CDF-92AB-F4EBDE5A25F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8" name="Google Shape;18117;p1604">
              <a:extLst>
                <a:ext uri="{FF2B5EF4-FFF2-40B4-BE49-F238E27FC236}">
                  <a16:creationId xmlns:a16="http://schemas.microsoft.com/office/drawing/2014/main" id="{E5DE4239-1737-4A78-B34A-EF54B045F17C}"/>
                </a:ext>
              </a:extLst>
            </p:cNvPr>
            <p:cNvSpPr/>
            <p:nvPr/>
          </p:nvSpPr>
          <p:spPr>
            <a:xfrm>
              <a:off x="1932811" y="1455744"/>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9" name="Google Shape;18115;p1604">
            <a:extLst>
              <a:ext uri="{FF2B5EF4-FFF2-40B4-BE49-F238E27FC236}">
                <a16:creationId xmlns:a16="http://schemas.microsoft.com/office/drawing/2014/main" id="{C2450AA8-58FD-4085-AD93-23A70654401A}"/>
              </a:ext>
            </a:extLst>
          </p:cNvPr>
          <p:cNvGrpSpPr/>
          <p:nvPr/>
        </p:nvGrpSpPr>
        <p:grpSpPr>
          <a:xfrm>
            <a:off x="3460497" y="3410756"/>
            <a:ext cx="282461" cy="282464"/>
            <a:chOff x="1932810" y="1349835"/>
            <a:chExt cx="185335" cy="185337"/>
          </a:xfrm>
          <a:solidFill>
            <a:schemeClr val="tx2"/>
          </a:solidFill>
        </p:grpSpPr>
        <p:sp>
          <p:nvSpPr>
            <p:cNvPr id="110" name="Google Shape;18116;p1604">
              <a:extLst>
                <a:ext uri="{FF2B5EF4-FFF2-40B4-BE49-F238E27FC236}">
                  <a16:creationId xmlns:a16="http://schemas.microsoft.com/office/drawing/2014/main" id="{4CDEAB24-F826-43B7-B70A-F9280092FD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1" name="Google Shape;18117;p1604">
              <a:extLst>
                <a:ext uri="{FF2B5EF4-FFF2-40B4-BE49-F238E27FC236}">
                  <a16:creationId xmlns:a16="http://schemas.microsoft.com/office/drawing/2014/main" id="{004F1918-C211-4BA1-9397-A7F59985CF7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12" name="TextBox 111">
            <a:extLst>
              <a:ext uri="{FF2B5EF4-FFF2-40B4-BE49-F238E27FC236}">
                <a16:creationId xmlns:a16="http://schemas.microsoft.com/office/drawing/2014/main" id="{3FD1BC00-2163-4581-8FB5-09AFC88D65CF}"/>
              </a:ext>
            </a:extLst>
          </p:cNvPr>
          <p:cNvSpPr txBox="1"/>
          <p:nvPr/>
        </p:nvSpPr>
        <p:spPr>
          <a:xfrm>
            <a:off x="1535659" y="3010056"/>
            <a:ext cx="1437456" cy="564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212121"/>
                </a:solidFill>
                <a:sym typeface="Century Gothic" panose="020B0502020202020204" pitchFamily="34" charset="0"/>
              </a:rPr>
              <a:t>Digital Product Dir</a:t>
            </a:r>
          </a:p>
        </p:txBody>
      </p:sp>
      <p:sp>
        <p:nvSpPr>
          <p:cNvPr id="113" name="TextBox 112">
            <a:extLst>
              <a:ext uri="{FF2B5EF4-FFF2-40B4-BE49-F238E27FC236}">
                <a16:creationId xmlns:a16="http://schemas.microsoft.com/office/drawing/2014/main" id="{AEB277CE-75A9-470C-A86E-C5799183E1AD}"/>
              </a:ext>
            </a:extLst>
          </p:cNvPr>
          <p:cNvSpPr txBox="1"/>
          <p:nvPr/>
        </p:nvSpPr>
        <p:spPr>
          <a:xfrm>
            <a:off x="2845630" y="3012535"/>
            <a:ext cx="1512195" cy="564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212121"/>
                </a:solidFill>
                <a:sym typeface="Century Gothic" panose="020B0502020202020204" pitchFamily="34" charset="0"/>
              </a:rPr>
              <a:t>Digital Business Dir</a:t>
            </a:r>
          </a:p>
        </p:txBody>
      </p:sp>
      <p:grpSp>
        <p:nvGrpSpPr>
          <p:cNvPr id="114" name="Group 113">
            <a:extLst>
              <a:ext uri="{FF2B5EF4-FFF2-40B4-BE49-F238E27FC236}">
                <a16:creationId xmlns:a16="http://schemas.microsoft.com/office/drawing/2014/main" id="{F5E1AC49-F2B5-44B3-A089-9A76A7B1D21A}"/>
              </a:ext>
            </a:extLst>
          </p:cNvPr>
          <p:cNvGrpSpPr>
            <a:grpSpLocks/>
          </p:cNvGrpSpPr>
          <p:nvPr/>
        </p:nvGrpSpPr>
        <p:grpSpPr>
          <a:xfrm>
            <a:off x="1634003" y="5065210"/>
            <a:ext cx="623670" cy="599600"/>
            <a:chOff x="2511970" y="2806214"/>
            <a:chExt cx="2598626" cy="2498332"/>
          </a:xfrm>
        </p:grpSpPr>
        <p:grpSp>
          <p:nvGrpSpPr>
            <p:cNvPr id="115" name="Google Shape;18115;p1604">
              <a:extLst>
                <a:ext uri="{FF2B5EF4-FFF2-40B4-BE49-F238E27FC236}">
                  <a16:creationId xmlns:a16="http://schemas.microsoft.com/office/drawing/2014/main" id="{85A228B3-C1F8-4311-8D6A-49698CF59328}"/>
                </a:ext>
              </a:extLst>
            </p:cNvPr>
            <p:cNvGrpSpPr/>
            <p:nvPr/>
          </p:nvGrpSpPr>
          <p:grpSpPr>
            <a:xfrm>
              <a:off x="4214405" y="2806214"/>
              <a:ext cx="346511" cy="346515"/>
              <a:chOff x="1932810" y="1349835"/>
              <a:chExt cx="185335" cy="185337"/>
            </a:xfrm>
            <a:solidFill>
              <a:schemeClr val="tx2"/>
            </a:solidFill>
          </p:grpSpPr>
          <p:sp>
            <p:nvSpPr>
              <p:cNvPr id="138" name="Google Shape;18116;p1604">
                <a:extLst>
                  <a:ext uri="{FF2B5EF4-FFF2-40B4-BE49-F238E27FC236}">
                    <a16:creationId xmlns:a16="http://schemas.microsoft.com/office/drawing/2014/main" id="{3F4ED14D-B730-4DC7-9913-526D6A272AC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9" name="Google Shape;18117;p1604">
                <a:extLst>
                  <a:ext uri="{FF2B5EF4-FFF2-40B4-BE49-F238E27FC236}">
                    <a16:creationId xmlns:a16="http://schemas.microsoft.com/office/drawing/2014/main" id="{6352666D-7552-46B6-86F0-8D5D24279BF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16" name="Oval 115">
              <a:extLst>
                <a:ext uri="{FF2B5EF4-FFF2-40B4-BE49-F238E27FC236}">
                  <a16:creationId xmlns:a16="http://schemas.microsoft.com/office/drawing/2014/main" id="{C23D2A72-AE37-4506-B6AC-A8AECEE044E0}"/>
                </a:ext>
              </a:extLst>
            </p:cNvPr>
            <p:cNvSpPr/>
            <p:nvPr/>
          </p:nvSpPr>
          <p:spPr>
            <a:xfrm>
              <a:off x="2644688" y="2864225"/>
              <a:ext cx="2321515" cy="2321515"/>
            </a:xfrm>
            <a:prstGeom prst="ellipse">
              <a:avLst/>
            </a:prstGeom>
            <a:noFill/>
            <a:ln w="6858"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946" tIns="10973" rIns="21946" bIns="10973"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17" name="Google Shape;18115;p1604">
              <a:extLst>
                <a:ext uri="{FF2B5EF4-FFF2-40B4-BE49-F238E27FC236}">
                  <a16:creationId xmlns:a16="http://schemas.microsoft.com/office/drawing/2014/main" id="{94DA6F6A-514B-4627-B726-F5D88C488526}"/>
                </a:ext>
              </a:extLst>
            </p:cNvPr>
            <p:cNvGrpSpPr/>
            <p:nvPr/>
          </p:nvGrpSpPr>
          <p:grpSpPr>
            <a:xfrm>
              <a:off x="4402332" y="4548551"/>
              <a:ext cx="346511" cy="346515"/>
              <a:chOff x="1932810" y="1349835"/>
              <a:chExt cx="185335" cy="185337"/>
            </a:xfrm>
            <a:solidFill>
              <a:schemeClr val="tx2"/>
            </a:solidFill>
          </p:grpSpPr>
          <p:sp>
            <p:nvSpPr>
              <p:cNvPr id="136" name="Google Shape;18116;p1604">
                <a:extLst>
                  <a:ext uri="{FF2B5EF4-FFF2-40B4-BE49-F238E27FC236}">
                    <a16:creationId xmlns:a16="http://schemas.microsoft.com/office/drawing/2014/main" id="{FE0AF785-92F7-44B1-B789-BC88837AEFE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7" name="Google Shape;18117;p1604">
                <a:extLst>
                  <a:ext uri="{FF2B5EF4-FFF2-40B4-BE49-F238E27FC236}">
                    <a16:creationId xmlns:a16="http://schemas.microsoft.com/office/drawing/2014/main" id="{FECEDA00-F80B-42B2-9B83-4B3E6E77FF5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8" name="Google Shape;18115;p1604">
              <a:extLst>
                <a:ext uri="{FF2B5EF4-FFF2-40B4-BE49-F238E27FC236}">
                  <a16:creationId xmlns:a16="http://schemas.microsoft.com/office/drawing/2014/main" id="{97132970-7D8A-4A5F-9F1E-9BBA026F0A49}"/>
                </a:ext>
              </a:extLst>
            </p:cNvPr>
            <p:cNvGrpSpPr/>
            <p:nvPr/>
          </p:nvGrpSpPr>
          <p:grpSpPr>
            <a:xfrm>
              <a:off x="3578880" y="4958031"/>
              <a:ext cx="346511" cy="346515"/>
              <a:chOff x="1932810" y="1349835"/>
              <a:chExt cx="185335" cy="185337"/>
            </a:xfrm>
            <a:solidFill>
              <a:schemeClr val="tx2"/>
            </a:solidFill>
          </p:grpSpPr>
          <p:sp>
            <p:nvSpPr>
              <p:cNvPr id="134" name="Google Shape;18116;p1604">
                <a:extLst>
                  <a:ext uri="{FF2B5EF4-FFF2-40B4-BE49-F238E27FC236}">
                    <a16:creationId xmlns:a16="http://schemas.microsoft.com/office/drawing/2014/main" id="{4BBA62F5-16BF-47F8-83FD-1B43390552A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5" name="Google Shape;18117;p1604">
                <a:extLst>
                  <a:ext uri="{FF2B5EF4-FFF2-40B4-BE49-F238E27FC236}">
                    <a16:creationId xmlns:a16="http://schemas.microsoft.com/office/drawing/2014/main" id="{6A4E3933-D71F-4B9B-B68C-880B589FD6B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9" name="Google Shape;18115;p1604">
              <a:extLst>
                <a:ext uri="{FF2B5EF4-FFF2-40B4-BE49-F238E27FC236}">
                  <a16:creationId xmlns:a16="http://schemas.microsoft.com/office/drawing/2014/main" id="{9DF44741-DDD2-4874-B41D-335D3C346B04}"/>
                </a:ext>
              </a:extLst>
            </p:cNvPr>
            <p:cNvGrpSpPr/>
            <p:nvPr/>
          </p:nvGrpSpPr>
          <p:grpSpPr>
            <a:xfrm>
              <a:off x="2511970" y="3644968"/>
              <a:ext cx="346511" cy="346515"/>
              <a:chOff x="1932810" y="1349835"/>
              <a:chExt cx="185335" cy="185337"/>
            </a:xfrm>
            <a:solidFill>
              <a:schemeClr val="tx2"/>
            </a:solidFill>
          </p:grpSpPr>
          <p:sp>
            <p:nvSpPr>
              <p:cNvPr id="132" name="Google Shape;18116;p1604">
                <a:extLst>
                  <a:ext uri="{FF2B5EF4-FFF2-40B4-BE49-F238E27FC236}">
                    <a16:creationId xmlns:a16="http://schemas.microsoft.com/office/drawing/2014/main" id="{67225025-66F8-4C7F-9AA8-22DF36937FA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3" name="Google Shape;18117;p1604">
                <a:extLst>
                  <a:ext uri="{FF2B5EF4-FFF2-40B4-BE49-F238E27FC236}">
                    <a16:creationId xmlns:a16="http://schemas.microsoft.com/office/drawing/2014/main" id="{65E5DF31-8A7F-440B-ADBA-A04BCE37DAA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20" name="Google Shape;18115;p1604">
              <a:extLst>
                <a:ext uri="{FF2B5EF4-FFF2-40B4-BE49-F238E27FC236}">
                  <a16:creationId xmlns:a16="http://schemas.microsoft.com/office/drawing/2014/main" id="{0598E455-A7E5-43EC-9793-B036DF4BC23E}"/>
                </a:ext>
              </a:extLst>
            </p:cNvPr>
            <p:cNvGrpSpPr/>
            <p:nvPr/>
          </p:nvGrpSpPr>
          <p:grpSpPr>
            <a:xfrm>
              <a:off x="4754363" y="4548551"/>
              <a:ext cx="346511" cy="346515"/>
              <a:chOff x="1932810" y="1349835"/>
              <a:chExt cx="185335" cy="185337"/>
            </a:xfrm>
            <a:solidFill>
              <a:schemeClr val="tx2"/>
            </a:solidFill>
          </p:grpSpPr>
          <p:sp>
            <p:nvSpPr>
              <p:cNvPr id="130" name="Google Shape;18116;p1604">
                <a:extLst>
                  <a:ext uri="{FF2B5EF4-FFF2-40B4-BE49-F238E27FC236}">
                    <a16:creationId xmlns:a16="http://schemas.microsoft.com/office/drawing/2014/main" id="{20E50BF4-9039-46F2-9AD3-2CE1171D18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1" name="Google Shape;18117;p1604">
                <a:extLst>
                  <a:ext uri="{FF2B5EF4-FFF2-40B4-BE49-F238E27FC236}">
                    <a16:creationId xmlns:a16="http://schemas.microsoft.com/office/drawing/2014/main" id="{AB471C9E-7863-4ED2-95F2-645D9E32C08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21" name="Google Shape;18115;p1604">
              <a:extLst>
                <a:ext uri="{FF2B5EF4-FFF2-40B4-BE49-F238E27FC236}">
                  <a16:creationId xmlns:a16="http://schemas.microsoft.com/office/drawing/2014/main" id="{10438CAE-7377-47C1-9C62-411042FE01D4}"/>
                </a:ext>
              </a:extLst>
            </p:cNvPr>
            <p:cNvGrpSpPr/>
            <p:nvPr/>
          </p:nvGrpSpPr>
          <p:grpSpPr>
            <a:xfrm>
              <a:off x="2644688" y="4493428"/>
              <a:ext cx="346511" cy="346515"/>
              <a:chOff x="1932810" y="1349835"/>
              <a:chExt cx="185335" cy="185337"/>
            </a:xfrm>
            <a:solidFill>
              <a:schemeClr val="tx2"/>
            </a:solidFill>
          </p:grpSpPr>
          <p:sp>
            <p:nvSpPr>
              <p:cNvPr id="128" name="Google Shape;18116;p1604">
                <a:extLst>
                  <a:ext uri="{FF2B5EF4-FFF2-40B4-BE49-F238E27FC236}">
                    <a16:creationId xmlns:a16="http://schemas.microsoft.com/office/drawing/2014/main" id="{41413350-2C94-4356-A3AB-17D545DA203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9" name="Google Shape;18117;p1604">
                <a:extLst>
                  <a:ext uri="{FF2B5EF4-FFF2-40B4-BE49-F238E27FC236}">
                    <a16:creationId xmlns:a16="http://schemas.microsoft.com/office/drawing/2014/main" id="{8A0D3ADA-AC38-44A2-9B64-C341CF34AFE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22" name="Google Shape;18115;p1604">
              <a:extLst>
                <a:ext uri="{FF2B5EF4-FFF2-40B4-BE49-F238E27FC236}">
                  <a16:creationId xmlns:a16="http://schemas.microsoft.com/office/drawing/2014/main" id="{9F7E1586-174F-42D9-90A8-B2C5F91E2DAD}"/>
                </a:ext>
              </a:extLst>
            </p:cNvPr>
            <p:cNvGrpSpPr/>
            <p:nvPr/>
          </p:nvGrpSpPr>
          <p:grpSpPr>
            <a:xfrm>
              <a:off x="4764085" y="3612568"/>
              <a:ext cx="346511" cy="346515"/>
              <a:chOff x="1932810" y="1349835"/>
              <a:chExt cx="185335" cy="185337"/>
            </a:xfrm>
            <a:solidFill>
              <a:schemeClr val="tx2"/>
            </a:solidFill>
          </p:grpSpPr>
          <p:sp>
            <p:nvSpPr>
              <p:cNvPr id="126" name="Google Shape;18116;p1604">
                <a:extLst>
                  <a:ext uri="{FF2B5EF4-FFF2-40B4-BE49-F238E27FC236}">
                    <a16:creationId xmlns:a16="http://schemas.microsoft.com/office/drawing/2014/main" id="{C25768B1-123F-403D-A4B2-C2CDD505815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7" name="Google Shape;18117;p1604">
                <a:extLst>
                  <a:ext uri="{FF2B5EF4-FFF2-40B4-BE49-F238E27FC236}">
                    <a16:creationId xmlns:a16="http://schemas.microsoft.com/office/drawing/2014/main" id="{29D92682-E5E1-4861-BF57-99B8DC1475A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23" name="Google Shape;18115;p1604">
              <a:extLst>
                <a:ext uri="{FF2B5EF4-FFF2-40B4-BE49-F238E27FC236}">
                  <a16:creationId xmlns:a16="http://schemas.microsoft.com/office/drawing/2014/main" id="{7192115A-26FF-41CD-ABAB-8AC5D6665C59}"/>
                </a:ext>
              </a:extLst>
            </p:cNvPr>
            <p:cNvGrpSpPr/>
            <p:nvPr/>
          </p:nvGrpSpPr>
          <p:grpSpPr>
            <a:xfrm>
              <a:off x="3091300" y="2809102"/>
              <a:ext cx="346511" cy="346515"/>
              <a:chOff x="1932810" y="1349835"/>
              <a:chExt cx="185335" cy="185337"/>
            </a:xfrm>
            <a:solidFill>
              <a:schemeClr val="tx2"/>
            </a:solidFill>
          </p:grpSpPr>
          <p:sp>
            <p:nvSpPr>
              <p:cNvPr id="124" name="Google Shape;18116;p1604">
                <a:extLst>
                  <a:ext uri="{FF2B5EF4-FFF2-40B4-BE49-F238E27FC236}">
                    <a16:creationId xmlns:a16="http://schemas.microsoft.com/office/drawing/2014/main" id="{448F1483-2989-416C-AE2A-581DB9543D6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5" name="Google Shape;18117;p1604">
                <a:extLst>
                  <a:ext uri="{FF2B5EF4-FFF2-40B4-BE49-F238E27FC236}">
                    <a16:creationId xmlns:a16="http://schemas.microsoft.com/office/drawing/2014/main" id="{3464E93D-F31B-4970-AEFB-F835560BF5F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40" name="Group 139">
            <a:extLst>
              <a:ext uri="{FF2B5EF4-FFF2-40B4-BE49-F238E27FC236}">
                <a16:creationId xmlns:a16="http://schemas.microsoft.com/office/drawing/2014/main" id="{04D9CC14-6B32-4E1A-8577-E75641017E10}"/>
              </a:ext>
            </a:extLst>
          </p:cNvPr>
          <p:cNvGrpSpPr>
            <a:grpSpLocks/>
          </p:cNvGrpSpPr>
          <p:nvPr/>
        </p:nvGrpSpPr>
        <p:grpSpPr>
          <a:xfrm>
            <a:off x="2361320" y="5065210"/>
            <a:ext cx="623670" cy="599600"/>
            <a:chOff x="2511970" y="2806214"/>
            <a:chExt cx="2598626" cy="2498332"/>
          </a:xfrm>
        </p:grpSpPr>
        <p:grpSp>
          <p:nvGrpSpPr>
            <p:cNvPr id="141" name="Google Shape;18115;p1604">
              <a:extLst>
                <a:ext uri="{FF2B5EF4-FFF2-40B4-BE49-F238E27FC236}">
                  <a16:creationId xmlns:a16="http://schemas.microsoft.com/office/drawing/2014/main" id="{2DCDD9DB-B361-4D21-B81E-D7BE1B3DF614}"/>
                </a:ext>
              </a:extLst>
            </p:cNvPr>
            <p:cNvGrpSpPr/>
            <p:nvPr/>
          </p:nvGrpSpPr>
          <p:grpSpPr>
            <a:xfrm>
              <a:off x="4214405" y="2806214"/>
              <a:ext cx="346511" cy="346515"/>
              <a:chOff x="1932810" y="1349835"/>
              <a:chExt cx="185335" cy="185337"/>
            </a:xfrm>
            <a:solidFill>
              <a:schemeClr val="tx2"/>
            </a:solidFill>
          </p:grpSpPr>
          <p:sp>
            <p:nvSpPr>
              <p:cNvPr id="164" name="Google Shape;18116;p1604">
                <a:extLst>
                  <a:ext uri="{FF2B5EF4-FFF2-40B4-BE49-F238E27FC236}">
                    <a16:creationId xmlns:a16="http://schemas.microsoft.com/office/drawing/2014/main" id="{056AC150-9B86-48A1-8292-ACFA2A858AD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65" name="Google Shape;18117;p1604">
                <a:extLst>
                  <a:ext uri="{FF2B5EF4-FFF2-40B4-BE49-F238E27FC236}">
                    <a16:creationId xmlns:a16="http://schemas.microsoft.com/office/drawing/2014/main" id="{9A20041C-1811-4E14-AB97-842FA711B19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42" name="Oval 141">
              <a:extLst>
                <a:ext uri="{FF2B5EF4-FFF2-40B4-BE49-F238E27FC236}">
                  <a16:creationId xmlns:a16="http://schemas.microsoft.com/office/drawing/2014/main" id="{42062C9D-9239-44F7-9E9F-DE66EAFBF771}"/>
                </a:ext>
              </a:extLst>
            </p:cNvPr>
            <p:cNvSpPr/>
            <p:nvPr/>
          </p:nvSpPr>
          <p:spPr>
            <a:xfrm>
              <a:off x="2644688" y="2864225"/>
              <a:ext cx="2321515" cy="2321515"/>
            </a:xfrm>
            <a:prstGeom prst="ellipse">
              <a:avLst/>
            </a:prstGeom>
            <a:noFill/>
            <a:ln w="6858"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946" tIns="10973" rIns="21946" bIns="10973"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43" name="Google Shape;18115;p1604">
              <a:extLst>
                <a:ext uri="{FF2B5EF4-FFF2-40B4-BE49-F238E27FC236}">
                  <a16:creationId xmlns:a16="http://schemas.microsoft.com/office/drawing/2014/main" id="{A486FA59-8435-42F3-B7D5-87DC293EBB00}"/>
                </a:ext>
              </a:extLst>
            </p:cNvPr>
            <p:cNvGrpSpPr/>
            <p:nvPr/>
          </p:nvGrpSpPr>
          <p:grpSpPr>
            <a:xfrm>
              <a:off x="4402332" y="4548551"/>
              <a:ext cx="346511" cy="346515"/>
              <a:chOff x="1932810" y="1349835"/>
              <a:chExt cx="185335" cy="185337"/>
            </a:xfrm>
            <a:solidFill>
              <a:schemeClr val="tx2"/>
            </a:solidFill>
          </p:grpSpPr>
          <p:sp>
            <p:nvSpPr>
              <p:cNvPr id="162" name="Google Shape;18116;p1604">
                <a:extLst>
                  <a:ext uri="{FF2B5EF4-FFF2-40B4-BE49-F238E27FC236}">
                    <a16:creationId xmlns:a16="http://schemas.microsoft.com/office/drawing/2014/main" id="{B16C947D-BF5F-476A-9671-3A657F00209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63" name="Google Shape;18117;p1604">
                <a:extLst>
                  <a:ext uri="{FF2B5EF4-FFF2-40B4-BE49-F238E27FC236}">
                    <a16:creationId xmlns:a16="http://schemas.microsoft.com/office/drawing/2014/main" id="{10D91225-63DD-48C2-BEE1-E1763723537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4" name="Google Shape;18115;p1604">
              <a:extLst>
                <a:ext uri="{FF2B5EF4-FFF2-40B4-BE49-F238E27FC236}">
                  <a16:creationId xmlns:a16="http://schemas.microsoft.com/office/drawing/2014/main" id="{4EAF20E6-FB31-43D7-894E-56977D54B176}"/>
                </a:ext>
              </a:extLst>
            </p:cNvPr>
            <p:cNvGrpSpPr/>
            <p:nvPr/>
          </p:nvGrpSpPr>
          <p:grpSpPr>
            <a:xfrm>
              <a:off x="3578880" y="4958031"/>
              <a:ext cx="346511" cy="346515"/>
              <a:chOff x="1932810" y="1349835"/>
              <a:chExt cx="185335" cy="185337"/>
            </a:xfrm>
            <a:solidFill>
              <a:schemeClr val="tx2"/>
            </a:solidFill>
          </p:grpSpPr>
          <p:sp>
            <p:nvSpPr>
              <p:cNvPr id="160" name="Google Shape;18116;p1604">
                <a:extLst>
                  <a:ext uri="{FF2B5EF4-FFF2-40B4-BE49-F238E27FC236}">
                    <a16:creationId xmlns:a16="http://schemas.microsoft.com/office/drawing/2014/main" id="{4B750EF3-887E-43D1-BF59-54C17766C22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61" name="Google Shape;18117;p1604">
                <a:extLst>
                  <a:ext uri="{FF2B5EF4-FFF2-40B4-BE49-F238E27FC236}">
                    <a16:creationId xmlns:a16="http://schemas.microsoft.com/office/drawing/2014/main" id="{EFC79D12-566A-4EC3-BEA8-B45B1D82BFE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5" name="Google Shape;18115;p1604">
              <a:extLst>
                <a:ext uri="{FF2B5EF4-FFF2-40B4-BE49-F238E27FC236}">
                  <a16:creationId xmlns:a16="http://schemas.microsoft.com/office/drawing/2014/main" id="{AF345A01-8446-4F30-B768-EF15ACFEB6D1}"/>
                </a:ext>
              </a:extLst>
            </p:cNvPr>
            <p:cNvGrpSpPr/>
            <p:nvPr/>
          </p:nvGrpSpPr>
          <p:grpSpPr>
            <a:xfrm>
              <a:off x="2511970" y="3644968"/>
              <a:ext cx="346511" cy="346515"/>
              <a:chOff x="1932810" y="1349835"/>
              <a:chExt cx="185335" cy="185337"/>
            </a:xfrm>
            <a:solidFill>
              <a:schemeClr val="tx2"/>
            </a:solidFill>
          </p:grpSpPr>
          <p:sp>
            <p:nvSpPr>
              <p:cNvPr id="158" name="Google Shape;18116;p1604">
                <a:extLst>
                  <a:ext uri="{FF2B5EF4-FFF2-40B4-BE49-F238E27FC236}">
                    <a16:creationId xmlns:a16="http://schemas.microsoft.com/office/drawing/2014/main" id="{5B4D7783-D321-4402-850C-61DD7E298A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9" name="Google Shape;18117;p1604">
                <a:extLst>
                  <a:ext uri="{FF2B5EF4-FFF2-40B4-BE49-F238E27FC236}">
                    <a16:creationId xmlns:a16="http://schemas.microsoft.com/office/drawing/2014/main" id="{3C4EE166-7D08-4B3C-A5D6-9B0693A67B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6" name="Google Shape;18115;p1604">
              <a:extLst>
                <a:ext uri="{FF2B5EF4-FFF2-40B4-BE49-F238E27FC236}">
                  <a16:creationId xmlns:a16="http://schemas.microsoft.com/office/drawing/2014/main" id="{C339085F-45EF-49B2-ACE5-AB3720FB6FF0}"/>
                </a:ext>
              </a:extLst>
            </p:cNvPr>
            <p:cNvGrpSpPr/>
            <p:nvPr/>
          </p:nvGrpSpPr>
          <p:grpSpPr>
            <a:xfrm>
              <a:off x="4754363" y="4548551"/>
              <a:ext cx="346511" cy="346515"/>
              <a:chOff x="1932810" y="1349835"/>
              <a:chExt cx="185335" cy="185337"/>
            </a:xfrm>
            <a:solidFill>
              <a:schemeClr val="tx2"/>
            </a:solidFill>
          </p:grpSpPr>
          <p:sp>
            <p:nvSpPr>
              <p:cNvPr id="156" name="Google Shape;18116;p1604">
                <a:extLst>
                  <a:ext uri="{FF2B5EF4-FFF2-40B4-BE49-F238E27FC236}">
                    <a16:creationId xmlns:a16="http://schemas.microsoft.com/office/drawing/2014/main" id="{2876FF0C-4023-4487-8012-C63B84EBF65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7" name="Google Shape;18117;p1604">
                <a:extLst>
                  <a:ext uri="{FF2B5EF4-FFF2-40B4-BE49-F238E27FC236}">
                    <a16:creationId xmlns:a16="http://schemas.microsoft.com/office/drawing/2014/main" id="{6AEF3D23-19D4-49F4-B1E4-B9B7480A5C6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7" name="Google Shape;18115;p1604">
              <a:extLst>
                <a:ext uri="{FF2B5EF4-FFF2-40B4-BE49-F238E27FC236}">
                  <a16:creationId xmlns:a16="http://schemas.microsoft.com/office/drawing/2014/main" id="{D82281B4-961C-4846-888C-F413CE705723}"/>
                </a:ext>
              </a:extLst>
            </p:cNvPr>
            <p:cNvGrpSpPr/>
            <p:nvPr/>
          </p:nvGrpSpPr>
          <p:grpSpPr>
            <a:xfrm>
              <a:off x="2644688" y="4493428"/>
              <a:ext cx="346511" cy="346515"/>
              <a:chOff x="1932810" y="1349835"/>
              <a:chExt cx="185335" cy="185337"/>
            </a:xfrm>
            <a:solidFill>
              <a:schemeClr val="tx2"/>
            </a:solidFill>
          </p:grpSpPr>
          <p:sp>
            <p:nvSpPr>
              <p:cNvPr id="154" name="Google Shape;18116;p1604">
                <a:extLst>
                  <a:ext uri="{FF2B5EF4-FFF2-40B4-BE49-F238E27FC236}">
                    <a16:creationId xmlns:a16="http://schemas.microsoft.com/office/drawing/2014/main" id="{FB684D02-88DD-4BFF-988E-56330EB38C0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5" name="Google Shape;18117;p1604">
                <a:extLst>
                  <a:ext uri="{FF2B5EF4-FFF2-40B4-BE49-F238E27FC236}">
                    <a16:creationId xmlns:a16="http://schemas.microsoft.com/office/drawing/2014/main" id="{96D887D1-BF41-443B-A36C-F132A307297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8" name="Google Shape;18115;p1604">
              <a:extLst>
                <a:ext uri="{FF2B5EF4-FFF2-40B4-BE49-F238E27FC236}">
                  <a16:creationId xmlns:a16="http://schemas.microsoft.com/office/drawing/2014/main" id="{6B465B14-D982-4326-8CA9-F1F02CC028C4}"/>
                </a:ext>
              </a:extLst>
            </p:cNvPr>
            <p:cNvGrpSpPr/>
            <p:nvPr/>
          </p:nvGrpSpPr>
          <p:grpSpPr>
            <a:xfrm>
              <a:off x="4764085" y="3612568"/>
              <a:ext cx="346511" cy="346515"/>
              <a:chOff x="1932810" y="1349835"/>
              <a:chExt cx="185335" cy="185337"/>
            </a:xfrm>
            <a:solidFill>
              <a:schemeClr val="tx2"/>
            </a:solidFill>
          </p:grpSpPr>
          <p:sp>
            <p:nvSpPr>
              <p:cNvPr id="152" name="Google Shape;18116;p1604">
                <a:extLst>
                  <a:ext uri="{FF2B5EF4-FFF2-40B4-BE49-F238E27FC236}">
                    <a16:creationId xmlns:a16="http://schemas.microsoft.com/office/drawing/2014/main" id="{1D6B5471-4FB9-4682-8BB3-0BBAE00995C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3" name="Google Shape;18117;p1604">
                <a:extLst>
                  <a:ext uri="{FF2B5EF4-FFF2-40B4-BE49-F238E27FC236}">
                    <a16:creationId xmlns:a16="http://schemas.microsoft.com/office/drawing/2014/main" id="{CBA2BF8D-E82A-47DB-923A-CAEC6A4D47D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9" name="Google Shape;18115;p1604">
              <a:extLst>
                <a:ext uri="{FF2B5EF4-FFF2-40B4-BE49-F238E27FC236}">
                  <a16:creationId xmlns:a16="http://schemas.microsoft.com/office/drawing/2014/main" id="{3A53BD5F-8246-43C3-A398-A717A6DF6ACA}"/>
                </a:ext>
              </a:extLst>
            </p:cNvPr>
            <p:cNvGrpSpPr/>
            <p:nvPr/>
          </p:nvGrpSpPr>
          <p:grpSpPr>
            <a:xfrm>
              <a:off x="3091300" y="2809102"/>
              <a:ext cx="346511" cy="346515"/>
              <a:chOff x="1932810" y="1349835"/>
              <a:chExt cx="185335" cy="185337"/>
            </a:xfrm>
            <a:solidFill>
              <a:schemeClr val="tx2"/>
            </a:solidFill>
          </p:grpSpPr>
          <p:sp>
            <p:nvSpPr>
              <p:cNvPr id="150" name="Google Shape;18116;p1604">
                <a:extLst>
                  <a:ext uri="{FF2B5EF4-FFF2-40B4-BE49-F238E27FC236}">
                    <a16:creationId xmlns:a16="http://schemas.microsoft.com/office/drawing/2014/main" id="{E6950718-3EB8-4320-999D-174AE164285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1" name="Google Shape;18117;p1604">
                <a:extLst>
                  <a:ext uri="{FF2B5EF4-FFF2-40B4-BE49-F238E27FC236}">
                    <a16:creationId xmlns:a16="http://schemas.microsoft.com/office/drawing/2014/main" id="{00610232-BA3E-4BB1-B330-3E2B376B886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66" name="Group 165">
            <a:extLst>
              <a:ext uri="{FF2B5EF4-FFF2-40B4-BE49-F238E27FC236}">
                <a16:creationId xmlns:a16="http://schemas.microsoft.com/office/drawing/2014/main" id="{1D7EEC6E-B576-4904-A584-9B16CA92814B}"/>
              </a:ext>
            </a:extLst>
          </p:cNvPr>
          <p:cNvGrpSpPr>
            <a:grpSpLocks/>
          </p:cNvGrpSpPr>
          <p:nvPr/>
        </p:nvGrpSpPr>
        <p:grpSpPr>
          <a:xfrm>
            <a:off x="3088638" y="5065210"/>
            <a:ext cx="623670" cy="599600"/>
            <a:chOff x="2511970" y="2806214"/>
            <a:chExt cx="2598626" cy="2498332"/>
          </a:xfrm>
        </p:grpSpPr>
        <p:grpSp>
          <p:nvGrpSpPr>
            <p:cNvPr id="167" name="Google Shape;18115;p1604">
              <a:extLst>
                <a:ext uri="{FF2B5EF4-FFF2-40B4-BE49-F238E27FC236}">
                  <a16:creationId xmlns:a16="http://schemas.microsoft.com/office/drawing/2014/main" id="{69041BBC-F8CB-4562-BC29-1EFC821408F0}"/>
                </a:ext>
              </a:extLst>
            </p:cNvPr>
            <p:cNvGrpSpPr/>
            <p:nvPr/>
          </p:nvGrpSpPr>
          <p:grpSpPr>
            <a:xfrm>
              <a:off x="4214405" y="2806214"/>
              <a:ext cx="346511" cy="346515"/>
              <a:chOff x="1932810" y="1349835"/>
              <a:chExt cx="185335" cy="185337"/>
            </a:xfrm>
            <a:solidFill>
              <a:schemeClr val="tx2"/>
            </a:solidFill>
          </p:grpSpPr>
          <p:sp>
            <p:nvSpPr>
              <p:cNvPr id="190" name="Google Shape;18116;p1604">
                <a:extLst>
                  <a:ext uri="{FF2B5EF4-FFF2-40B4-BE49-F238E27FC236}">
                    <a16:creationId xmlns:a16="http://schemas.microsoft.com/office/drawing/2014/main" id="{6391E45F-C050-4D99-9E27-97E22A0834E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91" name="Google Shape;18117;p1604">
                <a:extLst>
                  <a:ext uri="{FF2B5EF4-FFF2-40B4-BE49-F238E27FC236}">
                    <a16:creationId xmlns:a16="http://schemas.microsoft.com/office/drawing/2014/main" id="{C623F646-9DC7-436C-A9D6-AAAC6C76318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68" name="Oval 167">
              <a:extLst>
                <a:ext uri="{FF2B5EF4-FFF2-40B4-BE49-F238E27FC236}">
                  <a16:creationId xmlns:a16="http://schemas.microsoft.com/office/drawing/2014/main" id="{A6486CB6-022F-4351-B9CB-BCA8538CA474}"/>
                </a:ext>
              </a:extLst>
            </p:cNvPr>
            <p:cNvSpPr/>
            <p:nvPr/>
          </p:nvSpPr>
          <p:spPr>
            <a:xfrm>
              <a:off x="2644688" y="2864225"/>
              <a:ext cx="2321515" cy="2321515"/>
            </a:xfrm>
            <a:prstGeom prst="ellipse">
              <a:avLst/>
            </a:prstGeom>
            <a:noFill/>
            <a:ln w="6858"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946" tIns="10973" rIns="21946" bIns="10973"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69" name="Google Shape;18115;p1604">
              <a:extLst>
                <a:ext uri="{FF2B5EF4-FFF2-40B4-BE49-F238E27FC236}">
                  <a16:creationId xmlns:a16="http://schemas.microsoft.com/office/drawing/2014/main" id="{30863B67-7AED-44AA-B832-4EFBC2874F22}"/>
                </a:ext>
              </a:extLst>
            </p:cNvPr>
            <p:cNvGrpSpPr/>
            <p:nvPr/>
          </p:nvGrpSpPr>
          <p:grpSpPr>
            <a:xfrm>
              <a:off x="4402332" y="4548551"/>
              <a:ext cx="346511" cy="346515"/>
              <a:chOff x="1932810" y="1349835"/>
              <a:chExt cx="185335" cy="185337"/>
            </a:xfrm>
            <a:solidFill>
              <a:schemeClr val="tx2"/>
            </a:solidFill>
          </p:grpSpPr>
          <p:sp>
            <p:nvSpPr>
              <p:cNvPr id="188" name="Google Shape;18116;p1604">
                <a:extLst>
                  <a:ext uri="{FF2B5EF4-FFF2-40B4-BE49-F238E27FC236}">
                    <a16:creationId xmlns:a16="http://schemas.microsoft.com/office/drawing/2014/main" id="{027C1907-8D84-4A02-A22A-C80569BF194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89" name="Google Shape;18117;p1604">
                <a:extLst>
                  <a:ext uri="{FF2B5EF4-FFF2-40B4-BE49-F238E27FC236}">
                    <a16:creationId xmlns:a16="http://schemas.microsoft.com/office/drawing/2014/main" id="{0C9CB18F-AA80-435E-8893-52F259A000E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70" name="Google Shape;18115;p1604">
              <a:extLst>
                <a:ext uri="{FF2B5EF4-FFF2-40B4-BE49-F238E27FC236}">
                  <a16:creationId xmlns:a16="http://schemas.microsoft.com/office/drawing/2014/main" id="{8B7B475D-95A4-4F13-AF39-FB5CB02EA967}"/>
                </a:ext>
              </a:extLst>
            </p:cNvPr>
            <p:cNvGrpSpPr/>
            <p:nvPr/>
          </p:nvGrpSpPr>
          <p:grpSpPr>
            <a:xfrm>
              <a:off x="3578880" y="4958031"/>
              <a:ext cx="346511" cy="346515"/>
              <a:chOff x="1932810" y="1349835"/>
              <a:chExt cx="185335" cy="185337"/>
            </a:xfrm>
            <a:solidFill>
              <a:schemeClr val="tx2"/>
            </a:solidFill>
          </p:grpSpPr>
          <p:sp>
            <p:nvSpPr>
              <p:cNvPr id="186" name="Google Shape;18116;p1604">
                <a:extLst>
                  <a:ext uri="{FF2B5EF4-FFF2-40B4-BE49-F238E27FC236}">
                    <a16:creationId xmlns:a16="http://schemas.microsoft.com/office/drawing/2014/main" id="{99FDD44C-4EC0-4C3A-BA81-03816EA06E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87" name="Google Shape;18117;p1604">
                <a:extLst>
                  <a:ext uri="{FF2B5EF4-FFF2-40B4-BE49-F238E27FC236}">
                    <a16:creationId xmlns:a16="http://schemas.microsoft.com/office/drawing/2014/main" id="{E6EC8741-AB9B-49D1-BD62-69871A508C1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71" name="Google Shape;18115;p1604">
              <a:extLst>
                <a:ext uri="{FF2B5EF4-FFF2-40B4-BE49-F238E27FC236}">
                  <a16:creationId xmlns:a16="http://schemas.microsoft.com/office/drawing/2014/main" id="{3A643EF6-3BFA-44F1-A88B-0F93B9368954}"/>
                </a:ext>
              </a:extLst>
            </p:cNvPr>
            <p:cNvGrpSpPr/>
            <p:nvPr/>
          </p:nvGrpSpPr>
          <p:grpSpPr>
            <a:xfrm>
              <a:off x="2511970" y="3644968"/>
              <a:ext cx="346511" cy="346515"/>
              <a:chOff x="1932810" y="1349835"/>
              <a:chExt cx="185335" cy="185337"/>
            </a:xfrm>
            <a:solidFill>
              <a:schemeClr val="tx2"/>
            </a:solidFill>
          </p:grpSpPr>
          <p:sp>
            <p:nvSpPr>
              <p:cNvPr id="184" name="Google Shape;18116;p1604">
                <a:extLst>
                  <a:ext uri="{FF2B5EF4-FFF2-40B4-BE49-F238E27FC236}">
                    <a16:creationId xmlns:a16="http://schemas.microsoft.com/office/drawing/2014/main" id="{F1A9DB88-5EF1-4F11-A802-346A3ECF8D6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85" name="Google Shape;18117;p1604">
                <a:extLst>
                  <a:ext uri="{FF2B5EF4-FFF2-40B4-BE49-F238E27FC236}">
                    <a16:creationId xmlns:a16="http://schemas.microsoft.com/office/drawing/2014/main" id="{2CF58344-14C3-48F9-AE04-59F997A53E5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72" name="Google Shape;18115;p1604">
              <a:extLst>
                <a:ext uri="{FF2B5EF4-FFF2-40B4-BE49-F238E27FC236}">
                  <a16:creationId xmlns:a16="http://schemas.microsoft.com/office/drawing/2014/main" id="{C5D7A269-0D41-4604-8D84-962F35AAD170}"/>
                </a:ext>
              </a:extLst>
            </p:cNvPr>
            <p:cNvGrpSpPr/>
            <p:nvPr/>
          </p:nvGrpSpPr>
          <p:grpSpPr>
            <a:xfrm>
              <a:off x="4754363" y="4548551"/>
              <a:ext cx="346511" cy="346515"/>
              <a:chOff x="1932810" y="1349835"/>
              <a:chExt cx="185335" cy="185337"/>
            </a:xfrm>
            <a:solidFill>
              <a:schemeClr val="tx2"/>
            </a:solidFill>
          </p:grpSpPr>
          <p:sp>
            <p:nvSpPr>
              <p:cNvPr id="182" name="Google Shape;18116;p1604">
                <a:extLst>
                  <a:ext uri="{FF2B5EF4-FFF2-40B4-BE49-F238E27FC236}">
                    <a16:creationId xmlns:a16="http://schemas.microsoft.com/office/drawing/2014/main" id="{836A0B45-A481-4A61-A12F-6FC960CFF59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83" name="Google Shape;18117;p1604">
                <a:extLst>
                  <a:ext uri="{FF2B5EF4-FFF2-40B4-BE49-F238E27FC236}">
                    <a16:creationId xmlns:a16="http://schemas.microsoft.com/office/drawing/2014/main" id="{5A860532-0B48-4ACE-AC58-C1A5DF01FB3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73" name="Google Shape;18115;p1604">
              <a:extLst>
                <a:ext uri="{FF2B5EF4-FFF2-40B4-BE49-F238E27FC236}">
                  <a16:creationId xmlns:a16="http://schemas.microsoft.com/office/drawing/2014/main" id="{0374C8E6-D6A5-41FB-9116-E85D6ADA0C14}"/>
                </a:ext>
              </a:extLst>
            </p:cNvPr>
            <p:cNvGrpSpPr/>
            <p:nvPr/>
          </p:nvGrpSpPr>
          <p:grpSpPr>
            <a:xfrm>
              <a:off x="2644688" y="4493428"/>
              <a:ext cx="346511" cy="346515"/>
              <a:chOff x="1932810" y="1349835"/>
              <a:chExt cx="185335" cy="185337"/>
            </a:xfrm>
            <a:solidFill>
              <a:schemeClr val="tx2"/>
            </a:solidFill>
          </p:grpSpPr>
          <p:sp>
            <p:nvSpPr>
              <p:cNvPr id="180" name="Google Shape;18116;p1604">
                <a:extLst>
                  <a:ext uri="{FF2B5EF4-FFF2-40B4-BE49-F238E27FC236}">
                    <a16:creationId xmlns:a16="http://schemas.microsoft.com/office/drawing/2014/main" id="{B594654D-532D-4916-A5CA-E5A723CBF9D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81" name="Google Shape;18117;p1604">
                <a:extLst>
                  <a:ext uri="{FF2B5EF4-FFF2-40B4-BE49-F238E27FC236}">
                    <a16:creationId xmlns:a16="http://schemas.microsoft.com/office/drawing/2014/main" id="{9BA9F22C-68E3-407A-A60B-42D9DABD6D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2286">
                <a:solidFill>
                  <a:schemeClr val="tx1"/>
                </a:solidFill>
                <a:prstDash val="sysDot"/>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74" name="Google Shape;18115;p1604">
              <a:extLst>
                <a:ext uri="{FF2B5EF4-FFF2-40B4-BE49-F238E27FC236}">
                  <a16:creationId xmlns:a16="http://schemas.microsoft.com/office/drawing/2014/main" id="{026613E8-3AD9-4978-AF2E-E43E343DC5B3}"/>
                </a:ext>
              </a:extLst>
            </p:cNvPr>
            <p:cNvGrpSpPr/>
            <p:nvPr/>
          </p:nvGrpSpPr>
          <p:grpSpPr>
            <a:xfrm>
              <a:off x="4764085" y="3612568"/>
              <a:ext cx="346511" cy="346515"/>
              <a:chOff x="1932810" y="1349835"/>
              <a:chExt cx="185335" cy="185337"/>
            </a:xfrm>
            <a:solidFill>
              <a:schemeClr val="tx2"/>
            </a:solidFill>
          </p:grpSpPr>
          <p:sp>
            <p:nvSpPr>
              <p:cNvPr id="178" name="Google Shape;18116;p1604">
                <a:extLst>
                  <a:ext uri="{FF2B5EF4-FFF2-40B4-BE49-F238E27FC236}">
                    <a16:creationId xmlns:a16="http://schemas.microsoft.com/office/drawing/2014/main" id="{9FA4BA6B-F687-4565-AA8F-040B8E3FDE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79" name="Google Shape;18117;p1604">
                <a:extLst>
                  <a:ext uri="{FF2B5EF4-FFF2-40B4-BE49-F238E27FC236}">
                    <a16:creationId xmlns:a16="http://schemas.microsoft.com/office/drawing/2014/main" id="{E31DAC05-338F-46A0-8437-F21BDFECA78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75" name="Google Shape;18115;p1604">
              <a:extLst>
                <a:ext uri="{FF2B5EF4-FFF2-40B4-BE49-F238E27FC236}">
                  <a16:creationId xmlns:a16="http://schemas.microsoft.com/office/drawing/2014/main" id="{9ABBA134-88BE-4889-9FDA-4E3E64304D6C}"/>
                </a:ext>
              </a:extLst>
            </p:cNvPr>
            <p:cNvGrpSpPr/>
            <p:nvPr/>
          </p:nvGrpSpPr>
          <p:grpSpPr>
            <a:xfrm>
              <a:off x="3091300" y="2809102"/>
              <a:ext cx="346511" cy="346515"/>
              <a:chOff x="1932810" y="1349835"/>
              <a:chExt cx="185335" cy="185337"/>
            </a:xfrm>
            <a:solidFill>
              <a:schemeClr val="tx2"/>
            </a:solidFill>
          </p:grpSpPr>
          <p:sp>
            <p:nvSpPr>
              <p:cNvPr id="176" name="Google Shape;18116;p1604">
                <a:extLst>
                  <a:ext uri="{FF2B5EF4-FFF2-40B4-BE49-F238E27FC236}">
                    <a16:creationId xmlns:a16="http://schemas.microsoft.com/office/drawing/2014/main" id="{788F7907-A57C-403C-BF97-73D305D3149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77" name="Google Shape;18117;p1604">
                <a:extLst>
                  <a:ext uri="{FF2B5EF4-FFF2-40B4-BE49-F238E27FC236}">
                    <a16:creationId xmlns:a16="http://schemas.microsoft.com/office/drawing/2014/main" id="{444A1AF7-7C12-423D-ADFA-59AE60B270B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21942" tIns="10968" rIns="21942" bIns="1096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92" name="Google Shape;18115;p1604">
            <a:extLst>
              <a:ext uri="{FF2B5EF4-FFF2-40B4-BE49-F238E27FC236}">
                <a16:creationId xmlns:a16="http://schemas.microsoft.com/office/drawing/2014/main" id="{AED6B245-FE25-4EAC-B340-D3022FF0D641}"/>
              </a:ext>
            </a:extLst>
          </p:cNvPr>
          <p:cNvGrpSpPr/>
          <p:nvPr/>
        </p:nvGrpSpPr>
        <p:grpSpPr>
          <a:xfrm>
            <a:off x="3287080" y="4763539"/>
            <a:ext cx="193423" cy="193425"/>
            <a:chOff x="1932810" y="1349835"/>
            <a:chExt cx="185335" cy="185337"/>
          </a:xfrm>
          <a:solidFill>
            <a:schemeClr val="tx2"/>
          </a:solidFill>
        </p:grpSpPr>
        <p:sp>
          <p:nvSpPr>
            <p:cNvPr id="193" name="Google Shape;18116;p1604">
              <a:extLst>
                <a:ext uri="{FF2B5EF4-FFF2-40B4-BE49-F238E27FC236}">
                  <a16:creationId xmlns:a16="http://schemas.microsoft.com/office/drawing/2014/main" id="{0478C2E8-1BBE-4E85-B3B0-638F32EE11B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94" name="Google Shape;18117;p1604">
              <a:extLst>
                <a:ext uri="{FF2B5EF4-FFF2-40B4-BE49-F238E27FC236}">
                  <a16:creationId xmlns:a16="http://schemas.microsoft.com/office/drawing/2014/main" id="{16D98F94-6F27-4D42-8B2B-885C1386BFB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95" name="Google Shape;18115;p1604">
            <a:extLst>
              <a:ext uri="{FF2B5EF4-FFF2-40B4-BE49-F238E27FC236}">
                <a16:creationId xmlns:a16="http://schemas.microsoft.com/office/drawing/2014/main" id="{69B7F0EB-ADDE-47E4-A213-27ABEE7C5457}"/>
              </a:ext>
            </a:extLst>
          </p:cNvPr>
          <p:cNvGrpSpPr/>
          <p:nvPr/>
        </p:nvGrpSpPr>
        <p:grpSpPr>
          <a:xfrm>
            <a:off x="3593994" y="4763539"/>
            <a:ext cx="193423" cy="193425"/>
            <a:chOff x="1932810" y="1349835"/>
            <a:chExt cx="185335" cy="185337"/>
          </a:xfrm>
          <a:solidFill>
            <a:schemeClr val="tx2"/>
          </a:solidFill>
        </p:grpSpPr>
        <p:sp>
          <p:nvSpPr>
            <p:cNvPr id="196" name="Google Shape;18116;p1604">
              <a:extLst>
                <a:ext uri="{FF2B5EF4-FFF2-40B4-BE49-F238E27FC236}">
                  <a16:creationId xmlns:a16="http://schemas.microsoft.com/office/drawing/2014/main" id="{EA18C16B-DB25-4B9A-B2D4-7DA46B13FF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97" name="Google Shape;18117;p1604">
              <a:extLst>
                <a:ext uri="{FF2B5EF4-FFF2-40B4-BE49-F238E27FC236}">
                  <a16:creationId xmlns:a16="http://schemas.microsoft.com/office/drawing/2014/main" id="{F7E159E5-81C7-4B55-B13D-40DE01BB2E0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98" name="Google Shape;18115;p1604">
            <a:extLst>
              <a:ext uri="{FF2B5EF4-FFF2-40B4-BE49-F238E27FC236}">
                <a16:creationId xmlns:a16="http://schemas.microsoft.com/office/drawing/2014/main" id="{4F68A2D4-1553-4B24-BDB6-900E144A57D0}"/>
              </a:ext>
            </a:extLst>
          </p:cNvPr>
          <p:cNvGrpSpPr/>
          <p:nvPr/>
        </p:nvGrpSpPr>
        <p:grpSpPr>
          <a:xfrm>
            <a:off x="3544188" y="4475549"/>
            <a:ext cx="193423" cy="193425"/>
            <a:chOff x="1932810" y="1349835"/>
            <a:chExt cx="185335" cy="185337"/>
          </a:xfrm>
          <a:solidFill>
            <a:schemeClr val="tx2"/>
          </a:solidFill>
        </p:grpSpPr>
        <p:sp>
          <p:nvSpPr>
            <p:cNvPr id="199" name="Google Shape;18116;p1604">
              <a:extLst>
                <a:ext uri="{FF2B5EF4-FFF2-40B4-BE49-F238E27FC236}">
                  <a16:creationId xmlns:a16="http://schemas.microsoft.com/office/drawing/2014/main" id="{04B9A8FC-1F14-40BB-8F9E-4BAE949B88C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00" name="Google Shape;18117;p1604">
              <a:extLst>
                <a:ext uri="{FF2B5EF4-FFF2-40B4-BE49-F238E27FC236}">
                  <a16:creationId xmlns:a16="http://schemas.microsoft.com/office/drawing/2014/main" id="{97CF96D5-B91E-4E01-A39F-809DD0E4169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201" name="Google Shape;18115;p1604">
            <a:extLst>
              <a:ext uri="{FF2B5EF4-FFF2-40B4-BE49-F238E27FC236}">
                <a16:creationId xmlns:a16="http://schemas.microsoft.com/office/drawing/2014/main" id="{25C72CB2-4043-4A19-8EF4-B83E3760C1E4}"/>
              </a:ext>
            </a:extLst>
          </p:cNvPr>
          <p:cNvGrpSpPr/>
          <p:nvPr/>
        </p:nvGrpSpPr>
        <p:grpSpPr>
          <a:xfrm>
            <a:off x="3851102" y="4475549"/>
            <a:ext cx="193423" cy="193425"/>
            <a:chOff x="1932810" y="1349835"/>
            <a:chExt cx="185335" cy="185337"/>
          </a:xfrm>
          <a:solidFill>
            <a:schemeClr val="tx2"/>
          </a:solidFill>
        </p:grpSpPr>
        <p:sp>
          <p:nvSpPr>
            <p:cNvPr id="202" name="Google Shape;18116;p1604">
              <a:extLst>
                <a:ext uri="{FF2B5EF4-FFF2-40B4-BE49-F238E27FC236}">
                  <a16:creationId xmlns:a16="http://schemas.microsoft.com/office/drawing/2014/main" id="{E1586AD0-9985-4D0C-B8E3-FE865C5D229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03" name="Google Shape;18117;p1604">
              <a:extLst>
                <a:ext uri="{FF2B5EF4-FFF2-40B4-BE49-F238E27FC236}">
                  <a16:creationId xmlns:a16="http://schemas.microsoft.com/office/drawing/2014/main" id="{C7E9EDC4-ABB0-43BB-874F-25617F4973B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204" name="Google Shape;18115;p1604">
            <a:extLst>
              <a:ext uri="{FF2B5EF4-FFF2-40B4-BE49-F238E27FC236}">
                <a16:creationId xmlns:a16="http://schemas.microsoft.com/office/drawing/2014/main" id="{B9B603C0-B2B7-4BF6-AF41-1A2A99B3E813}"/>
              </a:ext>
            </a:extLst>
          </p:cNvPr>
          <p:cNvGrpSpPr/>
          <p:nvPr/>
        </p:nvGrpSpPr>
        <p:grpSpPr>
          <a:xfrm>
            <a:off x="3823140" y="4187077"/>
            <a:ext cx="193423" cy="193425"/>
            <a:chOff x="1932810" y="1349835"/>
            <a:chExt cx="185335" cy="185337"/>
          </a:xfrm>
          <a:solidFill>
            <a:schemeClr val="tx2"/>
          </a:solidFill>
        </p:grpSpPr>
        <p:sp>
          <p:nvSpPr>
            <p:cNvPr id="205" name="Google Shape;18116;p1604">
              <a:extLst>
                <a:ext uri="{FF2B5EF4-FFF2-40B4-BE49-F238E27FC236}">
                  <a16:creationId xmlns:a16="http://schemas.microsoft.com/office/drawing/2014/main" id="{8AA239FE-3522-4FA2-BAAA-3CB7E85C106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06" name="Google Shape;18117;p1604">
              <a:extLst>
                <a:ext uri="{FF2B5EF4-FFF2-40B4-BE49-F238E27FC236}">
                  <a16:creationId xmlns:a16="http://schemas.microsoft.com/office/drawing/2014/main" id="{E08DC41E-7A98-4C70-A5CF-36DA4B377BE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207" name="Google Shape;18115;p1604">
            <a:extLst>
              <a:ext uri="{FF2B5EF4-FFF2-40B4-BE49-F238E27FC236}">
                <a16:creationId xmlns:a16="http://schemas.microsoft.com/office/drawing/2014/main" id="{6441EE8A-5C14-47A9-9F9B-D0142EEE4425}"/>
              </a:ext>
            </a:extLst>
          </p:cNvPr>
          <p:cNvGrpSpPr/>
          <p:nvPr/>
        </p:nvGrpSpPr>
        <p:grpSpPr>
          <a:xfrm>
            <a:off x="4130054" y="4187077"/>
            <a:ext cx="193423" cy="193425"/>
            <a:chOff x="1932810" y="1349835"/>
            <a:chExt cx="185335" cy="185337"/>
          </a:xfrm>
          <a:solidFill>
            <a:schemeClr val="tx2"/>
          </a:solidFill>
        </p:grpSpPr>
        <p:sp>
          <p:nvSpPr>
            <p:cNvPr id="208" name="Google Shape;18116;p1604">
              <a:extLst>
                <a:ext uri="{FF2B5EF4-FFF2-40B4-BE49-F238E27FC236}">
                  <a16:creationId xmlns:a16="http://schemas.microsoft.com/office/drawing/2014/main" id="{432F6D3B-3DE6-4CFB-A1AB-3E54AB55E27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09" name="Google Shape;18117;p1604">
              <a:extLst>
                <a:ext uri="{FF2B5EF4-FFF2-40B4-BE49-F238E27FC236}">
                  <a16:creationId xmlns:a16="http://schemas.microsoft.com/office/drawing/2014/main" id="{A91A86CF-9D9F-47EC-AEBB-28025B227E2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cxnSp>
        <p:nvCxnSpPr>
          <p:cNvPr id="211" name="Straight Connector 210">
            <a:extLst>
              <a:ext uri="{FF2B5EF4-FFF2-40B4-BE49-F238E27FC236}">
                <a16:creationId xmlns:a16="http://schemas.microsoft.com/office/drawing/2014/main" id="{801A4F24-4841-432A-9975-0D748C57D297}"/>
              </a:ext>
            </a:extLst>
          </p:cNvPr>
          <p:cNvCxnSpPr>
            <a:cxnSpLocks/>
          </p:cNvCxnSpPr>
          <p:nvPr/>
        </p:nvCxnSpPr>
        <p:spPr>
          <a:xfrm>
            <a:off x="4388619" y="5241486"/>
            <a:ext cx="404442" cy="963097"/>
          </a:xfrm>
          <a:prstGeom prst="line">
            <a:avLst/>
          </a:prstGeom>
          <a:ln w="28575" cap="rnd" cmpd="sng" algn="ctr">
            <a:solidFill>
              <a:srgbClr val="55555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F72B170A-311B-423F-997E-7376768EFB2B}"/>
              </a:ext>
            </a:extLst>
          </p:cNvPr>
          <p:cNvCxnSpPr>
            <a:cxnSpLocks/>
          </p:cNvCxnSpPr>
          <p:nvPr/>
        </p:nvCxnSpPr>
        <p:spPr>
          <a:xfrm flipV="1">
            <a:off x="4381411" y="1690589"/>
            <a:ext cx="428311" cy="2460435"/>
          </a:xfrm>
          <a:prstGeom prst="line">
            <a:avLst/>
          </a:prstGeom>
          <a:ln w="28575" cap="rnd" cmpd="sng" algn="ctr">
            <a:solidFill>
              <a:srgbClr val="55555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10" name="Google Shape;18115;p1604">
            <a:extLst>
              <a:ext uri="{FF2B5EF4-FFF2-40B4-BE49-F238E27FC236}">
                <a16:creationId xmlns:a16="http://schemas.microsoft.com/office/drawing/2014/main" id="{AC28EE69-E953-4486-BD9A-01DE4FF41895}"/>
              </a:ext>
            </a:extLst>
          </p:cNvPr>
          <p:cNvGrpSpPr/>
          <p:nvPr/>
        </p:nvGrpSpPr>
        <p:grpSpPr>
          <a:xfrm>
            <a:off x="10083675" y="2945905"/>
            <a:ext cx="282461" cy="282464"/>
            <a:chOff x="1932810" y="1349835"/>
            <a:chExt cx="185335" cy="185337"/>
          </a:xfrm>
          <a:solidFill>
            <a:schemeClr val="tx2"/>
          </a:solidFill>
        </p:grpSpPr>
        <p:sp>
          <p:nvSpPr>
            <p:cNvPr id="212" name="Google Shape;18116;p1604">
              <a:extLst>
                <a:ext uri="{FF2B5EF4-FFF2-40B4-BE49-F238E27FC236}">
                  <a16:creationId xmlns:a16="http://schemas.microsoft.com/office/drawing/2014/main" id="{2DB5346E-FF09-4451-825D-92D3FD4F65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13" name="Google Shape;18117;p1604">
              <a:extLst>
                <a:ext uri="{FF2B5EF4-FFF2-40B4-BE49-F238E27FC236}">
                  <a16:creationId xmlns:a16="http://schemas.microsoft.com/office/drawing/2014/main" id="{44402EB4-877D-4414-A5F1-24C5B5D4A39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215" name="Google Shape;18115;p1604">
            <a:extLst>
              <a:ext uri="{FF2B5EF4-FFF2-40B4-BE49-F238E27FC236}">
                <a16:creationId xmlns:a16="http://schemas.microsoft.com/office/drawing/2014/main" id="{DE036526-D950-418D-858D-97C55962CD9C}"/>
              </a:ext>
            </a:extLst>
          </p:cNvPr>
          <p:cNvGrpSpPr/>
          <p:nvPr/>
        </p:nvGrpSpPr>
        <p:grpSpPr>
          <a:xfrm>
            <a:off x="10083675" y="3318095"/>
            <a:ext cx="282461" cy="282464"/>
            <a:chOff x="1932810" y="1349835"/>
            <a:chExt cx="185335" cy="185337"/>
          </a:xfrm>
          <a:solidFill>
            <a:schemeClr val="tx2"/>
          </a:solidFill>
        </p:grpSpPr>
        <p:sp>
          <p:nvSpPr>
            <p:cNvPr id="216" name="Google Shape;18116;p1604">
              <a:extLst>
                <a:ext uri="{FF2B5EF4-FFF2-40B4-BE49-F238E27FC236}">
                  <a16:creationId xmlns:a16="http://schemas.microsoft.com/office/drawing/2014/main" id="{C189AC14-9989-417F-9349-8E9B6776F0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17" name="Google Shape;18117;p1604">
              <a:extLst>
                <a:ext uri="{FF2B5EF4-FFF2-40B4-BE49-F238E27FC236}">
                  <a16:creationId xmlns:a16="http://schemas.microsoft.com/office/drawing/2014/main" id="{1F68D77E-000B-4077-848B-EDD61945CFF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218" name="TextBox 217">
            <a:extLst>
              <a:ext uri="{FF2B5EF4-FFF2-40B4-BE49-F238E27FC236}">
                <a16:creationId xmlns:a16="http://schemas.microsoft.com/office/drawing/2014/main" id="{269E1E2F-57FE-49A9-8E92-3BED7D8F18C1}"/>
              </a:ext>
            </a:extLst>
          </p:cNvPr>
          <p:cNvSpPr txBox="1"/>
          <p:nvPr/>
        </p:nvSpPr>
        <p:spPr>
          <a:xfrm>
            <a:off x="10218269" y="2887581"/>
            <a:ext cx="1515466"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000000"/>
                </a:solidFill>
              </a:rPr>
              <a:t>Engineering </a:t>
            </a:r>
            <a:r>
              <a:rPr lang="en-US" sz="1100" b="1" dirty="0" err="1">
                <a:solidFill>
                  <a:srgbClr val="000000"/>
                </a:solidFill>
              </a:rPr>
              <a:t>Mgr</a:t>
            </a:r>
            <a:endParaRPr lang="en-US" sz="1100" b="1" dirty="0">
              <a:solidFill>
                <a:srgbClr val="000000"/>
              </a:solidFill>
            </a:endParaRPr>
          </a:p>
        </p:txBody>
      </p:sp>
      <p:sp>
        <p:nvSpPr>
          <p:cNvPr id="219" name="TextBox 218">
            <a:extLst>
              <a:ext uri="{FF2B5EF4-FFF2-40B4-BE49-F238E27FC236}">
                <a16:creationId xmlns:a16="http://schemas.microsoft.com/office/drawing/2014/main" id="{BFE2ACC3-57BA-45A1-8403-14BD12085E23}"/>
              </a:ext>
            </a:extLst>
          </p:cNvPr>
          <p:cNvSpPr txBox="1"/>
          <p:nvPr/>
        </p:nvSpPr>
        <p:spPr>
          <a:xfrm>
            <a:off x="10218269" y="3260582"/>
            <a:ext cx="1515466" cy="400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000000"/>
                </a:solidFill>
              </a:rPr>
              <a:t>Design </a:t>
            </a:r>
            <a:r>
              <a:rPr lang="en-US" sz="1100" b="1" dirty="0" err="1">
                <a:solidFill>
                  <a:srgbClr val="000000"/>
                </a:solidFill>
              </a:rPr>
              <a:t>Mgr</a:t>
            </a:r>
            <a:endParaRPr lang="en-US" sz="1100" b="1" dirty="0">
              <a:solidFill>
                <a:srgbClr val="000000"/>
              </a:solidFill>
            </a:endParaRPr>
          </a:p>
        </p:txBody>
      </p:sp>
      <p:sp>
        <p:nvSpPr>
          <p:cNvPr id="220" name="Rectangle 219">
            <a:extLst>
              <a:ext uri="{FF2B5EF4-FFF2-40B4-BE49-F238E27FC236}">
                <a16:creationId xmlns:a16="http://schemas.microsoft.com/office/drawing/2014/main" id="{EF638410-BD2A-431D-9A9C-AEFE3E535CDE}"/>
              </a:ext>
            </a:extLst>
          </p:cNvPr>
          <p:cNvSpPr/>
          <p:nvPr/>
        </p:nvSpPr>
        <p:spPr>
          <a:xfrm>
            <a:off x="10307483" y="3154671"/>
            <a:ext cx="1590406" cy="2035865"/>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2">
                    <a:lumMod val="9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i="1" dirty="0">
                <a:solidFill>
                  <a:srgbClr val="55555A"/>
                </a:solidFill>
              </a:rPr>
              <a:t>(embedded in squad)</a:t>
            </a:r>
          </a:p>
        </p:txBody>
      </p:sp>
      <p:grpSp>
        <p:nvGrpSpPr>
          <p:cNvPr id="240" name="Google Shape;18115;p1604">
            <a:extLst>
              <a:ext uri="{FF2B5EF4-FFF2-40B4-BE49-F238E27FC236}">
                <a16:creationId xmlns:a16="http://schemas.microsoft.com/office/drawing/2014/main" id="{5993CE6F-30B1-4D1C-B42B-1C809548F211}"/>
              </a:ext>
            </a:extLst>
          </p:cNvPr>
          <p:cNvGrpSpPr/>
          <p:nvPr/>
        </p:nvGrpSpPr>
        <p:grpSpPr>
          <a:xfrm>
            <a:off x="2113158" y="3758732"/>
            <a:ext cx="282461" cy="282465"/>
            <a:chOff x="1932811" y="1349835"/>
            <a:chExt cx="185335" cy="185338"/>
          </a:xfrm>
          <a:solidFill>
            <a:schemeClr val="tx2"/>
          </a:solidFill>
        </p:grpSpPr>
        <p:sp>
          <p:nvSpPr>
            <p:cNvPr id="241" name="Google Shape;18116;p1604">
              <a:extLst>
                <a:ext uri="{FF2B5EF4-FFF2-40B4-BE49-F238E27FC236}">
                  <a16:creationId xmlns:a16="http://schemas.microsoft.com/office/drawing/2014/main" id="{2D98A85D-DDCA-4C72-94FE-DF00B8E8726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EEE89A"/>
            </a:solidFill>
            <a:ln w="9525" cap="flat" cmpd="sng" algn="ctr">
              <a:solidFill>
                <a:srgbClr val="00148C"/>
              </a:solidFill>
              <a:prstDash val="sysDot"/>
              <a:round/>
              <a:headEnd type="none" w="med" len="med"/>
              <a:tailEnd type="none" w="med" len="med"/>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42" name="Google Shape;18117;p1604">
              <a:extLst>
                <a:ext uri="{FF2B5EF4-FFF2-40B4-BE49-F238E27FC236}">
                  <a16:creationId xmlns:a16="http://schemas.microsoft.com/office/drawing/2014/main" id="{2E4D3ED5-DDEB-475E-8045-7A7C2C9C3FBA}"/>
                </a:ext>
              </a:extLst>
            </p:cNvPr>
            <p:cNvSpPr/>
            <p:nvPr/>
          </p:nvSpPr>
          <p:spPr>
            <a:xfrm>
              <a:off x="1932811" y="1455744"/>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EEE89A"/>
            </a:solidFill>
            <a:ln w="9525" cap="flat" cmpd="sng" algn="ctr">
              <a:solidFill>
                <a:srgbClr val="00148C"/>
              </a:solidFill>
              <a:prstDash val="sysDot"/>
              <a:round/>
              <a:headEnd type="none" w="med" len="med"/>
              <a:tailEnd type="none" w="med" len="med"/>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246" name="TextBox 245">
            <a:extLst>
              <a:ext uri="{FF2B5EF4-FFF2-40B4-BE49-F238E27FC236}">
                <a16:creationId xmlns:a16="http://schemas.microsoft.com/office/drawing/2014/main" id="{2E004EC6-67BF-46D1-B2DC-466AB40E7BC5}"/>
              </a:ext>
            </a:extLst>
          </p:cNvPr>
          <p:cNvSpPr txBox="1"/>
          <p:nvPr/>
        </p:nvSpPr>
        <p:spPr>
          <a:xfrm>
            <a:off x="1509752" y="3646809"/>
            <a:ext cx="719138" cy="564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212121"/>
                </a:solidFill>
                <a:sym typeface="Century Gothic" panose="020B0502020202020204" pitchFamily="34" charset="0"/>
              </a:rPr>
              <a:t>Design</a:t>
            </a:r>
          </a:p>
          <a:p>
            <a:pPr algn="ctr"/>
            <a:r>
              <a:rPr lang="en-US" sz="1000" dirty="0">
                <a:solidFill>
                  <a:srgbClr val="212121"/>
                </a:solidFill>
                <a:sym typeface="Century Gothic" panose="020B0502020202020204" pitchFamily="34" charset="0"/>
              </a:rPr>
              <a:t>Dir</a:t>
            </a:r>
          </a:p>
        </p:txBody>
      </p:sp>
      <p:grpSp>
        <p:nvGrpSpPr>
          <p:cNvPr id="247" name="Google Shape;18115;p1604">
            <a:extLst>
              <a:ext uri="{FF2B5EF4-FFF2-40B4-BE49-F238E27FC236}">
                <a16:creationId xmlns:a16="http://schemas.microsoft.com/office/drawing/2014/main" id="{D4FC4419-6948-460E-B48C-CC8FBA794270}"/>
              </a:ext>
            </a:extLst>
          </p:cNvPr>
          <p:cNvGrpSpPr/>
          <p:nvPr/>
        </p:nvGrpSpPr>
        <p:grpSpPr>
          <a:xfrm>
            <a:off x="3444046" y="3777630"/>
            <a:ext cx="282461" cy="282465"/>
            <a:chOff x="1932811" y="1349835"/>
            <a:chExt cx="185335" cy="185338"/>
          </a:xfrm>
          <a:solidFill>
            <a:schemeClr val="tx2"/>
          </a:solidFill>
        </p:grpSpPr>
        <p:sp>
          <p:nvSpPr>
            <p:cNvPr id="248" name="Google Shape;18116;p1604">
              <a:extLst>
                <a:ext uri="{FF2B5EF4-FFF2-40B4-BE49-F238E27FC236}">
                  <a16:creationId xmlns:a16="http://schemas.microsoft.com/office/drawing/2014/main" id="{32E13C7E-C75B-48DA-994D-D43AD8BCE9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EEE89A"/>
            </a:solidFill>
            <a:ln w="9525" cap="flat" cmpd="sng" algn="ctr">
              <a:solidFill>
                <a:srgbClr val="00148C"/>
              </a:solidFill>
              <a:prstDash val="sysDot"/>
              <a:round/>
              <a:headEnd type="none" w="med" len="med"/>
              <a:tailEnd type="none" w="med" len="med"/>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49" name="Google Shape;18117;p1604">
              <a:extLst>
                <a:ext uri="{FF2B5EF4-FFF2-40B4-BE49-F238E27FC236}">
                  <a16:creationId xmlns:a16="http://schemas.microsoft.com/office/drawing/2014/main" id="{75DE1083-C538-4C34-8FF6-31CDB1062177}"/>
                </a:ext>
              </a:extLst>
            </p:cNvPr>
            <p:cNvSpPr/>
            <p:nvPr/>
          </p:nvSpPr>
          <p:spPr>
            <a:xfrm>
              <a:off x="1932811" y="1455744"/>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EEE89A"/>
            </a:solidFill>
            <a:ln w="9525" cap="flat" cmpd="sng" algn="ctr">
              <a:solidFill>
                <a:srgbClr val="00148C"/>
              </a:solidFill>
              <a:prstDash val="sysDot"/>
              <a:round/>
              <a:headEnd type="none" w="med" len="med"/>
              <a:tailEnd type="none" w="med" len="med"/>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250" name="TextBox 249">
            <a:extLst>
              <a:ext uri="{FF2B5EF4-FFF2-40B4-BE49-F238E27FC236}">
                <a16:creationId xmlns:a16="http://schemas.microsoft.com/office/drawing/2014/main" id="{D2B3B013-A19C-4704-9860-9E02B970A56E}"/>
              </a:ext>
            </a:extLst>
          </p:cNvPr>
          <p:cNvSpPr txBox="1"/>
          <p:nvPr/>
        </p:nvSpPr>
        <p:spPr>
          <a:xfrm>
            <a:off x="2745752" y="3646809"/>
            <a:ext cx="719138" cy="564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00" dirty="0">
                <a:solidFill>
                  <a:srgbClr val="212121"/>
                </a:solidFill>
                <a:sym typeface="Century Gothic" panose="020B0502020202020204" pitchFamily="34" charset="0"/>
              </a:rPr>
              <a:t>Engineering</a:t>
            </a:r>
          </a:p>
          <a:p>
            <a:pPr algn="ctr"/>
            <a:r>
              <a:rPr lang="en-US" sz="1000" dirty="0">
                <a:solidFill>
                  <a:srgbClr val="212121"/>
                </a:solidFill>
                <a:sym typeface="Century Gothic" panose="020B0502020202020204" pitchFamily="34" charset="0"/>
              </a:rPr>
              <a:t> Dir</a:t>
            </a:r>
          </a:p>
        </p:txBody>
      </p:sp>
      <p:grpSp>
        <p:nvGrpSpPr>
          <p:cNvPr id="251" name="Group 250">
            <a:extLst>
              <a:ext uri="{FF2B5EF4-FFF2-40B4-BE49-F238E27FC236}">
                <a16:creationId xmlns:a16="http://schemas.microsoft.com/office/drawing/2014/main" id="{A95F56F6-8620-46E4-AF0F-45A40E3E717C}"/>
              </a:ext>
            </a:extLst>
          </p:cNvPr>
          <p:cNvGrpSpPr/>
          <p:nvPr/>
        </p:nvGrpSpPr>
        <p:grpSpPr>
          <a:xfrm>
            <a:off x="10422005" y="847414"/>
            <a:ext cx="1308065" cy="641158"/>
            <a:chOff x="369186" y="1261422"/>
            <a:chExt cx="1308065" cy="641158"/>
          </a:xfrm>
        </p:grpSpPr>
        <p:grpSp>
          <p:nvGrpSpPr>
            <p:cNvPr id="252" name="Google Shape;18115;p1604">
              <a:extLst>
                <a:ext uri="{FF2B5EF4-FFF2-40B4-BE49-F238E27FC236}">
                  <a16:creationId xmlns:a16="http://schemas.microsoft.com/office/drawing/2014/main" id="{B62BA862-D8F9-4633-96DE-3B32DB86EAD1}"/>
                </a:ext>
              </a:extLst>
            </p:cNvPr>
            <p:cNvGrpSpPr/>
            <p:nvPr/>
          </p:nvGrpSpPr>
          <p:grpSpPr>
            <a:xfrm>
              <a:off x="476186" y="1333471"/>
              <a:ext cx="217843" cy="217845"/>
              <a:chOff x="1932810" y="1349835"/>
              <a:chExt cx="185335" cy="185337"/>
            </a:xfrm>
            <a:solidFill>
              <a:srgbClr val="FFE02B"/>
            </a:solidFill>
          </p:grpSpPr>
          <p:sp>
            <p:nvSpPr>
              <p:cNvPr id="263" name="Google Shape;18116;p1604">
                <a:extLst>
                  <a:ext uri="{FF2B5EF4-FFF2-40B4-BE49-F238E27FC236}">
                    <a16:creationId xmlns:a16="http://schemas.microsoft.com/office/drawing/2014/main" id="{B61B3BE3-F666-4596-8DFF-9D4B11C3EC7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64" name="Google Shape;18117;p1604">
                <a:extLst>
                  <a:ext uri="{FF2B5EF4-FFF2-40B4-BE49-F238E27FC236}">
                    <a16:creationId xmlns:a16="http://schemas.microsoft.com/office/drawing/2014/main" id="{03B56D96-F2AD-418C-9A3A-8EFD3528373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253" name="Google Shape;18115;p1604">
              <a:extLst>
                <a:ext uri="{FF2B5EF4-FFF2-40B4-BE49-F238E27FC236}">
                  <a16:creationId xmlns:a16="http://schemas.microsoft.com/office/drawing/2014/main" id="{A4018766-015C-4962-9BF0-F9F045E7F4EA}"/>
                </a:ext>
              </a:extLst>
            </p:cNvPr>
            <p:cNvGrpSpPr/>
            <p:nvPr/>
          </p:nvGrpSpPr>
          <p:grpSpPr>
            <a:xfrm>
              <a:off x="1237672" y="1338822"/>
              <a:ext cx="217843" cy="217845"/>
              <a:chOff x="1932810" y="1349835"/>
              <a:chExt cx="185335" cy="185337"/>
            </a:xfrm>
            <a:solidFill>
              <a:srgbClr val="FFE02B"/>
            </a:solidFill>
          </p:grpSpPr>
          <p:sp>
            <p:nvSpPr>
              <p:cNvPr id="261" name="Google Shape;18116;p1604">
                <a:extLst>
                  <a:ext uri="{FF2B5EF4-FFF2-40B4-BE49-F238E27FC236}">
                    <a16:creationId xmlns:a16="http://schemas.microsoft.com/office/drawing/2014/main" id="{400D8E21-FB3D-49E2-8702-74B9928B2A1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62" name="Google Shape;18117;p1604">
                <a:extLst>
                  <a:ext uri="{FF2B5EF4-FFF2-40B4-BE49-F238E27FC236}">
                    <a16:creationId xmlns:a16="http://schemas.microsoft.com/office/drawing/2014/main" id="{7E0B4E1C-60AC-415F-BD57-27C0F7A851A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254" name="Google Shape;18108;p1604">
              <a:extLst>
                <a:ext uri="{FF2B5EF4-FFF2-40B4-BE49-F238E27FC236}">
                  <a16:creationId xmlns:a16="http://schemas.microsoft.com/office/drawing/2014/main" id="{C7A545FB-0ED7-4DAF-80E5-FADCABF695A3}"/>
                </a:ext>
              </a:extLst>
            </p:cNvPr>
            <p:cNvSpPr txBox="1"/>
            <p:nvPr/>
          </p:nvSpPr>
          <p:spPr>
            <a:xfrm>
              <a:off x="733562" y="1358035"/>
              <a:ext cx="410289" cy="14188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r>
                <a:rPr lang="en-US" sz="900" dirty="0">
                  <a:solidFill>
                    <a:srgbClr val="212121"/>
                  </a:solidFill>
                  <a:sym typeface="Century Gothic" panose="020B0502020202020204" pitchFamily="34" charset="0"/>
                </a:rPr>
                <a:t>Business</a:t>
              </a:r>
            </a:p>
          </p:txBody>
        </p:sp>
        <p:sp>
          <p:nvSpPr>
            <p:cNvPr id="255" name="Google Shape;18108;p1604">
              <a:extLst>
                <a:ext uri="{FF2B5EF4-FFF2-40B4-BE49-F238E27FC236}">
                  <a16:creationId xmlns:a16="http://schemas.microsoft.com/office/drawing/2014/main" id="{98E9B14E-722C-4503-9CDA-CDBCA39D0C67}"/>
                </a:ext>
              </a:extLst>
            </p:cNvPr>
            <p:cNvSpPr txBox="1"/>
            <p:nvPr/>
          </p:nvSpPr>
          <p:spPr>
            <a:xfrm>
              <a:off x="1520970" y="1358035"/>
              <a:ext cx="156281" cy="206469"/>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r>
                <a:rPr lang="en-US" sz="900" dirty="0">
                  <a:solidFill>
                    <a:srgbClr val="212121"/>
                  </a:solidFill>
                  <a:sym typeface="Century Gothic" panose="020B0502020202020204" pitchFamily="34" charset="0"/>
                </a:rPr>
                <a:t>IT</a:t>
              </a:r>
            </a:p>
          </p:txBody>
        </p:sp>
        <p:sp>
          <p:nvSpPr>
            <p:cNvPr id="256" name="Rectangle 255">
              <a:extLst>
                <a:ext uri="{FF2B5EF4-FFF2-40B4-BE49-F238E27FC236}">
                  <a16:creationId xmlns:a16="http://schemas.microsoft.com/office/drawing/2014/main" id="{1A047370-3714-47DF-AA59-E716439D0D3E}"/>
                </a:ext>
              </a:extLst>
            </p:cNvPr>
            <p:cNvSpPr/>
            <p:nvPr/>
          </p:nvSpPr>
          <p:spPr>
            <a:xfrm>
              <a:off x="369186" y="1261422"/>
              <a:ext cx="1308065" cy="641158"/>
            </a:xfrm>
            <a:prstGeom prst="rect">
              <a:avLst/>
            </a:prstGeom>
            <a:noFill/>
            <a:ln w="9525" cap="rnd" cmpd="sng" algn="ctr">
              <a:solidFill>
                <a:srgbClr val="A6A6A6"/>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57" name="Google Shape;18115;p1604">
              <a:extLst>
                <a:ext uri="{FF2B5EF4-FFF2-40B4-BE49-F238E27FC236}">
                  <a16:creationId xmlns:a16="http://schemas.microsoft.com/office/drawing/2014/main" id="{9A2ED28A-BC42-45B2-BCDB-577340B1912B}"/>
                </a:ext>
              </a:extLst>
            </p:cNvPr>
            <p:cNvGrpSpPr/>
            <p:nvPr/>
          </p:nvGrpSpPr>
          <p:grpSpPr>
            <a:xfrm>
              <a:off x="1225732" y="1649629"/>
              <a:ext cx="217843" cy="217845"/>
              <a:chOff x="1932810" y="1349835"/>
              <a:chExt cx="185335" cy="185337"/>
            </a:xfrm>
            <a:solidFill>
              <a:srgbClr val="FFE02B"/>
            </a:solidFill>
          </p:grpSpPr>
          <p:sp>
            <p:nvSpPr>
              <p:cNvPr id="259" name="Google Shape;18116;p1604">
                <a:extLst>
                  <a:ext uri="{FF2B5EF4-FFF2-40B4-BE49-F238E27FC236}">
                    <a16:creationId xmlns:a16="http://schemas.microsoft.com/office/drawing/2014/main" id="{54C8BC53-D8FF-40A1-B2D9-E10A3E94BE9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EEE89A"/>
              </a:solidFill>
              <a:ln>
                <a:solidFill>
                  <a:schemeClr val="tx1"/>
                </a:solidFill>
                <a:prstDash val="sysDot"/>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260" name="Google Shape;18117;p1604">
                <a:extLst>
                  <a:ext uri="{FF2B5EF4-FFF2-40B4-BE49-F238E27FC236}">
                    <a16:creationId xmlns:a16="http://schemas.microsoft.com/office/drawing/2014/main" id="{FC04A41B-773E-489D-8A47-4101060BB46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EEE89A"/>
              </a:solidFill>
              <a:ln>
                <a:solidFill>
                  <a:schemeClr val="tx1"/>
                </a:solidFill>
                <a:prstDash val="sysDot"/>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258" name="Google Shape;18108;p1604">
              <a:extLst>
                <a:ext uri="{FF2B5EF4-FFF2-40B4-BE49-F238E27FC236}">
                  <a16:creationId xmlns:a16="http://schemas.microsoft.com/office/drawing/2014/main" id="{C033AE53-D12E-4551-94B8-BAD992B075E1}"/>
                </a:ext>
              </a:extLst>
            </p:cNvPr>
            <p:cNvSpPr txBox="1"/>
            <p:nvPr/>
          </p:nvSpPr>
          <p:spPr>
            <a:xfrm>
              <a:off x="754890" y="1662952"/>
              <a:ext cx="576097" cy="193281"/>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r>
                <a:rPr lang="en-US" sz="900" dirty="0">
                  <a:solidFill>
                    <a:srgbClr val="212121"/>
                  </a:solidFill>
                  <a:sym typeface="Century Gothic" panose="020B0502020202020204" pitchFamily="34" charset="0"/>
                </a:rPr>
                <a:t>Optional</a:t>
              </a:r>
            </a:p>
          </p:txBody>
        </p:sp>
      </p:grpSp>
      <p:sp>
        <p:nvSpPr>
          <p:cNvPr id="221" name="NavigationTriangle">
            <a:extLst>
              <a:ext uri="{FF2B5EF4-FFF2-40B4-BE49-F238E27FC236}">
                <a16:creationId xmlns:a16="http://schemas.microsoft.com/office/drawing/2014/main" id="{25A4F486-F101-4E76-BAE2-0ED9D3875558}"/>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2" name="NavigationIcon">
            <a:extLst>
              <a:ext uri="{FF2B5EF4-FFF2-40B4-BE49-F238E27FC236}">
                <a16:creationId xmlns:a16="http://schemas.microsoft.com/office/drawing/2014/main" id="{3C3D2F6B-F569-469F-95D2-B48C68CB7F8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4</a:t>
            </a:r>
          </a:p>
        </p:txBody>
      </p:sp>
    </p:spTree>
    <p:extLst>
      <p:ext uri="{BB962C8B-B14F-4D97-AF65-F5344CB8AC3E}">
        <p14:creationId xmlns:p14="http://schemas.microsoft.com/office/powerpoint/2010/main" val="166577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2"/>
            </p:custDataLst>
            <p:extLst>
              <p:ext uri="{D42A27DB-BD31-4B8C-83A1-F6EECF244321}">
                <p14:modId xmlns:p14="http://schemas.microsoft.com/office/powerpoint/2010/main" val="2304885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8" name="think-cell Slide" r:id="rId5" imgW="381" imgH="381" progId="TCLayout.ActiveDocument.1">
                  <p:embed/>
                </p:oleObj>
              </mc:Choice>
              <mc:Fallback>
                <p:oleObj name="think-cell Slide" r:id="rId5"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6" name="Title 1">
            <a:extLst>
              <a:ext uri="{FF2B5EF4-FFF2-40B4-BE49-F238E27FC236}">
                <a16:creationId xmlns:a16="http://schemas.microsoft.com/office/drawing/2014/main" id="{D4D06D73-436A-B54D-ADCC-F07AC0830793}"/>
              </a:ext>
            </a:extLst>
          </p:cNvPr>
          <p:cNvSpPr>
            <a:spLocks noGrp="1"/>
          </p:cNvSpPr>
          <p:nvPr>
            <p:ph type="title"/>
          </p:nvPr>
        </p:nvSpPr>
        <p:spPr>
          <a:xfrm>
            <a:off x="630000" y="622800"/>
            <a:ext cx="11440632" cy="387798"/>
          </a:xfrm>
        </p:spPr>
        <p:txBody>
          <a:bodyPr vert="horz" wrap="none">
            <a:noAutofit/>
          </a:bodyPr>
          <a:lstStyle/>
          <a:p>
            <a:pPr>
              <a:buSzPts val="2800"/>
            </a:pPr>
            <a:r>
              <a:rPr lang="en-US" dirty="0"/>
              <a:t>Future-state product operating model across individual Spoke</a:t>
            </a:r>
          </a:p>
        </p:txBody>
      </p:sp>
      <p:sp>
        <p:nvSpPr>
          <p:cNvPr id="12" name="TextBox 11">
            <a:extLst>
              <a:ext uri="{FF2B5EF4-FFF2-40B4-BE49-F238E27FC236}">
                <a16:creationId xmlns:a16="http://schemas.microsoft.com/office/drawing/2014/main" id="{DCC74CAB-9005-BC47-AF5A-810CADEE670A}"/>
              </a:ext>
            </a:extLst>
          </p:cNvPr>
          <p:cNvSpPr txBox="1"/>
          <p:nvPr/>
        </p:nvSpPr>
        <p:spPr>
          <a:xfrm>
            <a:off x="13026887" y="3684104"/>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284" name="Rectangle 283">
            <a:extLst>
              <a:ext uri="{FF2B5EF4-FFF2-40B4-BE49-F238E27FC236}">
                <a16:creationId xmlns:a16="http://schemas.microsoft.com/office/drawing/2014/main" id="{97DA959D-CE1D-4A70-8942-26104CB3A476}"/>
              </a:ext>
            </a:extLst>
          </p:cNvPr>
          <p:cNvSpPr/>
          <p:nvPr/>
        </p:nvSpPr>
        <p:spPr>
          <a:xfrm>
            <a:off x="3168399" y="3309168"/>
            <a:ext cx="977139" cy="2000405"/>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a:solidFill>
                  <a:srgbClr val="55555A"/>
                </a:solidFill>
              </a:rPr>
              <a:t>Digital Product B</a:t>
            </a:r>
          </a:p>
        </p:txBody>
      </p:sp>
      <p:sp>
        <p:nvSpPr>
          <p:cNvPr id="285" name="Rectangle 284">
            <a:extLst>
              <a:ext uri="{FF2B5EF4-FFF2-40B4-BE49-F238E27FC236}">
                <a16:creationId xmlns:a16="http://schemas.microsoft.com/office/drawing/2014/main" id="{218B7C0D-ECE8-46A6-9996-241620AB317A}"/>
              </a:ext>
            </a:extLst>
          </p:cNvPr>
          <p:cNvSpPr/>
          <p:nvPr/>
        </p:nvSpPr>
        <p:spPr>
          <a:xfrm>
            <a:off x="2070079" y="3309168"/>
            <a:ext cx="977139" cy="2000405"/>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a:solidFill>
                  <a:srgbClr val="55555A"/>
                </a:solidFill>
              </a:rPr>
              <a:t>Digital Product A</a:t>
            </a:r>
          </a:p>
        </p:txBody>
      </p:sp>
      <p:cxnSp>
        <p:nvCxnSpPr>
          <p:cNvPr id="286" name="Straight Connector 285">
            <a:extLst>
              <a:ext uri="{FF2B5EF4-FFF2-40B4-BE49-F238E27FC236}">
                <a16:creationId xmlns:a16="http://schemas.microsoft.com/office/drawing/2014/main" id="{3BCBA828-9471-4BF4-8026-8227ADBACEA6}"/>
              </a:ext>
            </a:extLst>
          </p:cNvPr>
          <p:cNvCxnSpPr>
            <a:cxnSpLocks/>
          </p:cNvCxnSpPr>
          <p:nvPr/>
        </p:nvCxnSpPr>
        <p:spPr>
          <a:xfrm>
            <a:off x="5621349" y="2833916"/>
            <a:ext cx="0" cy="251085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88" name="Parallelogram 287">
            <a:extLst>
              <a:ext uri="{FF2B5EF4-FFF2-40B4-BE49-F238E27FC236}">
                <a16:creationId xmlns:a16="http://schemas.microsoft.com/office/drawing/2014/main" id="{31067E32-65F2-433A-87AD-49F75260954A}"/>
              </a:ext>
            </a:extLst>
          </p:cNvPr>
          <p:cNvSpPr/>
          <p:nvPr/>
        </p:nvSpPr>
        <p:spPr>
          <a:xfrm>
            <a:off x="2166186" y="2840985"/>
            <a:ext cx="3078445" cy="256135"/>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PRODUCT LINE 1</a:t>
            </a:r>
          </a:p>
        </p:txBody>
      </p:sp>
      <p:sp>
        <p:nvSpPr>
          <p:cNvPr id="289" name="Rectangle 288">
            <a:extLst>
              <a:ext uri="{FF2B5EF4-FFF2-40B4-BE49-F238E27FC236}">
                <a16:creationId xmlns:a16="http://schemas.microsoft.com/office/drawing/2014/main" id="{BEF402B4-8D0B-4255-B89D-EF89F3C4B0B8}"/>
              </a:ext>
            </a:extLst>
          </p:cNvPr>
          <p:cNvSpPr/>
          <p:nvPr/>
        </p:nvSpPr>
        <p:spPr>
          <a:xfrm>
            <a:off x="8095088" y="1902580"/>
            <a:ext cx="1508905" cy="243428"/>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4">
              <a:defRPr/>
            </a:pPr>
            <a:r>
              <a:rPr lang="en-US" sz="1050" b="1" dirty="0">
                <a:solidFill>
                  <a:schemeClr val="tx2"/>
                </a:solidFill>
                <a:latin typeface="Arial"/>
                <a:cs typeface="Arial"/>
              </a:rPr>
              <a:t>Head of Product</a:t>
            </a:r>
          </a:p>
        </p:txBody>
      </p:sp>
      <p:sp>
        <p:nvSpPr>
          <p:cNvPr id="290" name="Rectangle 289">
            <a:extLst>
              <a:ext uri="{FF2B5EF4-FFF2-40B4-BE49-F238E27FC236}">
                <a16:creationId xmlns:a16="http://schemas.microsoft.com/office/drawing/2014/main" id="{0BE76A7B-12F7-43A3-BFEB-5674FA6E0A3C}"/>
              </a:ext>
            </a:extLst>
          </p:cNvPr>
          <p:cNvSpPr/>
          <p:nvPr/>
        </p:nvSpPr>
        <p:spPr>
          <a:xfrm>
            <a:off x="8664268" y="1605687"/>
            <a:ext cx="1508911" cy="243428"/>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4">
              <a:defRPr/>
            </a:pPr>
            <a:r>
              <a:rPr lang="en-US" sz="1050" b="1" dirty="0">
                <a:solidFill>
                  <a:srgbClr val="00148C"/>
                </a:solidFill>
                <a:latin typeface="Arial"/>
                <a:cs typeface="Arial"/>
              </a:rPr>
              <a:t>Head of Engineering</a:t>
            </a:r>
          </a:p>
        </p:txBody>
      </p:sp>
      <p:sp>
        <p:nvSpPr>
          <p:cNvPr id="291" name="Rectangle 290">
            <a:extLst>
              <a:ext uri="{FF2B5EF4-FFF2-40B4-BE49-F238E27FC236}">
                <a16:creationId xmlns:a16="http://schemas.microsoft.com/office/drawing/2014/main" id="{BF74F13F-5FFC-4583-A0ED-0635C3DB7B0F}"/>
              </a:ext>
            </a:extLst>
          </p:cNvPr>
          <p:cNvSpPr/>
          <p:nvPr/>
        </p:nvSpPr>
        <p:spPr>
          <a:xfrm>
            <a:off x="8664268" y="1322614"/>
            <a:ext cx="1508911" cy="243428"/>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4">
              <a:defRPr/>
            </a:pPr>
            <a:r>
              <a:rPr lang="en-US" sz="1050" b="1" dirty="0">
                <a:solidFill>
                  <a:srgbClr val="00148C"/>
                </a:solidFill>
                <a:latin typeface="Arial"/>
                <a:cs typeface="Arial"/>
              </a:rPr>
              <a:t>Domain Architect</a:t>
            </a:r>
          </a:p>
        </p:txBody>
      </p:sp>
      <p:sp>
        <p:nvSpPr>
          <p:cNvPr id="292" name="Rectangle 291">
            <a:extLst>
              <a:ext uri="{FF2B5EF4-FFF2-40B4-BE49-F238E27FC236}">
                <a16:creationId xmlns:a16="http://schemas.microsoft.com/office/drawing/2014/main" id="{C677D568-C823-4919-8BFD-863C36583051}"/>
              </a:ext>
            </a:extLst>
          </p:cNvPr>
          <p:cNvSpPr/>
          <p:nvPr/>
        </p:nvSpPr>
        <p:spPr>
          <a:xfrm>
            <a:off x="2070078" y="1280942"/>
            <a:ext cx="8820629" cy="888955"/>
          </a:xfrm>
          <a:prstGeom prst="rect">
            <a:avLst/>
          </a:prstGeom>
          <a:noFill/>
          <a:ln w="19050" cap="rnd" cmpd="sng" algn="ctr">
            <a:solidFill>
              <a:schemeClr val="tx2"/>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148C"/>
              </a:solidFill>
              <a:effectLst/>
              <a:uLnTx/>
              <a:uFillTx/>
              <a:latin typeface="Arial"/>
              <a:ea typeface="+mn-ea"/>
              <a:cs typeface="Arial"/>
            </a:endParaRPr>
          </a:p>
        </p:txBody>
      </p:sp>
      <p:sp>
        <p:nvSpPr>
          <p:cNvPr id="294" name="Rectangle 293">
            <a:extLst>
              <a:ext uri="{FF2B5EF4-FFF2-40B4-BE49-F238E27FC236}">
                <a16:creationId xmlns:a16="http://schemas.microsoft.com/office/drawing/2014/main" id="{A9CE89B6-5A5D-436D-8115-BC2889296A90}"/>
              </a:ext>
            </a:extLst>
          </p:cNvPr>
          <p:cNvSpPr/>
          <p:nvPr/>
        </p:nvSpPr>
        <p:spPr>
          <a:xfrm>
            <a:off x="5240388" y="1202798"/>
            <a:ext cx="1602290"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148C"/>
                </a:solidFill>
                <a:effectLst/>
                <a:uLnTx/>
                <a:uFillTx/>
                <a:latin typeface="Arial"/>
                <a:ea typeface="+mn-ea"/>
                <a:cs typeface="Arial"/>
              </a:rPr>
              <a:t>BU SPOKE LEADERSHIP</a:t>
            </a:r>
          </a:p>
        </p:txBody>
      </p:sp>
      <p:sp>
        <p:nvSpPr>
          <p:cNvPr id="296" name="Rectangle 295">
            <a:extLst>
              <a:ext uri="{FF2B5EF4-FFF2-40B4-BE49-F238E27FC236}">
                <a16:creationId xmlns:a16="http://schemas.microsoft.com/office/drawing/2014/main" id="{5A790DF1-30C8-4F31-A7AD-4DE178E13682}"/>
              </a:ext>
            </a:extLst>
          </p:cNvPr>
          <p:cNvSpPr/>
          <p:nvPr/>
        </p:nvSpPr>
        <p:spPr>
          <a:xfrm>
            <a:off x="768307" y="2719531"/>
            <a:ext cx="942522"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5"/>
                </a:solidFill>
                <a:latin typeface="Arial"/>
                <a:cs typeface="Arial"/>
              </a:rPr>
              <a:t>PRODUCT LINE</a:t>
            </a:r>
            <a:endParaRPr kumimoji="0" lang="en-US" sz="1200" b="1" i="0" u="none" strike="noStrike" kern="1200" cap="none" spc="0" normalizeH="0" baseline="0" noProof="0" dirty="0">
              <a:ln>
                <a:noFill/>
              </a:ln>
              <a:solidFill>
                <a:schemeClr val="accent5"/>
              </a:solidFill>
              <a:effectLst/>
              <a:uLnTx/>
              <a:uFillTx/>
              <a:latin typeface="Arial"/>
              <a:ea typeface="+mn-ea"/>
              <a:cs typeface="Arial"/>
            </a:endParaRPr>
          </a:p>
        </p:txBody>
      </p:sp>
      <p:sp>
        <p:nvSpPr>
          <p:cNvPr id="297" name="Rectangle 296">
            <a:extLst>
              <a:ext uri="{FF2B5EF4-FFF2-40B4-BE49-F238E27FC236}">
                <a16:creationId xmlns:a16="http://schemas.microsoft.com/office/drawing/2014/main" id="{29EAEBA4-3670-4171-B745-9155A5CB4EFC}"/>
              </a:ext>
            </a:extLst>
          </p:cNvPr>
          <p:cNvSpPr/>
          <p:nvPr/>
        </p:nvSpPr>
        <p:spPr>
          <a:xfrm>
            <a:off x="734351" y="3342986"/>
            <a:ext cx="1283860" cy="27699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5"/>
                </a:solidFill>
                <a:effectLst/>
                <a:uLnTx/>
                <a:uFillTx/>
                <a:latin typeface="Arial"/>
                <a:ea typeface="+mn-ea"/>
                <a:cs typeface="Arial"/>
              </a:rPr>
              <a:t>PRODUCTS</a:t>
            </a:r>
          </a:p>
        </p:txBody>
      </p:sp>
      <p:sp>
        <p:nvSpPr>
          <p:cNvPr id="300" name="Rectangle 299">
            <a:extLst>
              <a:ext uri="{FF2B5EF4-FFF2-40B4-BE49-F238E27FC236}">
                <a16:creationId xmlns:a16="http://schemas.microsoft.com/office/drawing/2014/main" id="{76D1641B-5324-41A1-8FF9-734AE4ED4A4F}"/>
              </a:ext>
            </a:extLst>
          </p:cNvPr>
          <p:cNvSpPr/>
          <p:nvPr/>
        </p:nvSpPr>
        <p:spPr>
          <a:xfrm>
            <a:off x="734351" y="4700159"/>
            <a:ext cx="1283860" cy="27699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5"/>
                </a:solidFill>
                <a:effectLst/>
                <a:uLnTx/>
                <a:uFillTx/>
                <a:latin typeface="Arial"/>
                <a:ea typeface="+mn-ea"/>
                <a:cs typeface="Arial"/>
              </a:rPr>
              <a:t>SQUADS</a:t>
            </a:r>
          </a:p>
        </p:txBody>
      </p:sp>
      <p:sp>
        <p:nvSpPr>
          <p:cNvPr id="301" name="Rectangle 300">
            <a:extLst>
              <a:ext uri="{FF2B5EF4-FFF2-40B4-BE49-F238E27FC236}">
                <a16:creationId xmlns:a16="http://schemas.microsoft.com/office/drawing/2014/main" id="{7B18DC25-FB61-4A27-947F-02BF95EFA5D8}"/>
              </a:ext>
            </a:extLst>
          </p:cNvPr>
          <p:cNvSpPr/>
          <p:nvPr/>
        </p:nvSpPr>
        <p:spPr>
          <a:xfrm>
            <a:off x="713977" y="5428513"/>
            <a:ext cx="1488684"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5"/>
                </a:solidFill>
                <a:effectLst/>
                <a:uLnTx/>
                <a:uFillTx/>
                <a:latin typeface="Arial"/>
                <a:ea typeface="+mn-ea"/>
                <a:cs typeface="Arial"/>
              </a:rPr>
              <a:t>DELIVERY METHODOLOGY</a:t>
            </a:r>
          </a:p>
        </p:txBody>
      </p:sp>
      <p:sp>
        <p:nvSpPr>
          <p:cNvPr id="302" name="Parallelogram 301">
            <a:extLst>
              <a:ext uri="{FF2B5EF4-FFF2-40B4-BE49-F238E27FC236}">
                <a16:creationId xmlns:a16="http://schemas.microsoft.com/office/drawing/2014/main" id="{55A9945D-2C99-412E-B020-38235F1F378C}"/>
              </a:ext>
            </a:extLst>
          </p:cNvPr>
          <p:cNvSpPr/>
          <p:nvPr/>
        </p:nvSpPr>
        <p:spPr>
          <a:xfrm>
            <a:off x="5940653" y="2875156"/>
            <a:ext cx="1874831" cy="256134"/>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PRODUCT LINE </a:t>
            </a:r>
            <a:r>
              <a:rPr lang="en-US" sz="1200" dirty="0">
                <a:solidFill>
                  <a:srgbClr val="FFFFFF"/>
                </a:solidFill>
                <a:latin typeface="Arial"/>
                <a:cs typeface="Arial"/>
              </a:rPr>
              <a:t>2</a:t>
            </a: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p:txBody>
      </p:sp>
      <p:cxnSp>
        <p:nvCxnSpPr>
          <p:cNvPr id="303" name="Straight Connector 302">
            <a:extLst>
              <a:ext uri="{FF2B5EF4-FFF2-40B4-BE49-F238E27FC236}">
                <a16:creationId xmlns:a16="http://schemas.microsoft.com/office/drawing/2014/main" id="{F45B860C-C140-4268-AD23-F3A33FB1CBC9}"/>
              </a:ext>
            </a:extLst>
          </p:cNvPr>
          <p:cNvCxnSpPr>
            <a:cxnSpLocks/>
          </p:cNvCxnSpPr>
          <p:nvPr/>
        </p:nvCxnSpPr>
        <p:spPr>
          <a:xfrm>
            <a:off x="8092198" y="2815744"/>
            <a:ext cx="0" cy="2529022"/>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304" name="Rectangle 303">
            <a:extLst>
              <a:ext uri="{FF2B5EF4-FFF2-40B4-BE49-F238E27FC236}">
                <a16:creationId xmlns:a16="http://schemas.microsoft.com/office/drawing/2014/main" id="{8FC0E948-633E-41D6-B2BD-B4153CA04956}"/>
              </a:ext>
            </a:extLst>
          </p:cNvPr>
          <p:cNvSpPr/>
          <p:nvPr/>
        </p:nvSpPr>
        <p:spPr>
          <a:xfrm>
            <a:off x="2166186" y="5429419"/>
            <a:ext cx="7752570" cy="459853"/>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Digital Product </a:t>
            </a:r>
          </a:p>
          <a:p>
            <a:pPr lvl="0" algn="ctr">
              <a:defRPr/>
            </a:pPr>
            <a:r>
              <a:rPr lang="en-US" sz="1000" b="1" dirty="0">
                <a:solidFill>
                  <a:srgbClr val="00148C"/>
                </a:solidFill>
              </a:rPr>
              <a:t>Methodology </a:t>
            </a:r>
          </a:p>
        </p:txBody>
      </p:sp>
      <p:sp>
        <p:nvSpPr>
          <p:cNvPr id="309" name="Parallelogram 308">
            <a:extLst>
              <a:ext uri="{FF2B5EF4-FFF2-40B4-BE49-F238E27FC236}">
                <a16:creationId xmlns:a16="http://schemas.microsoft.com/office/drawing/2014/main" id="{17BF841D-7725-4E03-8DAC-CFE08F44065E}"/>
              </a:ext>
            </a:extLst>
          </p:cNvPr>
          <p:cNvSpPr/>
          <p:nvPr/>
        </p:nvSpPr>
        <p:spPr>
          <a:xfrm>
            <a:off x="8339296" y="2875156"/>
            <a:ext cx="1874831" cy="256134"/>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PRODUCT LINE </a:t>
            </a:r>
            <a:r>
              <a:rPr lang="en-US" sz="1200" dirty="0">
                <a:solidFill>
                  <a:srgbClr val="FFFFFF"/>
                </a:solidFill>
                <a:latin typeface="Arial"/>
                <a:cs typeface="Arial"/>
              </a:rPr>
              <a:t>3</a:t>
            </a: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p:txBody>
      </p:sp>
      <p:sp>
        <p:nvSpPr>
          <p:cNvPr id="310" name="Rectangle 309">
            <a:extLst>
              <a:ext uri="{FF2B5EF4-FFF2-40B4-BE49-F238E27FC236}">
                <a16:creationId xmlns:a16="http://schemas.microsoft.com/office/drawing/2014/main" id="{D0E2CFC9-3303-4F26-8F78-72884D6A604B}"/>
              </a:ext>
            </a:extLst>
          </p:cNvPr>
          <p:cNvSpPr/>
          <p:nvPr/>
        </p:nvSpPr>
        <p:spPr>
          <a:xfrm>
            <a:off x="6842678" y="2389413"/>
            <a:ext cx="885417" cy="44816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Business Director</a:t>
            </a:r>
          </a:p>
        </p:txBody>
      </p:sp>
      <p:cxnSp>
        <p:nvCxnSpPr>
          <p:cNvPr id="311" name="Straight Connector 310">
            <a:extLst>
              <a:ext uri="{FF2B5EF4-FFF2-40B4-BE49-F238E27FC236}">
                <a16:creationId xmlns:a16="http://schemas.microsoft.com/office/drawing/2014/main" id="{DF675E1B-0014-44F7-B795-D8323B4353FB}"/>
              </a:ext>
            </a:extLst>
          </p:cNvPr>
          <p:cNvCxnSpPr>
            <a:cxnSpLocks/>
          </p:cNvCxnSpPr>
          <p:nvPr/>
        </p:nvCxnSpPr>
        <p:spPr>
          <a:xfrm flipV="1">
            <a:off x="780176" y="5344766"/>
            <a:ext cx="10835511" cy="319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CA2C6F34-259C-477A-A787-2D629A440072}"/>
              </a:ext>
            </a:extLst>
          </p:cNvPr>
          <p:cNvCxnSpPr>
            <a:cxnSpLocks/>
          </p:cNvCxnSpPr>
          <p:nvPr/>
        </p:nvCxnSpPr>
        <p:spPr>
          <a:xfrm>
            <a:off x="780176" y="3216279"/>
            <a:ext cx="10835510"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1351544A-D776-4BAB-B8F9-B97CF7367BB1}"/>
              </a:ext>
            </a:extLst>
          </p:cNvPr>
          <p:cNvCxnSpPr>
            <a:cxnSpLocks/>
          </p:cNvCxnSpPr>
          <p:nvPr/>
        </p:nvCxnSpPr>
        <p:spPr>
          <a:xfrm>
            <a:off x="780176" y="4336763"/>
            <a:ext cx="10835511"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342" name="Google Shape;18115;p1604">
            <a:extLst>
              <a:ext uri="{FF2B5EF4-FFF2-40B4-BE49-F238E27FC236}">
                <a16:creationId xmlns:a16="http://schemas.microsoft.com/office/drawing/2014/main" id="{C757DFF3-432F-4BD4-AB8F-A48B04CDCD22}"/>
              </a:ext>
            </a:extLst>
          </p:cNvPr>
          <p:cNvGrpSpPr/>
          <p:nvPr/>
        </p:nvGrpSpPr>
        <p:grpSpPr>
          <a:xfrm>
            <a:off x="8443652" y="1612417"/>
            <a:ext cx="220616" cy="220618"/>
            <a:chOff x="1932810" y="1349835"/>
            <a:chExt cx="185335" cy="185337"/>
          </a:xfrm>
          <a:solidFill>
            <a:schemeClr val="tx2"/>
          </a:solidFill>
        </p:grpSpPr>
        <p:sp>
          <p:nvSpPr>
            <p:cNvPr id="343" name="Google Shape;18116;p1604">
              <a:extLst>
                <a:ext uri="{FF2B5EF4-FFF2-40B4-BE49-F238E27FC236}">
                  <a16:creationId xmlns:a16="http://schemas.microsoft.com/office/drawing/2014/main" id="{4890A0A9-F895-4B4D-A5BC-BB3E2BDAE80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344" name="Google Shape;18117;p1604">
              <a:extLst>
                <a:ext uri="{FF2B5EF4-FFF2-40B4-BE49-F238E27FC236}">
                  <a16:creationId xmlns:a16="http://schemas.microsoft.com/office/drawing/2014/main" id="{78512096-DE3D-434F-8F6D-3132E30AD5C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348" name="Google Shape;18115;p1604">
            <a:extLst>
              <a:ext uri="{FF2B5EF4-FFF2-40B4-BE49-F238E27FC236}">
                <a16:creationId xmlns:a16="http://schemas.microsoft.com/office/drawing/2014/main" id="{E955613C-50CC-4239-97DC-879500168859}"/>
              </a:ext>
            </a:extLst>
          </p:cNvPr>
          <p:cNvGrpSpPr/>
          <p:nvPr/>
        </p:nvGrpSpPr>
        <p:grpSpPr>
          <a:xfrm>
            <a:off x="8443652" y="1342408"/>
            <a:ext cx="220616" cy="220618"/>
            <a:chOff x="1932810" y="1349835"/>
            <a:chExt cx="185335" cy="185337"/>
          </a:xfrm>
          <a:solidFill>
            <a:schemeClr val="tx2"/>
          </a:solidFill>
        </p:grpSpPr>
        <p:sp>
          <p:nvSpPr>
            <p:cNvPr id="405" name="Google Shape;18116;p1604">
              <a:extLst>
                <a:ext uri="{FF2B5EF4-FFF2-40B4-BE49-F238E27FC236}">
                  <a16:creationId xmlns:a16="http://schemas.microsoft.com/office/drawing/2014/main" id="{0B414169-9396-46DF-9EB5-DDBABAD98C8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411" name="Google Shape;18117;p1604">
              <a:extLst>
                <a:ext uri="{FF2B5EF4-FFF2-40B4-BE49-F238E27FC236}">
                  <a16:creationId xmlns:a16="http://schemas.microsoft.com/office/drawing/2014/main" id="{D0859615-2D27-4076-BF1E-FED08C9C777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458" name="Rectangle 457">
            <a:extLst>
              <a:ext uri="{FF2B5EF4-FFF2-40B4-BE49-F238E27FC236}">
                <a16:creationId xmlns:a16="http://schemas.microsoft.com/office/drawing/2014/main" id="{5EFE185D-47DD-4B48-BBBC-59C4619FAB08}"/>
              </a:ext>
            </a:extLst>
          </p:cNvPr>
          <p:cNvSpPr/>
          <p:nvPr/>
        </p:nvSpPr>
        <p:spPr>
          <a:xfrm>
            <a:off x="4506657" y="1692697"/>
            <a:ext cx="1508904" cy="333486"/>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400" b="1" dirty="0">
                <a:solidFill>
                  <a:schemeClr val="tx2"/>
                </a:solidFill>
                <a:latin typeface="Arial" panose="020B0604020202020204"/>
              </a:rPr>
              <a:t>Transformation Leader</a:t>
            </a:r>
          </a:p>
        </p:txBody>
      </p:sp>
      <p:sp>
        <p:nvSpPr>
          <p:cNvPr id="470" name="Rectangle 469">
            <a:extLst>
              <a:ext uri="{FF2B5EF4-FFF2-40B4-BE49-F238E27FC236}">
                <a16:creationId xmlns:a16="http://schemas.microsoft.com/office/drawing/2014/main" id="{382BEBDF-131C-4EE1-B87D-63F0AA34EF73}"/>
              </a:ext>
            </a:extLst>
          </p:cNvPr>
          <p:cNvSpPr/>
          <p:nvPr/>
        </p:nvSpPr>
        <p:spPr>
          <a:xfrm>
            <a:off x="6390380" y="1692697"/>
            <a:ext cx="1508904" cy="333486"/>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1400" b="1" dirty="0">
                <a:solidFill>
                  <a:srgbClr val="00148C"/>
                </a:solidFill>
                <a:latin typeface="Arial"/>
                <a:cs typeface="Arial"/>
              </a:rPr>
              <a:t>CIO</a:t>
            </a:r>
          </a:p>
        </p:txBody>
      </p:sp>
      <p:grpSp>
        <p:nvGrpSpPr>
          <p:cNvPr id="475" name="Google Shape;18115;p1604">
            <a:extLst>
              <a:ext uri="{FF2B5EF4-FFF2-40B4-BE49-F238E27FC236}">
                <a16:creationId xmlns:a16="http://schemas.microsoft.com/office/drawing/2014/main" id="{EB316195-68E1-4C8F-8C96-3F97FD155265}"/>
              </a:ext>
            </a:extLst>
          </p:cNvPr>
          <p:cNvGrpSpPr/>
          <p:nvPr/>
        </p:nvGrpSpPr>
        <p:grpSpPr>
          <a:xfrm>
            <a:off x="4203695" y="1721168"/>
            <a:ext cx="356870" cy="356873"/>
            <a:chOff x="1932810" y="1349835"/>
            <a:chExt cx="185335" cy="185337"/>
          </a:xfrm>
          <a:solidFill>
            <a:schemeClr val="tx2"/>
          </a:solidFill>
        </p:grpSpPr>
        <p:sp>
          <p:nvSpPr>
            <p:cNvPr id="476" name="Google Shape;18116;p1604">
              <a:extLst>
                <a:ext uri="{FF2B5EF4-FFF2-40B4-BE49-F238E27FC236}">
                  <a16:creationId xmlns:a16="http://schemas.microsoft.com/office/drawing/2014/main" id="{285DAB9A-C6DE-4A03-BC70-687013BA3DB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479" name="Google Shape;18117;p1604">
              <a:extLst>
                <a:ext uri="{FF2B5EF4-FFF2-40B4-BE49-F238E27FC236}">
                  <a16:creationId xmlns:a16="http://schemas.microsoft.com/office/drawing/2014/main" id="{C26D5254-D81C-4BE5-93DD-734CCDF9936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480" name="Google Shape;18115;p1604">
            <a:extLst>
              <a:ext uri="{FF2B5EF4-FFF2-40B4-BE49-F238E27FC236}">
                <a16:creationId xmlns:a16="http://schemas.microsoft.com/office/drawing/2014/main" id="{DBDA2D29-ECC3-449D-B8CD-6D8CDB0FEC98}"/>
              </a:ext>
            </a:extLst>
          </p:cNvPr>
          <p:cNvGrpSpPr/>
          <p:nvPr/>
        </p:nvGrpSpPr>
        <p:grpSpPr>
          <a:xfrm>
            <a:off x="6532221" y="1721168"/>
            <a:ext cx="356870" cy="356873"/>
            <a:chOff x="1932810" y="1349835"/>
            <a:chExt cx="185335" cy="185337"/>
          </a:xfrm>
          <a:solidFill>
            <a:schemeClr val="tx2"/>
          </a:solidFill>
        </p:grpSpPr>
        <p:sp>
          <p:nvSpPr>
            <p:cNvPr id="481" name="Google Shape;18116;p1604">
              <a:extLst>
                <a:ext uri="{FF2B5EF4-FFF2-40B4-BE49-F238E27FC236}">
                  <a16:creationId xmlns:a16="http://schemas.microsoft.com/office/drawing/2014/main" id="{37013D90-2701-466E-915F-3F97BF59DF5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09" name="Google Shape;18117;p1604">
              <a:extLst>
                <a:ext uri="{FF2B5EF4-FFF2-40B4-BE49-F238E27FC236}">
                  <a16:creationId xmlns:a16="http://schemas.microsoft.com/office/drawing/2014/main" id="{21BED721-39C5-4B2A-9F36-572027CC35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27" name="Group 526">
            <a:extLst>
              <a:ext uri="{FF2B5EF4-FFF2-40B4-BE49-F238E27FC236}">
                <a16:creationId xmlns:a16="http://schemas.microsoft.com/office/drawing/2014/main" id="{C4D537D1-ACD4-4858-9CD8-4D6BF57FE3E9}"/>
              </a:ext>
            </a:extLst>
          </p:cNvPr>
          <p:cNvGrpSpPr>
            <a:grpSpLocks/>
          </p:cNvGrpSpPr>
          <p:nvPr/>
        </p:nvGrpSpPr>
        <p:grpSpPr>
          <a:xfrm>
            <a:off x="2137305" y="4497410"/>
            <a:ext cx="436569" cy="419720"/>
            <a:chOff x="2511970" y="2806214"/>
            <a:chExt cx="2598626" cy="2498332"/>
          </a:xfrm>
        </p:grpSpPr>
        <p:grpSp>
          <p:nvGrpSpPr>
            <p:cNvPr id="540" name="Google Shape;18115;p1604">
              <a:extLst>
                <a:ext uri="{FF2B5EF4-FFF2-40B4-BE49-F238E27FC236}">
                  <a16:creationId xmlns:a16="http://schemas.microsoft.com/office/drawing/2014/main" id="{B7E75B9D-71D7-4584-BD0B-D2BDEB273B8C}"/>
                </a:ext>
              </a:extLst>
            </p:cNvPr>
            <p:cNvGrpSpPr/>
            <p:nvPr/>
          </p:nvGrpSpPr>
          <p:grpSpPr>
            <a:xfrm>
              <a:off x="4214405" y="2806214"/>
              <a:ext cx="346511" cy="346515"/>
              <a:chOff x="1932810" y="1349835"/>
              <a:chExt cx="185335" cy="185337"/>
            </a:xfrm>
            <a:solidFill>
              <a:schemeClr val="tx2"/>
            </a:solidFill>
          </p:grpSpPr>
          <p:sp>
            <p:nvSpPr>
              <p:cNvPr id="563" name="Google Shape;18116;p1604">
                <a:extLst>
                  <a:ext uri="{FF2B5EF4-FFF2-40B4-BE49-F238E27FC236}">
                    <a16:creationId xmlns:a16="http://schemas.microsoft.com/office/drawing/2014/main" id="{37CFC4BC-6C63-425E-B8D6-209BAD5DD5D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64" name="Google Shape;18117;p1604">
                <a:extLst>
                  <a:ext uri="{FF2B5EF4-FFF2-40B4-BE49-F238E27FC236}">
                    <a16:creationId xmlns:a16="http://schemas.microsoft.com/office/drawing/2014/main" id="{B00272C8-66B4-45E3-B987-4A88486DF2E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541" name="Oval 540">
              <a:extLst>
                <a:ext uri="{FF2B5EF4-FFF2-40B4-BE49-F238E27FC236}">
                  <a16:creationId xmlns:a16="http://schemas.microsoft.com/office/drawing/2014/main" id="{D59F5778-8473-44C9-AAD7-528521202C87}"/>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42" name="Google Shape;18115;p1604">
              <a:extLst>
                <a:ext uri="{FF2B5EF4-FFF2-40B4-BE49-F238E27FC236}">
                  <a16:creationId xmlns:a16="http://schemas.microsoft.com/office/drawing/2014/main" id="{5CCD25A2-C235-463E-98B1-53C55302824A}"/>
                </a:ext>
              </a:extLst>
            </p:cNvPr>
            <p:cNvGrpSpPr/>
            <p:nvPr/>
          </p:nvGrpSpPr>
          <p:grpSpPr>
            <a:xfrm>
              <a:off x="4402332" y="4548551"/>
              <a:ext cx="346511" cy="346515"/>
              <a:chOff x="1932810" y="1349835"/>
              <a:chExt cx="185335" cy="185337"/>
            </a:xfrm>
            <a:solidFill>
              <a:schemeClr val="tx2"/>
            </a:solidFill>
          </p:grpSpPr>
          <p:sp>
            <p:nvSpPr>
              <p:cNvPr id="561" name="Google Shape;18116;p1604">
                <a:extLst>
                  <a:ext uri="{FF2B5EF4-FFF2-40B4-BE49-F238E27FC236}">
                    <a16:creationId xmlns:a16="http://schemas.microsoft.com/office/drawing/2014/main" id="{7969954F-28E2-488E-AA76-B710058D0F2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62" name="Google Shape;18117;p1604">
                <a:extLst>
                  <a:ext uri="{FF2B5EF4-FFF2-40B4-BE49-F238E27FC236}">
                    <a16:creationId xmlns:a16="http://schemas.microsoft.com/office/drawing/2014/main" id="{7F18DDCE-E3CB-47AE-A2CA-544C332CA97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3" name="Google Shape;18115;p1604">
              <a:extLst>
                <a:ext uri="{FF2B5EF4-FFF2-40B4-BE49-F238E27FC236}">
                  <a16:creationId xmlns:a16="http://schemas.microsoft.com/office/drawing/2014/main" id="{AC68537C-14D5-4AE2-8491-080995366175}"/>
                </a:ext>
              </a:extLst>
            </p:cNvPr>
            <p:cNvGrpSpPr/>
            <p:nvPr/>
          </p:nvGrpSpPr>
          <p:grpSpPr>
            <a:xfrm>
              <a:off x="3578880" y="4958031"/>
              <a:ext cx="346511" cy="346515"/>
              <a:chOff x="1932810" y="1349835"/>
              <a:chExt cx="185335" cy="185337"/>
            </a:xfrm>
            <a:solidFill>
              <a:schemeClr val="tx2"/>
            </a:solidFill>
          </p:grpSpPr>
          <p:sp>
            <p:nvSpPr>
              <p:cNvPr id="559" name="Google Shape;18116;p1604">
                <a:extLst>
                  <a:ext uri="{FF2B5EF4-FFF2-40B4-BE49-F238E27FC236}">
                    <a16:creationId xmlns:a16="http://schemas.microsoft.com/office/drawing/2014/main" id="{0A66CA9E-8C2D-4636-BA5B-D90BA1071D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60" name="Google Shape;18117;p1604">
                <a:extLst>
                  <a:ext uri="{FF2B5EF4-FFF2-40B4-BE49-F238E27FC236}">
                    <a16:creationId xmlns:a16="http://schemas.microsoft.com/office/drawing/2014/main" id="{F37C9E4C-EADC-4E72-899A-FB15EB9F4EC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4" name="Google Shape;18115;p1604">
              <a:extLst>
                <a:ext uri="{FF2B5EF4-FFF2-40B4-BE49-F238E27FC236}">
                  <a16:creationId xmlns:a16="http://schemas.microsoft.com/office/drawing/2014/main" id="{9641AF78-C1D4-4E87-B4C0-239FDC5E8DA7}"/>
                </a:ext>
              </a:extLst>
            </p:cNvPr>
            <p:cNvGrpSpPr/>
            <p:nvPr/>
          </p:nvGrpSpPr>
          <p:grpSpPr>
            <a:xfrm>
              <a:off x="2511970" y="3644968"/>
              <a:ext cx="346511" cy="346515"/>
              <a:chOff x="1932810" y="1349835"/>
              <a:chExt cx="185335" cy="185337"/>
            </a:xfrm>
            <a:solidFill>
              <a:schemeClr val="tx2"/>
            </a:solidFill>
          </p:grpSpPr>
          <p:sp>
            <p:nvSpPr>
              <p:cNvPr id="557" name="Google Shape;18116;p1604">
                <a:extLst>
                  <a:ext uri="{FF2B5EF4-FFF2-40B4-BE49-F238E27FC236}">
                    <a16:creationId xmlns:a16="http://schemas.microsoft.com/office/drawing/2014/main" id="{23AD8BEB-C6A7-4C2A-BE28-D132045794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8" name="Google Shape;18117;p1604">
                <a:extLst>
                  <a:ext uri="{FF2B5EF4-FFF2-40B4-BE49-F238E27FC236}">
                    <a16:creationId xmlns:a16="http://schemas.microsoft.com/office/drawing/2014/main" id="{20498B3A-2E07-48D2-9BFC-F95F1243504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5" name="Google Shape;18115;p1604">
              <a:extLst>
                <a:ext uri="{FF2B5EF4-FFF2-40B4-BE49-F238E27FC236}">
                  <a16:creationId xmlns:a16="http://schemas.microsoft.com/office/drawing/2014/main" id="{DF7BA4D9-DAC3-4DA0-B188-2DCD540835AA}"/>
                </a:ext>
              </a:extLst>
            </p:cNvPr>
            <p:cNvGrpSpPr/>
            <p:nvPr/>
          </p:nvGrpSpPr>
          <p:grpSpPr>
            <a:xfrm>
              <a:off x="4754363" y="4548551"/>
              <a:ext cx="346511" cy="346515"/>
              <a:chOff x="1932810" y="1349835"/>
              <a:chExt cx="185335" cy="185337"/>
            </a:xfrm>
            <a:solidFill>
              <a:schemeClr val="tx2"/>
            </a:solidFill>
          </p:grpSpPr>
          <p:sp>
            <p:nvSpPr>
              <p:cNvPr id="555" name="Google Shape;18116;p1604">
                <a:extLst>
                  <a:ext uri="{FF2B5EF4-FFF2-40B4-BE49-F238E27FC236}">
                    <a16:creationId xmlns:a16="http://schemas.microsoft.com/office/drawing/2014/main" id="{6C5D7EAF-887C-415D-BDEC-244648874C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6" name="Google Shape;18117;p1604">
                <a:extLst>
                  <a:ext uri="{FF2B5EF4-FFF2-40B4-BE49-F238E27FC236}">
                    <a16:creationId xmlns:a16="http://schemas.microsoft.com/office/drawing/2014/main" id="{25DD2496-C0B4-4153-9359-B9554A8C9E2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6" name="Google Shape;18115;p1604">
              <a:extLst>
                <a:ext uri="{FF2B5EF4-FFF2-40B4-BE49-F238E27FC236}">
                  <a16:creationId xmlns:a16="http://schemas.microsoft.com/office/drawing/2014/main" id="{4635226B-8B22-45D0-8CD5-837FBBDAEABD}"/>
                </a:ext>
              </a:extLst>
            </p:cNvPr>
            <p:cNvGrpSpPr/>
            <p:nvPr/>
          </p:nvGrpSpPr>
          <p:grpSpPr>
            <a:xfrm>
              <a:off x="2644688" y="4493428"/>
              <a:ext cx="346511" cy="346515"/>
              <a:chOff x="1932810" y="1349835"/>
              <a:chExt cx="185335" cy="185337"/>
            </a:xfrm>
            <a:solidFill>
              <a:schemeClr val="tx2"/>
            </a:solidFill>
          </p:grpSpPr>
          <p:sp>
            <p:nvSpPr>
              <p:cNvPr id="553" name="Google Shape;18116;p1604">
                <a:extLst>
                  <a:ext uri="{FF2B5EF4-FFF2-40B4-BE49-F238E27FC236}">
                    <a16:creationId xmlns:a16="http://schemas.microsoft.com/office/drawing/2014/main" id="{AB26F851-C9D5-492E-8A0D-D6D2DACA70A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4" name="Google Shape;18117;p1604">
                <a:extLst>
                  <a:ext uri="{FF2B5EF4-FFF2-40B4-BE49-F238E27FC236}">
                    <a16:creationId xmlns:a16="http://schemas.microsoft.com/office/drawing/2014/main" id="{6F5FDFF8-9C33-413C-AA2C-F0AA4A5885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7" name="Google Shape;18115;p1604">
              <a:extLst>
                <a:ext uri="{FF2B5EF4-FFF2-40B4-BE49-F238E27FC236}">
                  <a16:creationId xmlns:a16="http://schemas.microsoft.com/office/drawing/2014/main" id="{6CD31ABA-A795-436C-B5EB-3DFE4BCF7112}"/>
                </a:ext>
              </a:extLst>
            </p:cNvPr>
            <p:cNvGrpSpPr/>
            <p:nvPr/>
          </p:nvGrpSpPr>
          <p:grpSpPr>
            <a:xfrm>
              <a:off x="4764085" y="3612568"/>
              <a:ext cx="346511" cy="346515"/>
              <a:chOff x="1932810" y="1349835"/>
              <a:chExt cx="185335" cy="185337"/>
            </a:xfrm>
            <a:solidFill>
              <a:schemeClr val="tx2"/>
            </a:solidFill>
          </p:grpSpPr>
          <p:sp>
            <p:nvSpPr>
              <p:cNvPr id="551" name="Google Shape;18116;p1604">
                <a:extLst>
                  <a:ext uri="{FF2B5EF4-FFF2-40B4-BE49-F238E27FC236}">
                    <a16:creationId xmlns:a16="http://schemas.microsoft.com/office/drawing/2014/main" id="{BC3109E1-E6EF-4363-8CDB-D4DAD5C341F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2" name="Google Shape;18117;p1604">
                <a:extLst>
                  <a:ext uri="{FF2B5EF4-FFF2-40B4-BE49-F238E27FC236}">
                    <a16:creationId xmlns:a16="http://schemas.microsoft.com/office/drawing/2014/main" id="{572DDCAA-A270-43EC-8607-D17A5B1CB0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48" name="Google Shape;18115;p1604">
              <a:extLst>
                <a:ext uri="{FF2B5EF4-FFF2-40B4-BE49-F238E27FC236}">
                  <a16:creationId xmlns:a16="http://schemas.microsoft.com/office/drawing/2014/main" id="{0197E915-6112-4158-AA74-B3F8F3CA7A61}"/>
                </a:ext>
              </a:extLst>
            </p:cNvPr>
            <p:cNvGrpSpPr/>
            <p:nvPr/>
          </p:nvGrpSpPr>
          <p:grpSpPr>
            <a:xfrm>
              <a:off x="3091300" y="2809102"/>
              <a:ext cx="346511" cy="346515"/>
              <a:chOff x="1932810" y="1349835"/>
              <a:chExt cx="185335" cy="185337"/>
            </a:xfrm>
            <a:solidFill>
              <a:schemeClr val="tx2"/>
            </a:solidFill>
          </p:grpSpPr>
          <p:sp>
            <p:nvSpPr>
              <p:cNvPr id="549" name="Google Shape;18116;p1604">
                <a:extLst>
                  <a:ext uri="{FF2B5EF4-FFF2-40B4-BE49-F238E27FC236}">
                    <a16:creationId xmlns:a16="http://schemas.microsoft.com/office/drawing/2014/main" id="{0070FC2E-8C94-41BB-B971-81C62FCF90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50" name="Google Shape;18117;p1604">
                <a:extLst>
                  <a:ext uri="{FF2B5EF4-FFF2-40B4-BE49-F238E27FC236}">
                    <a16:creationId xmlns:a16="http://schemas.microsoft.com/office/drawing/2014/main" id="{839B96C5-C644-4052-A548-63F9FDB77B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565" name="Google Shape;18115;p1604">
            <a:extLst>
              <a:ext uri="{FF2B5EF4-FFF2-40B4-BE49-F238E27FC236}">
                <a16:creationId xmlns:a16="http://schemas.microsoft.com/office/drawing/2014/main" id="{D9F99488-9F26-4E1A-B388-97F6ACEAC156}"/>
              </a:ext>
            </a:extLst>
          </p:cNvPr>
          <p:cNvGrpSpPr/>
          <p:nvPr/>
        </p:nvGrpSpPr>
        <p:grpSpPr>
          <a:xfrm>
            <a:off x="2269742" y="4053827"/>
            <a:ext cx="193423" cy="193425"/>
            <a:chOff x="1932810" y="1349835"/>
            <a:chExt cx="185335" cy="185337"/>
          </a:xfrm>
          <a:solidFill>
            <a:schemeClr val="tx2"/>
          </a:solidFill>
        </p:grpSpPr>
        <p:sp>
          <p:nvSpPr>
            <p:cNvPr id="566" name="Google Shape;18116;p1604">
              <a:extLst>
                <a:ext uri="{FF2B5EF4-FFF2-40B4-BE49-F238E27FC236}">
                  <a16:creationId xmlns:a16="http://schemas.microsoft.com/office/drawing/2014/main" id="{E95D8F28-35E2-4E54-BC95-1CF3FBE4785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67" name="Google Shape;18117;p1604">
              <a:extLst>
                <a:ext uri="{FF2B5EF4-FFF2-40B4-BE49-F238E27FC236}">
                  <a16:creationId xmlns:a16="http://schemas.microsoft.com/office/drawing/2014/main" id="{B0F14680-A820-4CF4-B581-E04CD68D9D9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68" name="Google Shape;18115;p1604">
            <a:extLst>
              <a:ext uri="{FF2B5EF4-FFF2-40B4-BE49-F238E27FC236}">
                <a16:creationId xmlns:a16="http://schemas.microsoft.com/office/drawing/2014/main" id="{AF43C2E6-9376-4AFA-979A-C096FBFBE6D1}"/>
              </a:ext>
            </a:extLst>
          </p:cNvPr>
          <p:cNvGrpSpPr/>
          <p:nvPr/>
        </p:nvGrpSpPr>
        <p:grpSpPr>
          <a:xfrm>
            <a:off x="2662683" y="4053827"/>
            <a:ext cx="193423" cy="193425"/>
            <a:chOff x="1932810" y="1349835"/>
            <a:chExt cx="185335" cy="185337"/>
          </a:xfrm>
          <a:solidFill>
            <a:schemeClr val="tx2"/>
          </a:solidFill>
        </p:grpSpPr>
        <p:sp>
          <p:nvSpPr>
            <p:cNvPr id="569" name="Google Shape;18116;p1604">
              <a:extLst>
                <a:ext uri="{FF2B5EF4-FFF2-40B4-BE49-F238E27FC236}">
                  <a16:creationId xmlns:a16="http://schemas.microsoft.com/office/drawing/2014/main" id="{FDEA6EC5-2404-4C1D-B251-CF37934005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70" name="Google Shape;18117;p1604">
              <a:extLst>
                <a:ext uri="{FF2B5EF4-FFF2-40B4-BE49-F238E27FC236}">
                  <a16:creationId xmlns:a16="http://schemas.microsoft.com/office/drawing/2014/main" id="{F7AC9721-0BE7-49A3-862F-9C9AE454222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1" name="Group 570">
            <a:extLst>
              <a:ext uri="{FF2B5EF4-FFF2-40B4-BE49-F238E27FC236}">
                <a16:creationId xmlns:a16="http://schemas.microsoft.com/office/drawing/2014/main" id="{1389293C-CF1B-422A-B8FC-96014B157633}"/>
              </a:ext>
            </a:extLst>
          </p:cNvPr>
          <p:cNvGrpSpPr>
            <a:grpSpLocks/>
          </p:cNvGrpSpPr>
          <p:nvPr/>
        </p:nvGrpSpPr>
        <p:grpSpPr>
          <a:xfrm>
            <a:off x="2530353" y="4780444"/>
            <a:ext cx="436569" cy="419720"/>
            <a:chOff x="2511970" y="2806214"/>
            <a:chExt cx="2598626" cy="2498332"/>
          </a:xfrm>
        </p:grpSpPr>
        <p:grpSp>
          <p:nvGrpSpPr>
            <p:cNvPr id="572" name="Google Shape;18115;p1604">
              <a:extLst>
                <a:ext uri="{FF2B5EF4-FFF2-40B4-BE49-F238E27FC236}">
                  <a16:creationId xmlns:a16="http://schemas.microsoft.com/office/drawing/2014/main" id="{6847869F-2579-4F15-9A29-8C6AC8E0342D}"/>
                </a:ext>
              </a:extLst>
            </p:cNvPr>
            <p:cNvGrpSpPr/>
            <p:nvPr/>
          </p:nvGrpSpPr>
          <p:grpSpPr>
            <a:xfrm>
              <a:off x="4214405" y="2806214"/>
              <a:ext cx="346511" cy="346515"/>
              <a:chOff x="1932810" y="1349835"/>
              <a:chExt cx="185335" cy="185337"/>
            </a:xfrm>
            <a:solidFill>
              <a:schemeClr val="tx2"/>
            </a:solidFill>
          </p:grpSpPr>
          <p:sp>
            <p:nvSpPr>
              <p:cNvPr id="595" name="Google Shape;18116;p1604">
                <a:extLst>
                  <a:ext uri="{FF2B5EF4-FFF2-40B4-BE49-F238E27FC236}">
                    <a16:creationId xmlns:a16="http://schemas.microsoft.com/office/drawing/2014/main" id="{727506B5-1237-4549-970E-A259172412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96" name="Google Shape;18117;p1604">
                <a:extLst>
                  <a:ext uri="{FF2B5EF4-FFF2-40B4-BE49-F238E27FC236}">
                    <a16:creationId xmlns:a16="http://schemas.microsoft.com/office/drawing/2014/main" id="{CEBFE35B-DE7D-4E7B-AD83-E5BAA92372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573" name="Oval 572">
              <a:extLst>
                <a:ext uri="{FF2B5EF4-FFF2-40B4-BE49-F238E27FC236}">
                  <a16:creationId xmlns:a16="http://schemas.microsoft.com/office/drawing/2014/main" id="{8382EA04-59E2-4E91-ACBF-BFB908F1B132}"/>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74" name="Google Shape;18115;p1604">
              <a:extLst>
                <a:ext uri="{FF2B5EF4-FFF2-40B4-BE49-F238E27FC236}">
                  <a16:creationId xmlns:a16="http://schemas.microsoft.com/office/drawing/2014/main" id="{9A7E5D0E-35C9-432E-B064-7C1900AE18A8}"/>
                </a:ext>
              </a:extLst>
            </p:cNvPr>
            <p:cNvGrpSpPr/>
            <p:nvPr/>
          </p:nvGrpSpPr>
          <p:grpSpPr>
            <a:xfrm>
              <a:off x="4402332" y="4548551"/>
              <a:ext cx="346511" cy="346515"/>
              <a:chOff x="1932810" y="1349835"/>
              <a:chExt cx="185335" cy="185337"/>
            </a:xfrm>
            <a:solidFill>
              <a:schemeClr val="tx2"/>
            </a:solidFill>
          </p:grpSpPr>
          <p:sp>
            <p:nvSpPr>
              <p:cNvPr id="593" name="Google Shape;18116;p1604">
                <a:extLst>
                  <a:ext uri="{FF2B5EF4-FFF2-40B4-BE49-F238E27FC236}">
                    <a16:creationId xmlns:a16="http://schemas.microsoft.com/office/drawing/2014/main" id="{CEEDCDAF-C0A8-4BA8-B605-58C996F7AA0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94" name="Google Shape;18117;p1604">
                <a:extLst>
                  <a:ext uri="{FF2B5EF4-FFF2-40B4-BE49-F238E27FC236}">
                    <a16:creationId xmlns:a16="http://schemas.microsoft.com/office/drawing/2014/main" id="{1CCA840F-0DD2-4DED-A6D9-8BB92E32486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5" name="Google Shape;18115;p1604">
              <a:extLst>
                <a:ext uri="{FF2B5EF4-FFF2-40B4-BE49-F238E27FC236}">
                  <a16:creationId xmlns:a16="http://schemas.microsoft.com/office/drawing/2014/main" id="{E8C6F9DE-CDF5-488B-8995-45F8188237C5}"/>
                </a:ext>
              </a:extLst>
            </p:cNvPr>
            <p:cNvGrpSpPr/>
            <p:nvPr/>
          </p:nvGrpSpPr>
          <p:grpSpPr>
            <a:xfrm>
              <a:off x="3578880" y="4958031"/>
              <a:ext cx="346511" cy="346515"/>
              <a:chOff x="1932810" y="1349835"/>
              <a:chExt cx="185335" cy="185337"/>
            </a:xfrm>
            <a:solidFill>
              <a:schemeClr val="tx2"/>
            </a:solidFill>
          </p:grpSpPr>
          <p:sp>
            <p:nvSpPr>
              <p:cNvPr id="591" name="Google Shape;18116;p1604">
                <a:extLst>
                  <a:ext uri="{FF2B5EF4-FFF2-40B4-BE49-F238E27FC236}">
                    <a16:creationId xmlns:a16="http://schemas.microsoft.com/office/drawing/2014/main" id="{55B9AAE2-E328-477A-9AA1-F9B59F2C389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92" name="Google Shape;18117;p1604">
                <a:extLst>
                  <a:ext uri="{FF2B5EF4-FFF2-40B4-BE49-F238E27FC236}">
                    <a16:creationId xmlns:a16="http://schemas.microsoft.com/office/drawing/2014/main" id="{1CC7B9FE-4862-43DF-8DD2-927366662C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6" name="Google Shape;18115;p1604">
              <a:extLst>
                <a:ext uri="{FF2B5EF4-FFF2-40B4-BE49-F238E27FC236}">
                  <a16:creationId xmlns:a16="http://schemas.microsoft.com/office/drawing/2014/main" id="{269EDD1A-D308-4B9E-9F51-EAAEDDF63678}"/>
                </a:ext>
              </a:extLst>
            </p:cNvPr>
            <p:cNvGrpSpPr/>
            <p:nvPr/>
          </p:nvGrpSpPr>
          <p:grpSpPr>
            <a:xfrm>
              <a:off x="2511970" y="3644968"/>
              <a:ext cx="346511" cy="346515"/>
              <a:chOff x="1932810" y="1349835"/>
              <a:chExt cx="185335" cy="185337"/>
            </a:xfrm>
            <a:solidFill>
              <a:schemeClr val="tx2"/>
            </a:solidFill>
          </p:grpSpPr>
          <p:sp>
            <p:nvSpPr>
              <p:cNvPr id="589" name="Google Shape;18116;p1604">
                <a:extLst>
                  <a:ext uri="{FF2B5EF4-FFF2-40B4-BE49-F238E27FC236}">
                    <a16:creationId xmlns:a16="http://schemas.microsoft.com/office/drawing/2014/main" id="{971F01AC-0708-413E-BAA0-DE7D988115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90" name="Google Shape;18117;p1604">
                <a:extLst>
                  <a:ext uri="{FF2B5EF4-FFF2-40B4-BE49-F238E27FC236}">
                    <a16:creationId xmlns:a16="http://schemas.microsoft.com/office/drawing/2014/main" id="{B24E6C50-D8A9-4323-83BD-BD2E6A4F5BA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7" name="Google Shape;18115;p1604">
              <a:extLst>
                <a:ext uri="{FF2B5EF4-FFF2-40B4-BE49-F238E27FC236}">
                  <a16:creationId xmlns:a16="http://schemas.microsoft.com/office/drawing/2014/main" id="{0429E9F0-468F-4382-B907-F60BE5FB5282}"/>
                </a:ext>
              </a:extLst>
            </p:cNvPr>
            <p:cNvGrpSpPr/>
            <p:nvPr/>
          </p:nvGrpSpPr>
          <p:grpSpPr>
            <a:xfrm>
              <a:off x="4754363" y="4548551"/>
              <a:ext cx="346511" cy="346515"/>
              <a:chOff x="1932810" y="1349835"/>
              <a:chExt cx="185335" cy="185337"/>
            </a:xfrm>
            <a:solidFill>
              <a:schemeClr val="tx2"/>
            </a:solidFill>
          </p:grpSpPr>
          <p:sp>
            <p:nvSpPr>
              <p:cNvPr id="587" name="Google Shape;18116;p1604">
                <a:extLst>
                  <a:ext uri="{FF2B5EF4-FFF2-40B4-BE49-F238E27FC236}">
                    <a16:creationId xmlns:a16="http://schemas.microsoft.com/office/drawing/2014/main" id="{D708F69F-561B-4298-AE37-90F99D1DD82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88" name="Google Shape;18117;p1604">
                <a:extLst>
                  <a:ext uri="{FF2B5EF4-FFF2-40B4-BE49-F238E27FC236}">
                    <a16:creationId xmlns:a16="http://schemas.microsoft.com/office/drawing/2014/main" id="{E7C8E1CA-E840-4F63-BE67-22363CE78E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8" name="Google Shape;18115;p1604">
              <a:extLst>
                <a:ext uri="{FF2B5EF4-FFF2-40B4-BE49-F238E27FC236}">
                  <a16:creationId xmlns:a16="http://schemas.microsoft.com/office/drawing/2014/main" id="{ABFC9067-948D-4B25-B641-5E6A1E1453BF}"/>
                </a:ext>
              </a:extLst>
            </p:cNvPr>
            <p:cNvGrpSpPr/>
            <p:nvPr/>
          </p:nvGrpSpPr>
          <p:grpSpPr>
            <a:xfrm>
              <a:off x="2644688" y="4493428"/>
              <a:ext cx="346511" cy="346515"/>
              <a:chOff x="1932810" y="1349835"/>
              <a:chExt cx="185335" cy="185337"/>
            </a:xfrm>
            <a:solidFill>
              <a:schemeClr val="tx2"/>
            </a:solidFill>
          </p:grpSpPr>
          <p:sp>
            <p:nvSpPr>
              <p:cNvPr id="585" name="Google Shape;18116;p1604">
                <a:extLst>
                  <a:ext uri="{FF2B5EF4-FFF2-40B4-BE49-F238E27FC236}">
                    <a16:creationId xmlns:a16="http://schemas.microsoft.com/office/drawing/2014/main" id="{AACBE879-3BA9-4D48-AFF0-8EF32131049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86" name="Google Shape;18117;p1604">
                <a:extLst>
                  <a:ext uri="{FF2B5EF4-FFF2-40B4-BE49-F238E27FC236}">
                    <a16:creationId xmlns:a16="http://schemas.microsoft.com/office/drawing/2014/main" id="{C6B1CAC6-BC2B-471B-9E85-8AF7C17493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79" name="Google Shape;18115;p1604">
              <a:extLst>
                <a:ext uri="{FF2B5EF4-FFF2-40B4-BE49-F238E27FC236}">
                  <a16:creationId xmlns:a16="http://schemas.microsoft.com/office/drawing/2014/main" id="{12DAB7C7-6FC6-4E70-8115-8FF035AB14C3}"/>
                </a:ext>
              </a:extLst>
            </p:cNvPr>
            <p:cNvGrpSpPr/>
            <p:nvPr/>
          </p:nvGrpSpPr>
          <p:grpSpPr>
            <a:xfrm>
              <a:off x="4764085" y="3612568"/>
              <a:ext cx="346511" cy="346515"/>
              <a:chOff x="1932810" y="1349835"/>
              <a:chExt cx="185335" cy="185337"/>
            </a:xfrm>
            <a:solidFill>
              <a:schemeClr val="tx2"/>
            </a:solidFill>
          </p:grpSpPr>
          <p:sp>
            <p:nvSpPr>
              <p:cNvPr id="583" name="Google Shape;18116;p1604">
                <a:extLst>
                  <a:ext uri="{FF2B5EF4-FFF2-40B4-BE49-F238E27FC236}">
                    <a16:creationId xmlns:a16="http://schemas.microsoft.com/office/drawing/2014/main" id="{CB6A7866-6D89-4284-AC3A-25AC7957E0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84" name="Google Shape;18117;p1604">
                <a:extLst>
                  <a:ext uri="{FF2B5EF4-FFF2-40B4-BE49-F238E27FC236}">
                    <a16:creationId xmlns:a16="http://schemas.microsoft.com/office/drawing/2014/main" id="{D3F97FAA-5AC5-481F-87E8-8755A04E1F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580" name="Google Shape;18115;p1604">
              <a:extLst>
                <a:ext uri="{FF2B5EF4-FFF2-40B4-BE49-F238E27FC236}">
                  <a16:creationId xmlns:a16="http://schemas.microsoft.com/office/drawing/2014/main" id="{D745DEE0-9ABC-476E-9EEC-2F0414C73C81}"/>
                </a:ext>
              </a:extLst>
            </p:cNvPr>
            <p:cNvGrpSpPr/>
            <p:nvPr/>
          </p:nvGrpSpPr>
          <p:grpSpPr>
            <a:xfrm>
              <a:off x="3091300" y="2809102"/>
              <a:ext cx="346511" cy="346515"/>
              <a:chOff x="1932810" y="1349835"/>
              <a:chExt cx="185335" cy="185337"/>
            </a:xfrm>
            <a:solidFill>
              <a:schemeClr val="tx2"/>
            </a:solidFill>
          </p:grpSpPr>
          <p:sp>
            <p:nvSpPr>
              <p:cNvPr id="581" name="Google Shape;18116;p1604">
                <a:extLst>
                  <a:ext uri="{FF2B5EF4-FFF2-40B4-BE49-F238E27FC236}">
                    <a16:creationId xmlns:a16="http://schemas.microsoft.com/office/drawing/2014/main" id="{CF441640-1D3E-41DB-8611-D035B92872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582" name="Google Shape;18117;p1604">
                <a:extLst>
                  <a:ext uri="{FF2B5EF4-FFF2-40B4-BE49-F238E27FC236}">
                    <a16:creationId xmlns:a16="http://schemas.microsoft.com/office/drawing/2014/main" id="{052FCE40-B3B6-4DD2-A08E-80FB816CB97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597" name="Group 596">
            <a:extLst>
              <a:ext uri="{FF2B5EF4-FFF2-40B4-BE49-F238E27FC236}">
                <a16:creationId xmlns:a16="http://schemas.microsoft.com/office/drawing/2014/main" id="{7DD45960-DBC3-4047-9309-A6F01D9B92B9}"/>
              </a:ext>
            </a:extLst>
          </p:cNvPr>
          <p:cNvGrpSpPr>
            <a:grpSpLocks/>
          </p:cNvGrpSpPr>
          <p:nvPr/>
        </p:nvGrpSpPr>
        <p:grpSpPr>
          <a:xfrm>
            <a:off x="3237726" y="4707433"/>
            <a:ext cx="436569" cy="419720"/>
            <a:chOff x="2511970" y="2806214"/>
            <a:chExt cx="2598626" cy="2498332"/>
          </a:xfrm>
        </p:grpSpPr>
        <p:grpSp>
          <p:nvGrpSpPr>
            <p:cNvPr id="598" name="Google Shape;18115;p1604">
              <a:extLst>
                <a:ext uri="{FF2B5EF4-FFF2-40B4-BE49-F238E27FC236}">
                  <a16:creationId xmlns:a16="http://schemas.microsoft.com/office/drawing/2014/main" id="{2D613FB1-5D44-4C40-816D-398FD1944831}"/>
                </a:ext>
              </a:extLst>
            </p:cNvPr>
            <p:cNvGrpSpPr/>
            <p:nvPr/>
          </p:nvGrpSpPr>
          <p:grpSpPr>
            <a:xfrm>
              <a:off x="4214405" y="2806214"/>
              <a:ext cx="346511" cy="346515"/>
              <a:chOff x="1932810" y="1349835"/>
              <a:chExt cx="185335" cy="185337"/>
            </a:xfrm>
            <a:solidFill>
              <a:schemeClr val="tx2"/>
            </a:solidFill>
          </p:grpSpPr>
          <p:sp>
            <p:nvSpPr>
              <p:cNvPr id="621" name="Google Shape;18116;p1604">
                <a:extLst>
                  <a:ext uri="{FF2B5EF4-FFF2-40B4-BE49-F238E27FC236}">
                    <a16:creationId xmlns:a16="http://schemas.microsoft.com/office/drawing/2014/main" id="{725280EE-20BF-409E-8954-DF537668A9D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22" name="Google Shape;18117;p1604">
                <a:extLst>
                  <a:ext uri="{FF2B5EF4-FFF2-40B4-BE49-F238E27FC236}">
                    <a16:creationId xmlns:a16="http://schemas.microsoft.com/office/drawing/2014/main" id="{6B3EA345-7194-43AA-9C8C-7E71C3E4C2D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599" name="Oval 598">
              <a:extLst>
                <a:ext uri="{FF2B5EF4-FFF2-40B4-BE49-F238E27FC236}">
                  <a16:creationId xmlns:a16="http://schemas.microsoft.com/office/drawing/2014/main" id="{D1692635-290F-4196-B8AE-1808AF90361D}"/>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00" name="Google Shape;18115;p1604">
              <a:extLst>
                <a:ext uri="{FF2B5EF4-FFF2-40B4-BE49-F238E27FC236}">
                  <a16:creationId xmlns:a16="http://schemas.microsoft.com/office/drawing/2014/main" id="{2B131143-D7F1-444D-AD92-A9671BA4FE6C}"/>
                </a:ext>
              </a:extLst>
            </p:cNvPr>
            <p:cNvGrpSpPr/>
            <p:nvPr/>
          </p:nvGrpSpPr>
          <p:grpSpPr>
            <a:xfrm>
              <a:off x="4402332" y="4548551"/>
              <a:ext cx="346511" cy="346515"/>
              <a:chOff x="1932810" y="1349835"/>
              <a:chExt cx="185335" cy="185337"/>
            </a:xfrm>
            <a:solidFill>
              <a:schemeClr val="tx2"/>
            </a:solidFill>
          </p:grpSpPr>
          <p:sp>
            <p:nvSpPr>
              <p:cNvPr id="619" name="Google Shape;18116;p1604">
                <a:extLst>
                  <a:ext uri="{FF2B5EF4-FFF2-40B4-BE49-F238E27FC236}">
                    <a16:creationId xmlns:a16="http://schemas.microsoft.com/office/drawing/2014/main" id="{AD81EAC6-BD43-4FD4-AA1C-2D8DC41E6E1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20" name="Google Shape;18117;p1604">
                <a:extLst>
                  <a:ext uri="{FF2B5EF4-FFF2-40B4-BE49-F238E27FC236}">
                    <a16:creationId xmlns:a16="http://schemas.microsoft.com/office/drawing/2014/main" id="{2F6078BE-9A9D-4372-B7EB-58CF2233B8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1" name="Google Shape;18115;p1604">
              <a:extLst>
                <a:ext uri="{FF2B5EF4-FFF2-40B4-BE49-F238E27FC236}">
                  <a16:creationId xmlns:a16="http://schemas.microsoft.com/office/drawing/2014/main" id="{26E591FC-260E-4DB1-9774-B9D36A0C84FE}"/>
                </a:ext>
              </a:extLst>
            </p:cNvPr>
            <p:cNvGrpSpPr/>
            <p:nvPr/>
          </p:nvGrpSpPr>
          <p:grpSpPr>
            <a:xfrm>
              <a:off x="3578880" y="4958031"/>
              <a:ext cx="346511" cy="346515"/>
              <a:chOff x="1932810" y="1349835"/>
              <a:chExt cx="185335" cy="185337"/>
            </a:xfrm>
            <a:solidFill>
              <a:schemeClr val="tx2"/>
            </a:solidFill>
          </p:grpSpPr>
          <p:sp>
            <p:nvSpPr>
              <p:cNvPr id="617" name="Google Shape;18116;p1604">
                <a:extLst>
                  <a:ext uri="{FF2B5EF4-FFF2-40B4-BE49-F238E27FC236}">
                    <a16:creationId xmlns:a16="http://schemas.microsoft.com/office/drawing/2014/main" id="{A28EEF6E-204E-47AE-B1B0-F54FE6EBB00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8" name="Google Shape;18117;p1604">
                <a:extLst>
                  <a:ext uri="{FF2B5EF4-FFF2-40B4-BE49-F238E27FC236}">
                    <a16:creationId xmlns:a16="http://schemas.microsoft.com/office/drawing/2014/main" id="{94FC0278-8DDA-4371-A175-7DC2CC0C948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2" name="Google Shape;18115;p1604">
              <a:extLst>
                <a:ext uri="{FF2B5EF4-FFF2-40B4-BE49-F238E27FC236}">
                  <a16:creationId xmlns:a16="http://schemas.microsoft.com/office/drawing/2014/main" id="{7CD5BA3A-A721-455E-A52A-9F2B193EB6B8}"/>
                </a:ext>
              </a:extLst>
            </p:cNvPr>
            <p:cNvGrpSpPr/>
            <p:nvPr/>
          </p:nvGrpSpPr>
          <p:grpSpPr>
            <a:xfrm>
              <a:off x="2511970" y="3644968"/>
              <a:ext cx="346511" cy="346515"/>
              <a:chOff x="1932810" y="1349835"/>
              <a:chExt cx="185335" cy="185337"/>
            </a:xfrm>
            <a:solidFill>
              <a:schemeClr val="tx2"/>
            </a:solidFill>
          </p:grpSpPr>
          <p:sp>
            <p:nvSpPr>
              <p:cNvPr id="615" name="Google Shape;18116;p1604">
                <a:extLst>
                  <a:ext uri="{FF2B5EF4-FFF2-40B4-BE49-F238E27FC236}">
                    <a16:creationId xmlns:a16="http://schemas.microsoft.com/office/drawing/2014/main" id="{6FD1210C-37F1-4AD9-AFA6-056FEF74393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6" name="Google Shape;18117;p1604">
                <a:extLst>
                  <a:ext uri="{FF2B5EF4-FFF2-40B4-BE49-F238E27FC236}">
                    <a16:creationId xmlns:a16="http://schemas.microsoft.com/office/drawing/2014/main" id="{02CD2D8B-A897-4936-BA80-889C4E6D275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3" name="Google Shape;18115;p1604">
              <a:extLst>
                <a:ext uri="{FF2B5EF4-FFF2-40B4-BE49-F238E27FC236}">
                  <a16:creationId xmlns:a16="http://schemas.microsoft.com/office/drawing/2014/main" id="{51C7A45B-218C-4BF3-B9C2-625045707781}"/>
                </a:ext>
              </a:extLst>
            </p:cNvPr>
            <p:cNvGrpSpPr/>
            <p:nvPr/>
          </p:nvGrpSpPr>
          <p:grpSpPr>
            <a:xfrm>
              <a:off x="4754363" y="4548551"/>
              <a:ext cx="346511" cy="346515"/>
              <a:chOff x="1932810" y="1349835"/>
              <a:chExt cx="185335" cy="185337"/>
            </a:xfrm>
            <a:solidFill>
              <a:schemeClr val="tx2"/>
            </a:solidFill>
          </p:grpSpPr>
          <p:sp>
            <p:nvSpPr>
              <p:cNvPr id="613" name="Google Shape;18116;p1604">
                <a:extLst>
                  <a:ext uri="{FF2B5EF4-FFF2-40B4-BE49-F238E27FC236}">
                    <a16:creationId xmlns:a16="http://schemas.microsoft.com/office/drawing/2014/main" id="{430853AC-14CA-40FB-9CA7-BEB4CC2AAD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4" name="Google Shape;18117;p1604">
                <a:extLst>
                  <a:ext uri="{FF2B5EF4-FFF2-40B4-BE49-F238E27FC236}">
                    <a16:creationId xmlns:a16="http://schemas.microsoft.com/office/drawing/2014/main" id="{DA1B5DD1-5BFA-44C2-A5AE-8F628C3760D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4" name="Google Shape;18115;p1604">
              <a:extLst>
                <a:ext uri="{FF2B5EF4-FFF2-40B4-BE49-F238E27FC236}">
                  <a16:creationId xmlns:a16="http://schemas.microsoft.com/office/drawing/2014/main" id="{2E476BEA-A69B-490C-BFB0-FE185941B717}"/>
                </a:ext>
              </a:extLst>
            </p:cNvPr>
            <p:cNvGrpSpPr/>
            <p:nvPr/>
          </p:nvGrpSpPr>
          <p:grpSpPr>
            <a:xfrm>
              <a:off x="2644688" y="4493428"/>
              <a:ext cx="346511" cy="346515"/>
              <a:chOff x="1932810" y="1349835"/>
              <a:chExt cx="185335" cy="185337"/>
            </a:xfrm>
            <a:solidFill>
              <a:schemeClr val="tx2"/>
            </a:solidFill>
          </p:grpSpPr>
          <p:sp>
            <p:nvSpPr>
              <p:cNvPr id="611" name="Google Shape;18116;p1604">
                <a:extLst>
                  <a:ext uri="{FF2B5EF4-FFF2-40B4-BE49-F238E27FC236}">
                    <a16:creationId xmlns:a16="http://schemas.microsoft.com/office/drawing/2014/main" id="{B923C069-16C6-41C3-8DC8-FE15C8F74D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2" name="Google Shape;18117;p1604">
                <a:extLst>
                  <a:ext uri="{FF2B5EF4-FFF2-40B4-BE49-F238E27FC236}">
                    <a16:creationId xmlns:a16="http://schemas.microsoft.com/office/drawing/2014/main" id="{801FEADA-5D19-4AD1-95DC-6A6C2A007D1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5" name="Google Shape;18115;p1604">
              <a:extLst>
                <a:ext uri="{FF2B5EF4-FFF2-40B4-BE49-F238E27FC236}">
                  <a16:creationId xmlns:a16="http://schemas.microsoft.com/office/drawing/2014/main" id="{3C9A8C79-F289-46B6-BB26-E4AF28082958}"/>
                </a:ext>
              </a:extLst>
            </p:cNvPr>
            <p:cNvGrpSpPr/>
            <p:nvPr/>
          </p:nvGrpSpPr>
          <p:grpSpPr>
            <a:xfrm>
              <a:off x="4764085" y="3612568"/>
              <a:ext cx="346511" cy="346515"/>
              <a:chOff x="1932810" y="1349835"/>
              <a:chExt cx="185335" cy="185337"/>
            </a:xfrm>
            <a:solidFill>
              <a:schemeClr val="tx2"/>
            </a:solidFill>
          </p:grpSpPr>
          <p:sp>
            <p:nvSpPr>
              <p:cNvPr id="609" name="Google Shape;18116;p1604">
                <a:extLst>
                  <a:ext uri="{FF2B5EF4-FFF2-40B4-BE49-F238E27FC236}">
                    <a16:creationId xmlns:a16="http://schemas.microsoft.com/office/drawing/2014/main" id="{A7313060-DCAD-4064-985A-833B01E61B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10" name="Google Shape;18117;p1604">
                <a:extLst>
                  <a:ext uri="{FF2B5EF4-FFF2-40B4-BE49-F238E27FC236}">
                    <a16:creationId xmlns:a16="http://schemas.microsoft.com/office/drawing/2014/main" id="{398402B2-C156-4539-A41E-6C4DE1CCDB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06" name="Google Shape;18115;p1604">
              <a:extLst>
                <a:ext uri="{FF2B5EF4-FFF2-40B4-BE49-F238E27FC236}">
                  <a16:creationId xmlns:a16="http://schemas.microsoft.com/office/drawing/2014/main" id="{AA1CC301-06D8-4503-80BD-48843F735A3F}"/>
                </a:ext>
              </a:extLst>
            </p:cNvPr>
            <p:cNvGrpSpPr/>
            <p:nvPr/>
          </p:nvGrpSpPr>
          <p:grpSpPr>
            <a:xfrm>
              <a:off x="3091300" y="2809102"/>
              <a:ext cx="346511" cy="346515"/>
              <a:chOff x="1932810" y="1349835"/>
              <a:chExt cx="185335" cy="185337"/>
            </a:xfrm>
            <a:solidFill>
              <a:schemeClr val="tx2"/>
            </a:solidFill>
          </p:grpSpPr>
          <p:sp>
            <p:nvSpPr>
              <p:cNvPr id="607" name="Google Shape;18116;p1604">
                <a:extLst>
                  <a:ext uri="{FF2B5EF4-FFF2-40B4-BE49-F238E27FC236}">
                    <a16:creationId xmlns:a16="http://schemas.microsoft.com/office/drawing/2014/main" id="{886E20E5-E229-4F79-A584-5B5C2F61FB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08" name="Google Shape;18117;p1604">
                <a:extLst>
                  <a:ext uri="{FF2B5EF4-FFF2-40B4-BE49-F238E27FC236}">
                    <a16:creationId xmlns:a16="http://schemas.microsoft.com/office/drawing/2014/main" id="{3DE7D54F-178E-425B-B335-63E39265C41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623" name="Group 622">
            <a:extLst>
              <a:ext uri="{FF2B5EF4-FFF2-40B4-BE49-F238E27FC236}">
                <a16:creationId xmlns:a16="http://schemas.microsoft.com/office/drawing/2014/main" id="{7762D87F-72B4-4EEF-823E-6EDC5E1D0A1E}"/>
              </a:ext>
            </a:extLst>
          </p:cNvPr>
          <p:cNvGrpSpPr>
            <a:grpSpLocks/>
          </p:cNvGrpSpPr>
          <p:nvPr/>
        </p:nvGrpSpPr>
        <p:grpSpPr>
          <a:xfrm>
            <a:off x="3630774" y="4462045"/>
            <a:ext cx="436569" cy="419720"/>
            <a:chOff x="2511970" y="2806214"/>
            <a:chExt cx="2598626" cy="2498332"/>
          </a:xfrm>
        </p:grpSpPr>
        <p:grpSp>
          <p:nvGrpSpPr>
            <p:cNvPr id="624" name="Google Shape;18115;p1604">
              <a:extLst>
                <a:ext uri="{FF2B5EF4-FFF2-40B4-BE49-F238E27FC236}">
                  <a16:creationId xmlns:a16="http://schemas.microsoft.com/office/drawing/2014/main" id="{405CD522-35F7-4021-B852-E8DE9F116D51}"/>
                </a:ext>
              </a:extLst>
            </p:cNvPr>
            <p:cNvGrpSpPr/>
            <p:nvPr/>
          </p:nvGrpSpPr>
          <p:grpSpPr>
            <a:xfrm>
              <a:off x="4214405" y="2806214"/>
              <a:ext cx="346511" cy="346515"/>
              <a:chOff x="1932810" y="1349835"/>
              <a:chExt cx="185335" cy="185337"/>
            </a:xfrm>
            <a:solidFill>
              <a:schemeClr val="tx2"/>
            </a:solidFill>
          </p:grpSpPr>
          <p:sp>
            <p:nvSpPr>
              <p:cNvPr id="647" name="Google Shape;18116;p1604">
                <a:extLst>
                  <a:ext uri="{FF2B5EF4-FFF2-40B4-BE49-F238E27FC236}">
                    <a16:creationId xmlns:a16="http://schemas.microsoft.com/office/drawing/2014/main" id="{EEB1A7CB-9824-4CE6-8665-99478A1398D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8" name="Google Shape;18117;p1604">
                <a:extLst>
                  <a:ext uri="{FF2B5EF4-FFF2-40B4-BE49-F238E27FC236}">
                    <a16:creationId xmlns:a16="http://schemas.microsoft.com/office/drawing/2014/main" id="{13B556CD-8507-4D87-9868-8D146539F06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625" name="Oval 624">
              <a:extLst>
                <a:ext uri="{FF2B5EF4-FFF2-40B4-BE49-F238E27FC236}">
                  <a16:creationId xmlns:a16="http://schemas.microsoft.com/office/drawing/2014/main" id="{061B950F-37B5-441E-95BB-F7B3C58F98AB}"/>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6" name="Google Shape;18115;p1604">
              <a:extLst>
                <a:ext uri="{FF2B5EF4-FFF2-40B4-BE49-F238E27FC236}">
                  <a16:creationId xmlns:a16="http://schemas.microsoft.com/office/drawing/2014/main" id="{5BBC528E-4CEE-4F15-B772-95B349802BD1}"/>
                </a:ext>
              </a:extLst>
            </p:cNvPr>
            <p:cNvGrpSpPr/>
            <p:nvPr/>
          </p:nvGrpSpPr>
          <p:grpSpPr>
            <a:xfrm>
              <a:off x="4402332" y="4548551"/>
              <a:ext cx="346511" cy="346515"/>
              <a:chOff x="1932810" y="1349835"/>
              <a:chExt cx="185335" cy="185337"/>
            </a:xfrm>
            <a:solidFill>
              <a:schemeClr val="tx2"/>
            </a:solidFill>
          </p:grpSpPr>
          <p:sp>
            <p:nvSpPr>
              <p:cNvPr id="645" name="Google Shape;18116;p1604">
                <a:extLst>
                  <a:ext uri="{FF2B5EF4-FFF2-40B4-BE49-F238E27FC236}">
                    <a16:creationId xmlns:a16="http://schemas.microsoft.com/office/drawing/2014/main" id="{51AD6084-4FBB-4430-B658-C2576DC5E7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6" name="Google Shape;18117;p1604">
                <a:extLst>
                  <a:ext uri="{FF2B5EF4-FFF2-40B4-BE49-F238E27FC236}">
                    <a16:creationId xmlns:a16="http://schemas.microsoft.com/office/drawing/2014/main" id="{99CBCA11-AEA0-4004-B109-E48E55A5A0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27" name="Google Shape;18115;p1604">
              <a:extLst>
                <a:ext uri="{FF2B5EF4-FFF2-40B4-BE49-F238E27FC236}">
                  <a16:creationId xmlns:a16="http://schemas.microsoft.com/office/drawing/2014/main" id="{D7DB159A-5A53-4B27-9300-ACCD1E4E87DD}"/>
                </a:ext>
              </a:extLst>
            </p:cNvPr>
            <p:cNvGrpSpPr/>
            <p:nvPr/>
          </p:nvGrpSpPr>
          <p:grpSpPr>
            <a:xfrm>
              <a:off x="3578880" y="4958031"/>
              <a:ext cx="346511" cy="346515"/>
              <a:chOff x="1932810" y="1349835"/>
              <a:chExt cx="185335" cy="185337"/>
            </a:xfrm>
            <a:solidFill>
              <a:schemeClr val="tx2"/>
            </a:solidFill>
          </p:grpSpPr>
          <p:sp>
            <p:nvSpPr>
              <p:cNvPr id="643" name="Google Shape;18116;p1604">
                <a:extLst>
                  <a:ext uri="{FF2B5EF4-FFF2-40B4-BE49-F238E27FC236}">
                    <a16:creationId xmlns:a16="http://schemas.microsoft.com/office/drawing/2014/main" id="{D8E70B6A-FAE1-418C-8C79-A85AECEF99E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4" name="Google Shape;18117;p1604">
                <a:extLst>
                  <a:ext uri="{FF2B5EF4-FFF2-40B4-BE49-F238E27FC236}">
                    <a16:creationId xmlns:a16="http://schemas.microsoft.com/office/drawing/2014/main" id="{A94B8E26-3116-4A10-A620-C8B8F71CAD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28" name="Google Shape;18115;p1604">
              <a:extLst>
                <a:ext uri="{FF2B5EF4-FFF2-40B4-BE49-F238E27FC236}">
                  <a16:creationId xmlns:a16="http://schemas.microsoft.com/office/drawing/2014/main" id="{9CD4FBD7-F416-42AA-B587-A25B66C45FD3}"/>
                </a:ext>
              </a:extLst>
            </p:cNvPr>
            <p:cNvGrpSpPr/>
            <p:nvPr/>
          </p:nvGrpSpPr>
          <p:grpSpPr>
            <a:xfrm>
              <a:off x="2511970" y="3644968"/>
              <a:ext cx="346511" cy="346515"/>
              <a:chOff x="1932810" y="1349835"/>
              <a:chExt cx="185335" cy="185337"/>
            </a:xfrm>
            <a:solidFill>
              <a:schemeClr val="tx2"/>
            </a:solidFill>
          </p:grpSpPr>
          <p:sp>
            <p:nvSpPr>
              <p:cNvPr id="641" name="Google Shape;18116;p1604">
                <a:extLst>
                  <a:ext uri="{FF2B5EF4-FFF2-40B4-BE49-F238E27FC236}">
                    <a16:creationId xmlns:a16="http://schemas.microsoft.com/office/drawing/2014/main" id="{E0CBC874-C5AF-4FDC-9C7A-F5C438932C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2" name="Google Shape;18117;p1604">
                <a:extLst>
                  <a:ext uri="{FF2B5EF4-FFF2-40B4-BE49-F238E27FC236}">
                    <a16:creationId xmlns:a16="http://schemas.microsoft.com/office/drawing/2014/main" id="{9BB0345C-A846-4041-8B18-DE40454E50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29" name="Google Shape;18115;p1604">
              <a:extLst>
                <a:ext uri="{FF2B5EF4-FFF2-40B4-BE49-F238E27FC236}">
                  <a16:creationId xmlns:a16="http://schemas.microsoft.com/office/drawing/2014/main" id="{5751123B-BB83-48CA-B92C-461EF622495E}"/>
                </a:ext>
              </a:extLst>
            </p:cNvPr>
            <p:cNvGrpSpPr/>
            <p:nvPr/>
          </p:nvGrpSpPr>
          <p:grpSpPr>
            <a:xfrm>
              <a:off x="4754363" y="4548551"/>
              <a:ext cx="346511" cy="346515"/>
              <a:chOff x="1932810" y="1349835"/>
              <a:chExt cx="185335" cy="185337"/>
            </a:xfrm>
            <a:solidFill>
              <a:schemeClr val="tx2"/>
            </a:solidFill>
          </p:grpSpPr>
          <p:sp>
            <p:nvSpPr>
              <p:cNvPr id="639" name="Google Shape;18116;p1604">
                <a:extLst>
                  <a:ext uri="{FF2B5EF4-FFF2-40B4-BE49-F238E27FC236}">
                    <a16:creationId xmlns:a16="http://schemas.microsoft.com/office/drawing/2014/main" id="{CD5500CA-B59C-4664-BF95-0E5A81C122F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40" name="Google Shape;18117;p1604">
                <a:extLst>
                  <a:ext uri="{FF2B5EF4-FFF2-40B4-BE49-F238E27FC236}">
                    <a16:creationId xmlns:a16="http://schemas.microsoft.com/office/drawing/2014/main" id="{4D93F681-32F5-4490-ADC6-B33CD98831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30" name="Google Shape;18115;p1604">
              <a:extLst>
                <a:ext uri="{FF2B5EF4-FFF2-40B4-BE49-F238E27FC236}">
                  <a16:creationId xmlns:a16="http://schemas.microsoft.com/office/drawing/2014/main" id="{70B68510-3DCC-4E88-A543-7D9494355490}"/>
                </a:ext>
              </a:extLst>
            </p:cNvPr>
            <p:cNvGrpSpPr/>
            <p:nvPr/>
          </p:nvGrpSpPr>
          <p:grpSpPr>
            <a:xfrm>
              <a:off x="2644688" y="4493428"/>
              <a:ext cx="346511" cy="346515"/>
              <a:chOff x="1932810" y="1349835"/>
              <a:chExt cx="185335" cy="185337"/>
            </a:xfrm>
            <a:solidFill>
              <a:schemeClr val="tx2"/>
            </a:solidFill>
          </p:grpSpPr>
          <p:sp>
            <p:nvSpPr>
              <p:cNvPr id="637" name="Google Shape;18116;p1604">
                <a:extLst>
                  <a:ext uri="{FF2B5EF4-FFF2-40B4-BE49-F238E27FC236}">
                    <a16:creationId xmlns:a16="http://schemas.microsoft.com/office/drawing/2014/main" id="{030B1DC6-3363-4F69-85D1-99EA352765F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38" name="Google Shape;18117;p1604">
                <a:extLst>
                  <a:ext uri="{FF2B5EF4-FFF2-40B4-BE49-F238E27FC236}">
                    <a16:creationId xmlns:a16="http://schemas.microsoft.com/office/drawing/2014/main" id="{19B1ABCB-57F4-4DB9-A0B7-8F987445AF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31" name="Google Shape;18115;p1604">
              <a:extLst>
                <a:ext uri="{FF2B5EF4-FFF2-40B4-BE49-F238E27FC236}">
                  <a16:creationId xmlns:a16="http://schemas.microsoft.com/office/drawing/2014/main" id="{BFB9265E-DE96-4761-AD56-09D3624D0393}"/>
                </a:ext>
              </a:extLst>
            </p:cNvPr>
            <p:cNvGrpSpPr/>
            <p:nvPr/>
          </p:nvGrpSpPr>
          <p:grpSpPr>
            <a:xfrm>
              <a:off x="4764085" y="3612568"/>
              <a:ext cx="346511" cy="346515"/>
              <a:chOff x="1932810" y="1349835"/>
              <a:chExt cx="185335" cy="185337"/>
            </a:xfrm>
            <a:solidFill>
              <a:schemeClr val="tx2"/>
            </a:solidFill>
          </p:grpSpPr>
          <p:sp>
            <p:nvSpPr>
              <p:cNvPr id="635" name="Google Shape;18116;p1604">
                <a:extLst>
                  <a:ext uri="{FF2B5EF4-FFF2-40B4-BE49-F238E27FC236}">
                    <a16:creationId xmlns:a16="http://schemas.microsoft.com/office/drawing/2014/main" id="{9CA5A657-68D8-4E8B-964F-967DE776ED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36" name="Google Shape;18117;p1604">
                <a:extLst>
                  <a:ext uri="{FF2B5EF4-FFF2-40B4-BE49-F238E27FC236}">
                    <a16:creationId xmlns:a16="http://schemas.microsoft.com/office/drawing/2014/main" id="{213DCD1D-E8E5-445F-898E-265379D3B25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32" name="Google Shape;18115;p1604">
              <a:extLst>
                <a:ext uri="{FF2B5EF4-FFF2-40B4-BE49-F238E27FC236}">
                  <a16:creationId xmlns:a16="http://schemas.microsoft.com/office/drawing/2014/main" id="{ACBB4C0F-7984-4F56-95E3-D3B0F61B728F}"/>
                </a:ext>
              </a:extLst>
            </p:cNvPr>
            <p:cNvGrpSpPr/>
            <p:nvPr/>
          </p:nvGrpSpPr>
          <p:grpSpPr>
            <a:xfrm>
              <a:off x="3091300" y="2809102"/>
              <a:ext cx="346511" cy="346515"/>
              <a:chOff x="1932810" y="1349835"/>
              <a:chExt cx="185335" cy="185337"/>
            </a:xfrm>
            <a:solidFill>
              <a:schemeClr val="tx2"/>
            </a:solidFill>
          </p:grpSpPr>
          <p:sp>
            <p:nvSpPr>
              <p:cNvPr id="633" name="Google Shape;18116;p1604">
                <a:extLst>
                  <a:ext uri="{FF2B5EF4-FFF2-40B4-BE49-F238E27FC236}">
                    <a16:creationId xmlns:a16="http://schemas.microsoft.com/office/drawing/2014/main" id="{009C19AC-666D-4BD0-823E-673AAA55F79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34" name="Google Shape;18117;p1604">
                <a:extLst>
                  <a:ext uri="{FF2B5EF4-FFF2-40B4-BE49-F238E27FC236}">
                    <a16:creationId xmlns:a16="http://schemas.microsoft.com/office/drawing/2014/main" id="{1D64CC8C-FBAC-4634-8C66-BD896BEECC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649" name="Group 648">
            <a:extLst>
              <a:ext uri="{FF2B5EF4-FFF2-40B4-BE49-F238E27FC236}">
                <a16:creationId xmlns:a16="http://schemas.microsoft.com/office/drawing/2014/main" id="{E3F82067-BADF-404E-82D6-53A40BA2DD55}"/>
              </a:ext>
            </a:extLst>
          </p:cNvPr>
          <p:cNvGrpSpPr>
            <a:grpSpLocks/>
          </p:cNvGrpSpPr>
          <p:nvPr/>
        </p:nvGrpSpPr>
        <p:grpSpPr>
          <a:xfrm>
            <a:off x="3630774" y="4889283"/>
            <a:ext cx="436569" cy="419720"/>
            <a:chOff x="2511970" y="2806214"/>
            <a:chExt cx="2598626" cy="2498332"/>
          </a:xfrm>
        </p:grpSpPr>
        <p:grpSp>
          <p:nvGrpSpPr>
            <p:cNvPr id="650" name="Google Shape;18115;p1604">
              <a:extLst>
                <a:ext uri="{FF2B5EF4-FFF2-40B4-BE49-F238E27FC236}">
                  <a16:creationId xmlns:a16="http://schemas.microsoft.com/office/drawing/2014/main" id="{B011C4FC-AA28-4940-A798-33B12C7FA739}"/>
                </a:ext>
              </a:extLst>
            </p:cNvPr>
            <p:cNvGrpSpPr/>
            <p:nvPr/>
          </p:nvGrpSpPr>
          <p:grpSpPr>
            <a:xfrm>
              <a:off x="4214405" y="2806214"/>
              <a:ext cx="346511" cy="346515"/>
              <a:chOff x="1932810" y="1349835"/>
              <a:chExt cx="185335" cy="185337"/>
            </a:xfrm>
            <a:solidFill>
              <a:schemeClr val="tx2"/>
            </a:solidFill>
          </p:grpSpPr>
          <p:sp>
            <p:nvSpPr>
              <p:cNvPr id="673" name="Google Shape;18116;p1604">
                <a:extLst>
                  <a:ext uri="{FF2B5EF4-FFF2-40B4-BE49-F238E27FC236}">
                    <a16:creationId xmlns:a16="http://schemas.microsoft.com/office/drawing/2014/main" id="{4D3CBB00-2833-4AE5-98AC-D5B117E0B19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74" name="Google Shape;18117;p1604">
                <a:extLst>
                  <a:ext uri="{FF2B5EF4-FFF2-40B4-BE49-F238E27FC236}">
                    <a16:creationId xmlns:a16="http://schemas.microsoft.com/office/drawing/2014/main" id="{EFB98890-1349-4728-9252-EAB341D254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651" name="Oval 650">
              <a:extLst>
                <a:ext uri="{FF2B5EF4-FFF2-40B4-BE49-F238E27FC236}">
                  <a16:creationId xmlns:a16="http://schemas.microsoft.com/office/drawing/2014/main" id="{36297B4E-8822-4F87-B722-5C8EDF8BB49A}"/>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52" name="Google Shape;18115;p1604">
              <a:extLst>
                <a:ext uri="{FF2B5EF4-FFF2-40B4-BE49-F238E27FC236}">
                  <a16:creationId xmlns:a16="http://schemas.microsoft.com/office/drawing/2014/main" id="{4BE8A3AB-B85C-40F3-96F6-7268E26B8539}"/>
                </a:ext>
              </a:extLst>
            </p:cNvPr>
            <p:cNvGrpSpPr/>
            <p:nvPr/>
          </p:nvGrpSpPr>
          <p:grpSpPr>
            <a:xfrm>
              <a:off x="4402332" y="4548551"/>
              <a:ext cx="346511" cy="346515"/>
              <a:chOff x="1932810" y="1349835"/>
              <a:chExt cx="185335" cy="185337"/>
            </a:xfrm>
            <a:solidFill>
              <a:schemeClr val="tx2"/>
            </a:solidFill>
          </p:grpSpPr>
          <p:sp>
            <p:nvSpPr>
              <p:cNvPr id="671" name="Google Shape;18116;p1604">
                <a:extLst>
                  <a:ext uri="{FF2B5EF4-FFF2-40B4-BE49-F238E27FC236}">
                    <a16:creationId xmlns:a16="http://schemas.microsoft.com/office/drawing/2014/main" id="{9D956369-3332-499D-8DD2-F7FDD85513D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72" name="Google Shape;18117;p1604">
                <a:extLst>
                  <a:ext uri="{FF2B5EF4-FFF2-40B4-BE49-F238E27FC236}">
                    <a16:creationId xmlns:a16="http://schemas.microsoft.com/office/drawing/2014/main" id="{F9FAF3D7-ECA4-4C02-80E0-9BA611F9A8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3" name="Google Shape;18115;p1604">
              <a:extLst>
                <a:ext uri="{FF2B5EF4-FFF2-40B4-BE49-F238E27FC236}">
                  <a16:creationId xmlns:a16="http://schemas.microsoft.com/office/drawing/2014/main" id="{27CA54E6-E20B-4810-8E83-CBB6886FA783}"/>
                </a:ext>
              </a:extLst>
            </p:cNvPr>
            <p:cNvGrpSpPr/>
            <p:nvPr/>
          </p:nvGrpSpPr>
          <p:grpSpPr>
            <a:xfrm>
              <a:off x="3578880" y="4958031"/>
              <a:ext cx="346511" cy="346515"/>
              <a:chOff x="1932810" y="1349835"/>
              <a:chExt cx="185335" cy="185337"/>
            </a:xfrm>
            <a:solidFill>
              <a:schemeClr val="tx2"/>
            </a:solidFill>
          </p:grpSpPr>
          <p:sp>
            <p:nvSpPr>
              <p:cNvPr id="669" name="Google Shape;18116;p1604">
                <a:extLst>
                  <a:ext uri="{FF2B5EF4-FFF2-40B4-BE49-F238E27FC236}">
                    <a16:creationId xmlns:a16="http://schemas.microsoft.com/office/drawing/2014/main" id="{EE652F02-C0C6-4CC5-8C4F-13FBC7BDB70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70" name="Google Shape;18117;p1604">
                <a:extLst>
                  <a:ext uri="{FF2B5EF4-FFF2-40B4-BE49-F238E27FC236}">
                    <a16:creationId xmlns:a16="http://schemas.microsoft.com/office/drawing/2014/main" id="{E4C6A9FD-4DC6-4BA2-906F-93321A68D81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4" name="Google Shape;18115;p1604">
              <a:extLst>
                <a:ext uri="{FF2B5EF4-FFF2-40B4-BE49-F238E27FC236}">
                  <a16:creationId xmlns:a16="http://schemas.microsoft.com/office/drawing/2014/main" id="{00298B52-5D8C-45F9-9BB0-864D71805454}"/>
                </a:ext>
              </a:extLst>
            </p:cNvPr>
            <p:cNvGrpSpPr/>
            <p:nvPr/>
          </p:nvGrpSpPr>
          <p:grpSpPr>
            <a:xfrm>
              <a:off x="2511970" y="3644968"/>
              <a:ext cx="346511" cy="346515"/>
              <a:chOff x="1932810" y="1349835"/>
              <a:chExt cx="185335" cy="185337"/>
            </a:xfrm>
            <a:solidFill>
              <a:schemeClr val="tx2"/>
            </a:solidFill>
          </p:grpSpPr>
          <p:sp>
            <p:nvSpPr>
              <p:cNvPr id="667" name="Google Shape;18116;p1604">
                <a:extLst>
                  <a:ext uri="{FF2B5EF4-FFF2-40B4-BE49-F238E27FC236}">
                    <a16:creationId xmlns:a16="http://schemas.microsoft.com/office/drawing/2014/main" id="{538AAFDE-125B-456F-8320-AC1DE8FEFC5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8" name="Google Shape;18117;p1604">
                <a:extLst>
                  <a:ext uri="{FF2B5EF4-FFF2-40B4-BE49-F238E27FC236}">
                    <a16:creationId xmlns:a16="http://schemas.microsoft.com/office/drawing/2014/main" id="{E19E55F7-7EA2-4244-A86B-2751CEE554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5" name="Google Shape;18115;p1604">
              <a:extLst>
                <a:ext uri="{FF2B5EF4-FFF2-40B4-BE49-F238E27FC236}">
                  <a16:creationId xmlns:a16="http://schemas.microsoft.com/office/drawing/2014/main" id="{9768005C-CF77-4D32-B619-5623D1002EF4}"/>
                </a:ext>
              </a:extLst>
            </p:cNvPr>
            <p:cNvGrpSpPr/>
            <p:nvPr/>
          </p:nvGrpSpPr>
          <p:grpSpPr>
            <a:xfrm>
              <a:off x="4754363" y="4548551"/>
              <a:ext cx="346511" cy="346515"/>
              <a:chOff x="1932810" y="1349835"/>
              <a:chExt cx="185335" cy="185337"/>
            </a:xfrm>
            <a:solidFill>
              <a:schemeClr val="tx2"/>
            </a:solidFill>
          </p:grpSpPr>
          <p:sp>
            <p:nvSpPr>
              <p:cNvPr id="665" name="Google Shape;18116;p1604">
                <a:extLst>
                  <a:ext uri="{FF2B5EF4-FFF2-40B4-BE49-F238E27FC236}">
                    <a16:creationId xmlns:a16="http://schemas.microsoft.com/office/drawing/2014/main" id="{F584C495-C28D-4020-8BB4-1FAB2BDB548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6" name="Google Shape;18117;p1604">
                <a:extLst>
                  <a:ext uri="{FF2B5EF4-FFF2-40B4-BE49-F238E27FC236}">
                    <a16:creationId xmlns:a16="http://schemas.microsoft.com/office/drawing/2014/main" id="{02DAA472-480E-47D9-A368-78971989945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6" name="Google Shape;18115;p1604">
              <a:extLst>
                <a:ext uri="{FF2B5EF4-FFF2-40B4-BE49-F238E27FC236}">
                  <a16:creationId xmlns:a16="http://schemas.microsoft.com/office/drawing/2014/main" id="{47D90331-46AF-430D-AFD7-6FE6ACB302D9}"/>
                </a:ext>
              </a:extLst>
            </p:cNvPr>
            <p:cNvGrpSpPr/>
            <p:nvPr/>
          </p:nvGrpSpPr>
          <p:grpSpPr>
            <a:xfrm>
              <a:off x="2644688" y="4493428"/>
              <a:ext cx="346511" cy="346515"/>
              <a:chOff x="1932810" y="1349835"/>
              <a:chExt cx="185335" cy="185337"/>
            </a:xfrm>
            <a:solidFill>
              <a:schemeClr val="tx2"/>
            </a:solidFill>
          </p:grpSpPr>
          <p:sp>
            <p:nvSpPr>
              <p:cNvPr id="663" name="Google Shape;18116;p1604">
                <a:extLst>
                  <a:ext uri="{FF2B5EF4-FFF2-40B4-BE49-F238E27FC236}">
                    <a16:creationId xmlns:a16="http://schemas.microsoft.com/office/drawing/2014/main" id="{2EE3069C-4E6A-4D0A-AADA-E96EC1C3CA9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4" name="Google Shape;18117;p1604">
                <a:extLst>
                  <a:ext uri="{FF2B5EF4-FFF2-40B4-BE49-F238E27FC236}">
                    <a16:creationId xmlns:a16="http://schemas.microsoft.com/office/drawing/2014/main" id="{A64CE07D-274F-45B7-9C52-6DCAA3724AF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7" name="Google Shape;18115;p1604">
              <a:extLst>
                <a:ext uri="{FF2B5EF4-FFF2-40B4-BE49-F238E27FC236}">
                  <a16:creationId xmlns:a16="http://schemas.microsoft.com/office/drawing/2014/main" id="{65E7D922-F52A-464F-B128-E00BC001AF61}"/>
                </a:ext>
              </a:extLst>
            </p:cNvPr>
            <p:cNvGrpSpPr/>
            <p:nvPr/>
          </p:nvGrpSpPr>
          <p:grpSpPr>
            <a:xfrm>
              <a:off x="4764085" y="3612568"/>
              <a:ext cx="346511" cy="346515"/>
              <a:chOff x="1932810" y="1349835"/>
              <a:chExt cx="185335" cy="185337"/>
            </a:xfrm>
            <a:solidFill>
              <a:schemeClr val="tx2"/>
            </a:solidFill>
          </p:grpSpPr>
          <p:sp>
            <p:nvSpPr>
              <p:cNvPr id="661" name="Google Shape;18116;p1604">
                <a:extLst>
                  <a:ext uri="{FF2B5EF4-FFF2-40B4-BE49-F238E27FC236}">
                    <a16:creationId xmlns:a16="http://schemas.microsoft.com/office/drawing/2014/main" id="{A01DEA1A-8290-4F29-94BF-E95567FC826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2" name="Google Shape;18117;p1604">
                <a:extLst>
                  <a:ext uri="{FF2B5EF4-FFF2-40B4-BE49-F238E27FC236}">
                    <a16:creationId xmlns:a16="http://schemas.microsoft.com/office/drawing/2014/main" id="{70473B6B-048D-4307-8411-C67AB004289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58" name="Google Shape;18115;p1604">
              <a:extLst>
                <a:ext uri="{FF2B5EF4-FFF2-40B4-BE49-F238E27FC236}">
                  <a16:creationId xmlns:a16="http://schemas.microsoft.com/office/drawing/2014/main" id="{F6C88913-C93A-4C6D-BFC5-B16FC2D87E9C}"/>
                </a:ext>
              </a:extLst>
            </p:cNvPr>
            <p:cNvGrpSpPr/>
            <p:nvPr/>
          </p:nvGrpSpPr>
          <p:grpSpPr>
            <a:xfrm>
              <a:off x="3091300" y="2809102"/>
              <a:ext cx="346511" cy="346515"/>
              <a:chOff x="1932810" y="1349835"/>
              <a:chExt cx="185335" cy="185337"/>
            </a:xfrm>
            <a:solidFill>
              <a:schemeClr val="tx2"/>
            </a:solidFill>
          </p:grpSpPr>
          <p:sp>
            <p:nvSpPr>
              <p:cNvPr id="659" name="Google Shape;18116;p1604">
                <a:extLst>
                  <a:ext uri="{FF2B5EF4-FFF2-40B4-BE49-F238E27FC236}">
                    <a16:creationId xmlns:a16="http://schemas.microsoft.com/office/drawing/2014/main" id="{D10C3E2E-F5DB-46D8-B035-A2F7B0C47C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60" name="Google Shape;18117;p1604">
                <a:extLst>
                  <a:ext uri="{FF2B5EF4-FFF2-40B4-BE49-F238E27FC236}">
                    <a16:creationId xmlns:a16="http://schemas.microsoft.com/office/drawing/2014/main" id="{E765B874-13C1-46A4-ACFC-B42FEAD94B9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675" name="Google Shape;18115;p1604">
            <a:extLst>
              <a:ext uri="{FF2B5EF4-FFF2-40B4-BE49-F238E27FC236}">
                <a16:creationId xmlns:a16="http://schemas.microsoft.com/office/drawing/2014/main" id="{28822D6C-8BBC-4B1B-B294-1E5A5A8433A5}"/>
              </a:ext>
            </a:extLst>
          </p:cNvPr>
          <p:cNvGrpSpPr/>
          <p:nvPr/>
        </p:nvGrpSpPr>
        <p:grpSpPr>
          <a:xfrm>
            <a:off x="3351686" y="4053827"/>
            <a:ext cx="193423" cy="193425"/>
            <a:chOff x="1932810" y="1349835"/>
            <a:chExt cx="185335" cy="185337"/>
          </a:xfrm>
          <a:solidFill>
            <a:schemeClr val="tx2"/>
          </a:solidFill>
        </p:grpSpPr>
        <p:sp>
          <p:nvSpPr>
            <p:cNvPr id="676" name="Google Shape;18116;p1604">
              <a:extLst>
                <a:ext uri="{FF2B5EF4-FFF2-40B4-BE49-F238E27FC236}">
                  <a16:creationId xmlns:a16="http://schemas.microsoft.com/office/drawing/2014/main" id="{4C1FFE8E-4830-4663-83C7-EFA50B091D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77" name="Google Shape;18117;p1604">
              <a:extLst>
                <a:ext uri="{FF2B5EF4-FFF2-40B4-BE49-F238E27FC236}">
                  <a16:creationId xmlns:a16="http://schemas.microsoft.com/office/drawing/2014/main" id="{CF5BD9CF-BEE5-4755-8C61-AFB4217390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78" name="Google Shape;18115;p1604">
            <a:extLst>
              <a:ext uri="{FF2B5EF4-FFF2-40B4-BE49-F238E27FC236}">
                <a16:creationId xmlns:a16="http://schemas.microsoft.com/office/drawing/2014/main" id="{AECEB99A-A63A-493F-83E2-8180058632BB}"/>
              </a:ext>
            </a:extLst>
          </p:cNvPr>
          <p:cNvGrpSpPr/>
          <p:nvPr/>
        </p:nvGrpSpPr>
        <p:grpSpPr>
          <a:xfrm>
            <a:off x="3744627" y="4053827"/>
            <a:ext cx="193423" cy="193425"/>
            <a:chOff x="1932810" y="1349835"/>
            <a:chExt cx="185335" cy="185337"/>
          </a:xfrm>
          <a:solidFill>
            <a:schemeClr val="tx2"/>
          </a:solidFill>
        </p:grpSpPr>
        <p:sp>
          <p:nvSpPr>
            <p:cNvPr id="679" name="Google Shape;18116;p1604">
              <a:extLst>
                <a:ext uri="{FF2B5EF4-FFF2-40B4-BE49-F238E27FC236}">
                  <a16:creationId xmlns:a16="http://schemas.microsoft.com/office/drawing/2014/main" id="{D200788E-1821-4BBF-A8EC-E4EAD90813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80" name="Google Shape;18117;p1604">
              <a:extLst>
                <a:ext uri="{FF2B5EF4-FFF2-40B4-BE49-F238E27FC236}">
                  <a16:creationId xmlns:a16="http://schemas.microsoft.com/office/drawing/2014/main" id="{20524E5E-C1C0-499A-8700-A549AF7534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89" name="Google Shape;18115;p1604">
            <a:extLst>
              <a:ext uri="{FF2B5EF4-FFF2-40B4-BE49-F238E27FC236}">
                <a16:creationId xmlns:a16="http://schemas.microsoft.com/office/drawing/2014/main" id="{396C2230-117F-40F5-9106-E6CAFA5A40FE}"/>
              </a:ext>
            </a:extLst>
          </p:cNvPr>
          <p:cNvGrpSpPr/>
          <p:nvPr/>
        </p:nvGrpSpPr>
        <p:grpSpPr>
          <a:xfrm>
            <a:off x="7532655" y="2517958"/>
            <a:ext cx="193423" cy="193425"/>
            <a:chOff x="1932810" y="1349835"/>
            <a:chExt cx="185335" cy="185337"/>
          </a:xfrm>
          <a:solidFill>
            <a:schemeClr val="tx2"/>
          </a:solidFill>
        </p:grpSpPr>
        <p:sp>
          <p:nvSpPr>
            <p:cNvPr id="690" name="Google Shape;18116;p1604">
              <a:extLst>
                <a:ext uri="{FF2B5EF4-FFF2-40B4-BE49-F238E27FC236}">
                  <a16:creationId xmlns:a16="http://schemas.microsoft.com/office/drawing/2014/main" id="{1B5F644F-B940-401B-9D96-5C1BD464C1A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91" name="Google Shape;18117;p1604">
              <a:extLst>
                <a:ext uri="{FF2B5EF4-FFF2-40B4-BE49-F238E27FC236}">
                  <a16:creationId xmlns:a16="http://schemas.microsoft.com/office/drawing/2014/main" id="{B5E3AC2E-1315-4720-8B61-2E1A8181C45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692" name="Rectangle 691">
            <a:extLst>
              <a:ext uri="{FF2B5EF4-FFF2-40B4-BE49-F238E27FC236}">
                <a16:creationId xmlns:a16="http://schemas.microsoft.com/office/drawing/2014/main" id="{BBEEFCF0-C1F8-412D-811F-69370C81BFF0}"/>
              </a:ext>
            </a:extLst>
          </p:cNvPr>
          <p:cNvSpPr/>
          <p:nvPr/>
        </p:nvSpPr>
        <p:spPr>
          <a:xfrm>
            <a:off x="9218906" y="2389413"/>
            <a:ext cx="885417" cy="44816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Business Director</a:t>
            </a:r>
          </a:p>
        </p:txBody>
      </p:sp>
      <p:grpSp>
        <p:nvGrpSpPr>
          <p:cNvPr id="693" name="Google Shape;18115;p1604">
            <a:extLst>
              <a:ext uri="{FF2B5EF4-FFF2-40B4-BE49-F238E27FC236}">
                <a16:creationId xmlns:a16="http://schemas.microsoft.com/office/drawing/2014/main" id="{CEABD003-00A7-43FD-9B3C-A4659FFFBD72}"/>
              </a:ext>
            </a:extLst>
          </p:cNvPr>
          <p:cNvGrpSpPr/>
          <p:nvPr/>
        </p:nvGrpSpPr>
        <p:grpSpPr>
          <a:xfrm>
            <a:off x="9918756" y="2517958"/>
            <a:ext cx="193423" cy="193425"/>
            <a:chOff x="1932810" y="1349835"/>
            <a:chExt cx="185335" cy="185337"/>
          </a:xfrm>
          <a:solidFill>
            <a:schemeClr val="tx2"/>
          </a:solidFill>
        </p:grpSpPr>
        <p:sp>
          <p:nvSpPr>
            <p:cNvPr id="694" name="Google Shape;18116;p1604">
              <a:extLst>
                <a:ext uri="{FF2B5EF4-FFF2-40B4-BE49-F238E27FC236}">
                  <a16:creationId xmlns:a16="http://schemas.microsoft.com/office/drawing/2014/main" id="{7C64100D-8415-4187-BA47-EB9DAC12A45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95" name="Google Shape;18117;p1604">
              <a:extLst>
                <a:ext uri="{FF2B5EF4-FFF2-40B4-BE49-F238E27FC236}">
                  <a16:creationId xmlns:a16="http://schemas.microsoft.com/office/drawing/2014/main" id="{A840BE33-ECB4-455F-97AA-AFF670618CD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702" name="Rectangle 701">
            <a:extLst>
              <a:ext uri="{FF2B5EF4-FFF2-40B4-BE49-F238E27FC236}">
                <a16:creationId xmlns:a16="http://schemas.microsoft.com/office/drawing/2014/main" id="{DE93861F-870B-46E1-BC93-D5EEFD9AECE9}"/>
              </a:ext>
            </a:extLst>
          </p:cNvPr>
          <p:cNvSpPr/>
          <p:nvPr/>
        </p:nvSpPr>
        <p:spPr>
          <a:xfrm>
            <a:off x="2530353" y="376716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PM</a:t>
            </a:r>
          </a:p>
        </p:txBody>
      </p:sp>
      <p:sp>
        <p:nvSpPr>
          <p:cNvPr id="703" name="Rectangle 702">
            <a:extLst>
              <a:ext uri="{FF2B5EF4-FFF2-40B4-BE49-F238E27FC236}">
                <a16:creationId xmlns:a16="http://schemas.microsoft.com/office/drawing/2014/main" id="{16D376F6-5A9F-4A83-997A-4B258813DFF5}"/>
              </a:ext>
            </a:extLst>
          </p:cNvPr>
          <p:cNvSpPr/>
          <p:nvPr/>
        </p:nvSpPr>
        <p:spPr>
          <a:xfrm>
            <a:off x="2070079" y="3767164"/>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704" name="Rectangle 703">
            <a:extLst>
              <a:ext uri="{FF2B5EF4-FFF2-40B4-BE49-F238E27FC236}">
                <a16:creationId xmlns:a16="http://schemas.microsoft.com/office/drawing/2014/main" id="{B5703443-91C8-4656-B7BA-C0AB5163E333}"/>
              </a:ext>
            </a:extLst>
          </p:cNvPr>
          <p:cNvSpPr/>
          <p:nvPr/>
        </p:nvSpPr>
        <p:spPr>
          <a:xfrm>
            <a:off x="3620450" y="376716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PM</a:t>
            </a:r>
          </a:p>
        </p:txBody>
      </p:sp>
      <p:sp>
        <p:nvSpPr>
          <p:cNvPr id="705" name="Rectangle 704">
            <a:extLst>
              <a:ext uri="{FF2B5EF4-FFF2-40B4-BE49-F238E27FC236}">
                <a16:creationId xmlns:a16="http://schemas.microsoft.com/office/drawing/2014/main" id="{6A593270-0A41-40CA-A53A-9FCA01C7D8EF}"/>
              </a:ext>
            </a:extLst>
          </p:cNvPr>
          <p:cNvSpPr/>
          <p:nvPr/>
        </p:nvSpPr>
        <p:spPr>
          <a:xfrm>
            <a:off x="3160176" y="3767164"/>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740" name="TextBox 739">
            <a:extLst>
              <a:ext uri="{FF2B5EF4-FFF2-40B4-BE49-F238E27FC236}">
                <a16:creationId xmlns:a16="http://schemas.microsoft.com/office/drawing/2014/main" id="{3C986161-212B-4F70-BA1B-F700923DF080}"/>
              </a:ext>
            </a:extLst>
          </p:cNvPr>
          <p:cNvSpPr txBox="1"/>
          <p:nvPr/>
        </p:nvSpPr>
        <p:spPr>
          <a:xfrm>
            <a:off x="10214127" y="3406579"/>
            <a:ext cx="1507040" cy="7583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a:solidFill>
                  <a:srgbClr val="000000"/>
                </a:solidFill>
              </a:rPr>
              <a:t>Standard leadership model across products</a:t>
            </a:r>
          </a:p>
        </p:txBody>
      </p:sp>
      <p:sp>
        <p:nvSpPr>
          <p:cNvPr id="741" name="TextBox 740">
            <a:extLst>
              <a:ext uri="{FF2B5EF4-FFF2-40B4-BE49-F238E27FC236}">
                <a16:creationId xmlns:a16="http://schemas.microsoft.com/office/drawing/2014/main" id="{DEC99352-2C7B-47DA-99BB-1802C5B3079B}"/>
              </a:ext>
            </a:extLst>
          </p:cNvPr>
          <p:cNvSpPr txBox="1"/>
          <p:nvPr/>
        </p:nvSpPr>
        <p:spPr>
          <a:xfrm>
            <a:off x="10214127" y="4414791"/>
            <a:ext cx="1507040" cy="7583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a:solidFill>
                  <a:srgbClr val="000000"/>
                </a:solidFill>
              </a:rPr>
              <a:t>Consistent squad structures </a:t>
            </a:r>
          </a:p>
        </p:txBody>
      </p:sp>
      <p:sp>
        <p:nvSpPr>
          <p:cNvPr id="742" name="TextBox 741">
            <a:extLst>
              <a:ext uri="{FF2B5EF4-FFF2-40B4-BE49-F238E27FC236}">
                <a16:creationId xmlns:a16="http://schemas.microsoft.com/office/drawing/2014/main" id="{886670CA-72CD-4B33-AD40-C88A716C0B8B}"/>
              </a:ext>
            </a:extLst>
          </p:cNvPr>
          <p:cNvSpPr txBox="1"/>
          <p:nvPr/>
        </p:nvSpPr>
        <p:spPr>
          <a:xfrm>
            <a:off x="10214127" y="5255338"/>
            <a:ext cx="1507040" cy="7583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a:solidFill>
                  <a:srgbClr val="000000"/>
                </a:solidFill>
              </a:rPr>
              <a:t>Consistent methodology</a:t>
            </a:r>
          </a:p>
        </p:txBody>
      </p:sp>
      <p:grpSp>
        <p:nvGrpSpPr>
          <p:cNvPr id="743" name="Google Shape;18115;p1604">
            <a:extLst>
              <a:ext uri="{FF2B5EF4-FFF2-40B4-BE49-F238E27FC236}">
                <a16:creationId xmlns:a16="http://schemas.microsoft.com/office/drawing/2014/main" id="{6A41CDC2-AC16-4316-B859-A100B90C3F3D}"/>
              </a:ext>
            </a:extLst>
          </p:cNvPr>
          <p:cNvGrpSpPr/>
          <p:nvPr/>
        </p:nvGrpSpPr>
        <p:grpSpPr>
          <a:xfrm>
            <a:off x="7874472" y="1916096"/>
            <a:ext cx="220616" cy="220618"/>
            <a:chOff x="1932810" y="1349835"/>
            <a:chExt cx="185335" cy="185337"/>
          </a:xfrm>
          <a:solidFill>
            <a:schemeClr val="tx2"/>
          </a:solidFill>
        </p:grpSpPr>
        <p:sp>
          <p:nvSpPr>
            <p:cNvPr id="744" name="Google Shape;18116;p1604">
              <a:extLst>
                <a:ext uri="{FF2B5EF4-FFF2-40B4-BE49-F238E27FC236}">
                  <a16:creationId xmlns:a16="http://schemas.microsoft.com/office/drawing/2014/main" id="{774980BE-6DA7-4FFE-9F12-4C94EB74281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745" name="Google Shape;18117;p1604">
              <a:extLst>
                <a:ext uri="{FF2B5EF4-FFF2-40B4-BE49-F238E27FC236}">
                  <a16:creationId xmlns:a16="http://schemas.microsoft.com/office/drawing/2014/main" id="{40EA16E2-B55C-426C-91B3-18A790DD449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33" name="Rectangle 832">
            <a:extLst>
              <a:ext uri="{FF2B5EF4-FFF2-40B4-BE49-F238E27FC236}">
                <a16:creationId xmlns:a16="http://schemas.microsoft.com/office/drawing/2014/main" id="{F54D70BB-300E-4D2B-BAF3-0DD5D9E88593}"/>
              </a:ext>
            </a:extLst>
          </p:cNvPr>
          <p:cNvSpPr/>
          <p:nvPr/>
        </p:nvSpPr>
        <p:spPr>
          <a:xfrm>
            <a:off x="4289921" y="3309168"/>
            <a:ext cx="977139" cy="2000405"/>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a:solidFill>
                  <a:srgbClr val="55555A"/>
                </a:solidFill>
              </a:rPr>
              <a:t>Digital Product C</a:t>
            </a:r>
          </a:p>
        </p:txBody>
      </p:sp>
      <p:grpSp>
        <p:nvGrpSpPr>
          <p:cNvPr id="834" name="Group 833">
            <a:extLst>
              <a:ext uri="{FF2B5EF4-FFF2-40B4-BE49-F238E27FC236}">
                <a16:creationId xmlns:a16="http://schemas.microsoft.com/office/drawing/2014/main" id="{86E2BE8A-2193-40CF-8F0B-57B9D4544C3A}"/>
              </a:ext>
            </a:extLst>
          </p:cNvPr>
          <p:cNvGrpSpPr>
            <a:grpSpLocks/>
          </p:cNvGrpSpPr>
          <p:nvPr/>
        </p:nvGrpSpPr>
        <p:grpSpPr>
          <a:xfrm>
            <a:off x="4359248" y="4707433"/>
            <a:ext cx="436569" cy="419720"/>
            <a:chOff x="2511970" y="2806214"/>
            <a:chExt cx="2598626" cy="2498332"/>
          </a:xfrm>
        </p:grpSpPr>
        <p:grpSp>
          <p:nvGrpSpPr>
            <p:cNvPr id="835" name="Google Shape;18115;p1604">
              <a:extLst>
                <a:ext uri="{FF2B5EF4-FFF2-40B4-BE49-F238E27FC236}">
                  <a16:creationId xmlns:a16="http://schemas.microsoft.com/office/drawing/2014/main" id="{AAE96564-BE15-4D2F-B2C3-4F9AF22DE028}"/>
                </a:ext>
              </a:extLst>
            </p:cNvPr>
            <p:cNvGrpSpPr/>
            <p:nvPr/>
          </p:nvGrpSpPr>
          <p:grpSpPr>
            <a:xfrm>
              <a:off x="4214405" y="2806214"/>
              <a:ext cx="346511" cy="346515"/>
              <a:chOff x="1932810" y="1349835"/>
              <a:chExt cx="185335" cy="185337"/>
            </a:xfrm>
            <a:solidFill>
              <a:schemeClr val="tx2"/>
            </a:solidFill>
          </p:grpSpPr>
          <p:sp>
            <p:nvSpPr>
              <p:cNvPr id="858" name="Google Shape;18116;p1604">
                <a:extLst>
                  <a:ext uri="{FF2B5EF4-FFF2-40B4-BE49-F238E27FC236}">
                    <a16:creationId xmlns:a16="http://schemas.microsoft.com/office/drawing/2014/main" id="{82C54F6D-3181-4B81-8D90-4FAB731BBAB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9" name="Google Shape;18117;p1604">
                <a:extLst>
                  <a:ext uri="{FF2B5EF4-FFF2-40B4-BE49-F238E27FC236}">
                    <a16:creationId xmlns:a16="http://schemas.microsoft.com/office/drawing/2014/main" id="{75A433B4-0F7C-47C5-B397-F363143D4EE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36" name="Oval 835">
              <a:extLst>
                <a:ext uri="{FF2B5EF4-FFF2-40B4-BE49-F238E27FC236}">
                  <a16:creationId xmlns:a16="http://schemas.microsoft.com/office/drawing/2014/main" id="{B25D9786-6FE8-4FCD-B0A4-6FF19584EA0C}"/>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837" name="Google Shape;18115;p1604">
              <a:extLst>
                <a:ext uri="{FF2B5EF4-FFF2-40B4-BE49-F238E27FC236}">
                  <a16:creationId xmlns:a16="http://schemas.microsoft.com/office/drawing/2014/main" id="{E7DC9C5F-761F-40E9-930F-DE7219FD6EB2}"/>
                </a:ext>
              </a:extLst>
            </p:cNvPr>
            <p:cNvGrpSpPr/>
            <p:nvPr/>
          </p:nvGrpSpPr>
          <p:grpSpPr>
            <a:xfrm>
              <a:off x="4402332" y="4548551"/>
              <a:ext cx="346511" cy="346515"/>
              <a:chOff x="1932810" y="1349835"/>
              <a:chExt cx="185335" cy="185337"/>
            </a:xfrm>
            <a:solidFill>
              <a:schemeClr val="tx2"/>
            </a:solidFill>
          </p:grpSpPr>
          <p:sp>
            <p:nvSpPr>
              <p:cNvPr id="856" name="Google Shape;18116;p1604">
                <a:extLst>
                  <a:ext uri="{FF2B5EF4-FFF2-40B4-BE49-F238E27FC236}">
                    <a16:creationId xmlns:a16="http://schemas.microsoft.com/office/drawing/2014/main" id="{7DBCBB2E-42FD-4243-8119-2BE4FFD17D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7" name="Google Shape;18117;p1604">
                <a:extLst>
                  <a:ext uri="{FF2B5EF4-FFF2-40B4-BE49-F238E27FC236}">
                    <a16:creationId xmlns:a16="http://schemas.microsoft.com/office/drawing/2014/main" id="{2AABDE3A-20D1-4985-8E8E-C4CE5D0A8A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38" name="Google Shape;18115;p1604">
              <a:extLst>
                <a:ext uri="{FF2B5EF4-FFF2-40B4-BE49-F238E27FC236}">
                  <a16:creationId xmlns:a16="http://schemas.microsoft.com/office/drawing/2014/main" id="{3AB2E15B-221A-4F88-8C4B-116CAB31C1EE}"/>
                </a:ext>
              </a:extLst>
            </p:cNvPr>
            <p:cNvGrpSpPr/>
            <p:nvPr/>
          </p:nvGrpSpPr>
          <p:grpSpPr>
            <a:xfrm>
              <a:off x="3578880" y="4958031"/>
              <a:ext cx="346511" cy="346515"/>
              <a:chOff x="1932810" y="1349835"/>
              <a:chExt cx="185335" cy="185337"/>
            </a:xfrm>
            <a:solidFill>
              <a:schemeClr val="tx2"/>
            </a:solidFill>
          </p:grpSpPr>
          <p:sp>
            <p:nvSpPr>
              <p:cNvPr id="854" name="Google Shape;18116;p1604">
                <a:extLst>
                  <a:ext uri="{FF2B5EF4-FFF2-40B4-BE49-F238E27FC236}">
                    <a16:creationId xmlns:a16="http://schemas.microsoft.com/office/drawing/2014/main" id="{25B3BDF2-0D5B-4CAF-956E-FB71E2E4A47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5" name="Google Shape;18117;p1604">
                <a:extLst>
                  <a:ext uri="{FF2B5EF4-FFF2-40B4-BE49-F238E27FC236}">
                    <a16:creationId xmlns:a16="http://schemas.microsoft.com/office/drawing/2014/main" id="{2C51FF6E-9C5B-4E32-BB79-B1E78F6721C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39" name="Google Shape;18115;p1604">
              <a:extLst>
                <a:ext uri="{FF2B5EF4-FFF2-40B4-BE49-F238E27FC236}">
                  <a16:creationId xmlns:a16="http://schemas.microsoft.com/office/drawing/2014/main" id="{FA14BF82-D77A-4A89-9624-2E5721F8DD1E}"/>
                </a:ext>
              </a:extLst>
            </p:cNvPr>
            <p:cNvGrpSpPr/>
            <p:nvPr/>
          </p:nvGrpSpPr>
          <p:grpSpPr>
            <a:xfrm>
              <a:off x="2511970" y="3644968"/>
              <a:ext cx="346511" cy="346515"/>
              <a:chOff x="1932810" y="1349835"/>
              <a:chExt cx="185335" cy="185337"/>
            </a:xfrm>
            <a:solidFill>
              <a:schemeClr val="tx2"/>
            </a:solidFill>
          </p:grpSpPr>
          <p:sp>
            <p:nvSpPr>
              <p:cNvPr id="852" name="Google Shape;18116;p1604">
                <a:extLst>
                  <a:ext uri="{FF2B5EF4-FFF2-40B4-BE49-F238E27FC236}">
                    <a16:creationId xmlns:a16="http://schemas.microsoft.com/office/drawing/2014/main" id="{4F6E33FA-5643-4A64-9460-32DFF36F91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3" name="Google Shape;18117;p1604">
                <a:extLst>
                  <a:ext uri="{FF2B5EF4-FFF2-40B4-BE49-F238E27FC236}">
                    <a16:creationId xmlns:a16="http://schemas.microsoft.com/office/drawing/2014/main" id="{046231E4-DCFA-4EBF-9104-0D944737ABD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0" name="Google Shape;18115;p1604">
              <a:extLst>
                <a:ext uri="{FF2B5EF4-FFF2-40B4-BE49-F238E27FC236}">
                  <a16:creationId xmlns:a16="http://schemas.microsoft.com/office/drawing/2014/main" id="{62D12CF2-C122-4228-BC96-62E59C095A7E}"/>
                </a:ext>
              </a:extLst>
            </p:cNvPr>
            <p:cNvGrpSpPr/>
            <p:nvPr/>
          </p:nvGrpSpPr>
          <p:grpSpPr>
            <a:xfrm>
              <a:off x="4754363" y="4548551"/>
              <a:ext cx="346511" cy="346515"/>
              <a:chOff x="1932810" y="1349835"/>
              <a:chExt cx="185335" cy="185337"/>
            </a:xfrm>
            <a:solidFill>
              <a:schemeClr val="tx2"/>
            </a:solidFill>
          </p:grpSpPr>
          <p:sp>
            <p:nvSpPr>
              <p:cNvPr id="850" name="Google Shape;18116;p1604">
                <a:extLst>
                  <a:ext uri="{FF2B5EF4-FFF2-40B4-BE49-F238E27FC236}">
                    <a16:creationId xmlns:a16="http://schemas.microsoft.com/office/drawing/2014/main" id="{98C67AE4-D941-4DC3-8FE3-A678AF75A6D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1" name="Google Shape;18117;p1604">
                <a:extLst>
                  <a:ext uri="{FF2B5EF4-FFF2-40B4-BE49-F238E27FC236}">
                    <a16:creationId xmlns:a16="http://schemas.microsoft.com/office/drawing/2014/main" id="{AAC900C5-F740-488C-8437-31F10625CFF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1" name="Google Shape;18115;p1604">
              <a:extLst>
                <a:ext uri="{FF2B5EF4-FFF2-40B4-BE49-F238E27FC236}">
                  <a16:creationId xmlns:a16="http://schemas.microsoft.com/office/drawing/2014/main" id="{B5345D6E-0E62-43A8-9333-00227569961B}"/>
                </a:ext>
              </a:extLst>
            </p:cNvPr>
            <p:cNvGrpSpPr/>
            <p:nvPr/>
          </p:nvGrpSpPr>
          <p:grpSpPr>
            <a:xfrm>
              <a:off x="2644688" y="4493428"/>
              <a:ext cx="346511" cy="346515"/>
              <a:chOff x="1932810" y="1349835"/>
              <a:chExt cx="185335" cy="185337"/>
            </a:xfrm>
            <a:solidFill>
              <a:schemeClr val="tx2"/>
            </a:solidFill>
          </p:grpSpPr>
          <p:sp>
            <p:nvSpPr>
              <p:cNvPr id="848" name="Google Shape;18116;p1604">
                <a:extLst>
                  <a:ext uri="{FF2B5EF4-FFF2-40B4-BE49-F238E27FC236}">
                    <a16:creationId xmlns:a16="http://schemas.microsoft.com/office/drawing/2014/main" id="{F3F10761-5BD1-4757-97D9-C157C1DE421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9" name="Google Shape;18117;p1604">
                <a:extLst>
                  <a:ext uri="{FF2B5EF4-FFF2-40B4-BE49-F238E27FC236}">
                    <a16:creationId xmlns:a16="http://schemas.microsoft.com/office/drawing/2014/main" id="{113B0529-E520-418E-A745-EF2002E1AFC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2" name="Google Shape;18115;p1604">
              <a:extLst>
                <a:ext uri="{FF2B5EF4-FFF2-40B4-BE49-F238E27FC236}">
                  <a16:creationId xmlns:a16="http://schemas.microsoft.com/office/drawing/2014/main" id="{F21164B8-3192-41BA-B3E0-68E4ECEACC55}"/>
                </a:ext>
              </a:extLst>
            </p:cNvPr>
            <p:cNvGrpSpPr/>
            <p:nvPr/>
          </p:nvGrpSpPr>
          <p:grpSpPr>
            <a:xfrm>
              <a:off x="4764085" y="3612568"/>
              <a:ext cx="346511" cy="346515"/>
              <a:chOff x="1932810" y="1349835"/>
              <a:chExt cx="185335" cy="185337"/>
            </a:xfrm>
            <a:solidFill>
              <a:schemeClr val="tx2"/>
            </a:solidFill>
          </p:grpSpPr>
          <p:sp>
            <p:nvSpPr>
              <p:cNvPr id="846" name="Google Shape;18116;p1604">
                <a:extLst>
                  <a:ext uri="{FF2B5EF4-FFF2-40B4-BE49-F238E27FC236}">
                    <a16:creationId xmlns:a16="http://schemas.microsoft.com/office/drawing/2014/main" id="{A5FA9444-7409-49A0-A4E8-B92D1683F6A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7" name="Google Shape;18117;p1604">
                <a:extLst>
                  <a:ext uri="{FF2B5EF4-FFF2-40B4-BE49-F238E27FC236}">
                    <a16:creationId xmlns:a16="http://schemas.microsoft.com/office/drawing/2014/main" id="{9FC9AF67-DA43-483D-B605-4E5A3CEEDE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3" name="Google Shape;18115;p1604">
              <a:extLst>
                <a:ext uri="{FF2B5EF4-FFF2-40B4-BE49-F238E27FC236}">
                  <a16:creationId xmlns:a16="http://schemas.microsoft.com/office/drawing/2014/main" id="{17EE8656-D150-42C0-A655-762FE478A054}"/>
                </a:ext>
              </a:extLst>
            </p:cNvPr>
            <p:cNvGrpSpPr/>
            <p:nvPr/>
          </p:nvGrpSpPr>
          <p:grpSpPr>
            <a:xfrm>
              <a:off x="3091300" y="2809102"/>
              <a:ext cx="346511" cy="346515"/>
              <a:chOff x="1932810" y="1349835"/>
              <a:chExt cx="185335" cy="185337"/>
            </a:xfrm>
            <a:solidFill>
              <a:schemeClr val="tx2"/>
            </a:solidFill>
          </p:grpSpPr>
          <p:sp>
            <p:nvSpPr>
              <p:cNvPr id="844" name="Google Shape;18116;p1604">
                <a:extLst>
                  <a:ext uri="{FF2B5EF4-FFF2-40B4-BE49-F238E27FC236}">
                    <a16:creationId xmlns:a16="http://schemas.microsoft.com/office/drawing/2014/main" id="{15224410-7C93-4AB8-89AE-310DFA49F76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5" name="Google Shape;18117;p1604">
                <a:extLst>
                  <a:ext uri="{FF2B5EF4-FFF2-40B4-BE49-F238E27FC236}">
                    <a16:creationId xmlns:a16="http://schemas.microsoft.com/office/drawing/2014/main" id="{0793ACB6-CBB6-402B-9FDB-C5F0F88C1ED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860" name="Group 859">
            <a:extLst>
              <a:ext uri="{FF2B5EF4-FFF2-40B4-BE49-F238E27FC236}">
                <a16:creationId xmlns:a16="http://schemas.microsoft.com/office/drawing/2014/main" id="{51AF2B72-D633-4B92-9E39-6ADFBC85898B}"/>
              </a:ext>
            </a:extLst>
          </p:cNvPr>
          <p:cNvGrpSpPr>
            <a:grpSpLocks/>
          </p:cNvGrpSpPr>
          <p:nvPr/>
        </p:nvGrpSpPr>
        <p:grpSpPr>
          <a:xfrm>
            <a:off x="4752296" y="4462045"/>
            <a:ext cx="436569" cy="419720"/>
            <a:chOff x="2511970" y="2806214"/>
            <a:chExt cx="2598626" cy="2498332"/>
          </a:xfrm>
        </p:grpSpPr>
        <p:grpSp>
          <p:nvGrpSpPr>
            <p:cNvPr id="861" name="Google Shape;18115;p1604">
              <a:extLst>
                <a:ext uri="{FF2B5EF4-FFF2-40B4-BE49-F238E27FC236}">
                  <a16:creationId xmlns:a16="http://schemas.microsoft.com/office/drawing/2014/main" id="{D45363AD-6869-414A-88FF-3759DE6A3456}"/>
                </a:ext>
              </a:extLst>
            </p:cNvPr>
            <p:cNvGrpSpPr/>
            <p:nvPr/>
          </p:nvGrpSpPr>
          <p:grpSpPr>
            <a:xfrm>
              <a:off x="4214405" y="2806214"/>
              <a:ext cx="346511" cy="346515"/>
              <a:chOff x="1932810" y="1349835"/>
              <a:chExt cx="185335" cy="185337"/>
            </a:xfrm>
            <a:solidFill>
              <a:schemeClr val="tx2"/>
            </a:solidFill>
          </p:grpSpPr>
          <p:sp>
            <p:nvSpPr>
              <p:cNvPr id="884" name="Google Shape;18116;p1604">
                <a:extLst>
                  <a:ext uri="{FF2B5EF4-FFF2-40B4-BE49-F238E27FC236}">
                    <a16:creationId xmlns:a16="http://schemas.microsoft.com/office/drawing/2014/main" id="{CEB32CE6-2111-4087-B24B-C5A5C64CC2B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5" name="Google Shape;18117;p1604">
                <a:extLst>
                  <a:ext uri="{FF2B5EF4-FFF2-40B4-BE49-F238E27FC236}">
                    <a16:creationId xmlns:a16="http://schemas.microsoft.com/office/drawing/2014/main" id="{44654C89-6028-4C85-94BF-DE4766D3503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62" name="Oval 861">
              <a:extLst>
                <a:ext uri="{FF2B5EF4-FFF2-40B4-BE49-F238E27FC236}">
                  <a16:creationId xmlns:a16="http://schemas.microsoft.com/office/drawing/2014/main" id="{B54F42B0-BCE7-4B55-89BF-A64C5668D8AD}"/>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863" name="Google Shape;18115;p1604">
              <a:extLst>
                <a:ext uri="{FF2B5EF4-FFF2-40B4-BE49-F238E27FC236}">
                  <a16:creationId xmlns:a16="http://schemas.microsoft.com/office/drawing/2014/main" id="{DE4D0DE9-2842-4314-BA44-32CFF1D9CEDE}"/>
                </a:ext>
              </a:extLst>
            </p:cNvPr>
            <p:cNvGrpSpPr/>
            <p:nvPr/>
          </p:nvGrpSpPr>
          <p:grpSpPr>
            <a:xfrm>
              <a:off x="4402332" y="4548551"/>
              <a:ext cx="346511" cy="346515"/>
              <a:chOff x="1932810" y="1349835"/>
              <a:chExt cx="185335" cy="185337"/>
            </a:xfrm>
            <a:solidFill>
              <a:schemeClr val="tx2"/>
            </a:solidFill>
          </p:grpSpPr>
          <p:sp>
            <p:nvSpPr>
              <p:cNvPr id="882" name="Google Shape;18116;p1604">
                <a:extLst>
                  <a:ext uri="{FF2B5EF4-FFF2-40B4-BE49-F238E27FC236}">
                    <a16:creationId xmlns:a16="http://schemas.microsoft.com/office/drawing/2014/main" id="{CC612F1B-55C1-43EB-B7F7-0F5EA7E1DC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3" name="Google Shape;18117;p1604">
                <a:extLst>
                  <a:ext uri="{FF2B5EF4-FFF2-40B4-BE49-F238E27FC236}">
                    <a16:creationId xmlns:a16="http://schemas.microsoft.com/office/drawing/2014/main" id="{B084ED9F-5837-4148-B16E-1793A86CB1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4" name="Google Shape;18115;p1604">
              <a:extLst>
                <a:ext uri="{FF2B5EF4-FFF2-40B4-BE49-F238E27FC236}">
                  <a16:creationId xmlns:a16="http://schemas.microsoft.com/office/drawing/2014/main" id="{3A444B9C-1AD8-414D-B1B1-26E10B0AF181}"/>
                </a:ext>
              </a:extLst>
            </p:cNvPr>
            <p:cNvGrpSpPr/>
            <p:nvPr/>
          </p:nvGrpSpPr>
          <p:grpSpPr>
            <a:xfrm>
              <a:off x="3578880" y="4958031"/>
              <a:ext cx="346511" cy="346515"/>
              <a:chOff x="1932810" y="1349835"/>
              <a:chExt cx="185335" cy="185337"/>
            </a:xfrm>
            <a:solidFill>
              <a:schemeClr val="tx2"/>
            </a:solidFill>
          </p:grpSpPr>
          <p:sp>
            <p:nvSpPr>
              <p:cNvPr id="880" name="Google Shape;18116;p1604">
                <a:extLst>
                  <a:ext uri="{FF2B5EF4-FFF2-40B4-BE49-F238E27FC236}">
                    <a16:creationId xmlns:a16="http://schemas.microsoft.com/office/drawing/2014/main" id="{07822770-CFF8-4FBB-B635-348BFF5BC5B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1" name="Google Shape;18117;p1604">
                <a:extLst>
                  <a:ext uri="{FF2B5EF4-FFF2-40B4-BE49-F238E27FC236}">
                    <a16:creationId xmlns:a16="http://schemas.microsoft.com/office/drawing/2014/main" id="{16BC71E3-9C95-4165-983E-3F9E51C343B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5" name="Google Shape;18115;p1604">
              <a:extLst>
                <a:ext uri="{FF2B5EF4-FFF2-40B4-BE49-F238E27FC236}">
                  <a16:creationId xmlns:a16="http://schemas.microsoft.com/office/drawing/2014/main" id="{A40712B0-1618-4A86-A77E-176CFD90F213}"/>
                </a:ext>
              </a:extLst>
            </p:cNvPr>
            <p:cNvGrpSpPr/>
            <p:nvPr/>
          </p:nvGrpSpPr>
          <p:grpSpPr>
            <a:xfrm>
              <a:off x="2511970" y="3644968"/>
              <a:ext cx="346511" cy="346515"/>
              <a:chOff x="1932810" y="1349835"/>
              <a:chExt cx="185335" cy="185337"/>
            </a:xfrm>
            <a:solidFill>
              <a:schemeClr val="tx2"/>
            </a:solidFill>
          </p:grpSpPr>
          <p:sp>
            <p:nvSpPr>
              <p:cNvPr id="878" name="Google Shape;18116;p1604">
                <a:extLst>
                  <a:ext uri="{FF2B5EF4-FFF2-40B4-BE49-F238E27FC236}">
                    <a16:creationId xmlns:a16="http://schemas.microsoft.com/office/drawing/2014/main" id="{76EF65B6-229D-46C5-B8B7-713A5369406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9" name="Google Shape;18117;p1604">
                <a:extLst>
                  <a:ext uri="{FF2B5EF4-FFF2-40B4-BE49-F238E27FC236}">
                    <a16:creationId xmlns:a16="http://schemas.microsoft.com/office/drawing/2014/main" id="{19881F42-E040-4202-8F97-3C1194D60F0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6" name="Google Shape;18115;p1604">
              <a:extLst>
                <a:ext uri="{FF2B5EF4-FFF2-40B4-BE49-F238E27FC236}">
                  <a16:creationId xmlns:a16="http://schemas.microsoft.com/office/drawing/2014/main" id="{DBD5ABB6-F87B-413A-9ACE-39E2F88F3823}"/>
                </a:ext>
              </a:extLst>
            </p:cNvPr>
            <p:cNvGrpSpPr/>
            <p:nvPr/>
          </p:nvGrpSpPr>
          <p:grpSpPr>
            <a:xfrm>
              <a:off x="4754363" y="4548551"/>
              <a:ext cx="346511" cy="346515"/>
              <a:chOff x="1932810" y="1349835"/>
              <a:chExt cx="185335" cy="185337"/>
            </a:xfrm>
            <a:solidFill>
              <a:schemeClr val="tx2"/>
            </a:solidFill>
          </p:grpSpPr>
          <p:sp>
            <p:nvSpPr>
              <p:cNvPr id="876" name="Google Shape;18116;p1604">
                <a:extLst>
                  <a:ext uri="{FF2B5EF4-FFF2-40B4-BE49-F238E27FC236}">
                    <a16:creationId xmlns:a16="http://schemas.microsoft.com/office/drawing/2014/main" id="{4926007C-C8E8-48E4-9C35-0E764359D07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7" name="Google Shape;18117;p1604">
                <a:extLst>
                  <a:ext uri="{FF2B5EF4-FFF2-40B4-BE49-F238E27FC236}">
                    <a16:creationId xmlns:a16="http://schemas.microsoft.com/office/drawing/2014/main" id="{C5B0F743-14B0-4750-8AAE-0C308EA1AE7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7" name="Google Shape;18115;p1604">
              <a:extLst>
                <a:ext uri="{FF2B5EF4-FFF2-40B4-BE49-F238E27FC236}">
                  <a16:creationId xmlns:a16="http://schemas.microsoft.com/office/drawing/2014/main" id="{D05F9FBE-E287-41FF-B313-22BDCE4D5DBE}"/>
                </a:ext>
              </a:extLst>
            </p:cNvPr>
            <p:cNvGrpSpPr/>
            <p:nvPr/>
          </p:nvGrpSpPr>
          <p:grpSpPr>
            <a:xfrm>
              <a:off x="2644688" y="4493428"/>
              <a:ext cx="346511" cy="346515"/>
              <a:chOff x="1932810" y="1349835"/>
              <a:chExt cx="185335" cy="185337"/>
            </a:xfrm>
            <a:solidFill>
              <a:schemeClr val="tx2"/>
            </a:solidFill>
          </p:grpSpPr>
          <p:sp>
            <p:nvSpPr>
              <p:cNvPr id="874" name="Google Shape;18116;p1604">
                <a:extLst>
                  <a:ext uri="{FF2B5EF4-FFF2-40B4-BE49-F238E27FC236}">
                    <a16:creationId xmlns:a16="http://schemas.microsoft.com/office/drawing/2014/main" id="{FF97D2B9-2376-4FEA-A5A8-2B92AC010CF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5" name="Google Shape;18117;p1604">
                <a:extLst>
                  <a:ext uri="{FF2B5EF4-FFF2-40B4-BE49-F238E27FC236}">
                    <a16:creationId xmlns:a16="http://schemas.microsoft.com/office/drawing/2014/main" id="{DF5D791C-D4A2-48F8-828B-71F5D3F8788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8" name="Google Shape;18115;p1604">
              <a:extLst>
                <a:ext uri="{FF2B5EF4-FFF2-40B4-BE49-F238E27FC236}">
                  <a16:creationId xmlns:a16="http://schemas.microsoft.com/office/drawing/2014/main" id="{EF110094-CF1E-439B-93DB-7FF878204E27}"/>
                </a:ext>
              </a:extLst>
            </p:cNvPr>
            <p:cNvGrpSpPr/>
            <p:nvPr/>
          </p:nvGrpSpPr>
          <p:grpSpPr>
            <a:xfrm>
              <a:off x="4764085" y="3612568"/>
              <a:ext cx="346511" cy="346515"/>
              <a:chOff x="1932810" y="1349835"/>
              <a:chExt cx="185335" cy="185337"/>
            </a:xfrm>
            <a:solidFill>
              <a:schemeClr val="tx2"/>
            </a:solidFill>
          </p:grpSpPr>
          <p:sp>
            <p:nvSpPr>
              <p:cNvPr id="872" name="Google Shape;18116;p1604">
                <a:extLst>
                  <a:ext uri="{FF2B5EF4-FFF2-40B4-BE49-F238E27FC236}">
                    <a16:creationId xmlns:a16="http://schemas.microsoft.com/office/drawing/2014/main" id="{8A8D5288-D10B-4278-BB20-99FE283218F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3" name="Google Shape;18117;p1604">
                <a:extLst>
                  <a:ext uri="{FF2B5EF4-FFF2-40B4-BE49-F238E27FC236}">
                    <a16:creationId xmlns:a16="http://schemas.microsoft.com/office/drawing/2014/main" id="{DFBC8049-1305-4715-A54B-470A4B9F174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9" name="Google Shape;18115;p1604">
              <a:extLst>
                <a:ext uri="{FF2B5EF4-FFF2-40B4-BE49-F238E27FC236}">
                  <a16:creationId xmlns:a16="http://schemas.microsoft.com/office/drawing/2014/main" id="{F6ECE79D-4634-4F20-8E27-AB60E5BE32DD}"/>
                </a:ext>
              </a:extLst>
            </p:cNvPr>
            <p:cNvGrpSpPr/>
            <p:nvPr/>
          </p:nvGrpSpPr>
          <p:grpSpPr>
            <a:xfrm>
              <a:off x="3091300" y="2809102"/>
              <a:ext cx="346511" cy="346515"/>
              <a:chOff x="1932810" y="1349835"/>
              <a:chExt cx="185335" cy="185337"/>
            </a:xfrm>
            <a:solidFill>
              <a:schemeClr val="tx2"/>
            </a:solidFill>
          </p:grpSpPr>
          <p:sp>
            <p:nvSpPr>
              <p:cNvPr id="870" name="Google Shape;18116;p1604">
                <a:extLst>
                  <a:ext uri="{FF2B5EF4-FFF2-40B4-BE49-F238E27FC236}">
                    <a16:creationId xmlns:a16="http://schemas.microsoft.com/office/drawing/2014/main" id="{B674E06F-673B-41B8-B562-F4C792D8A71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1" name="Google Shape;18117;p1604">
                <a:extLst>
                  <a:ext uri="{FF2B5EF4-FFF2-40B4-BE49-F238E27FC236}">
                    <a16:creationId xmlns:a16="http://schemas.microsoft.com/office/drawing/2014/main" id="{99B91B5C-8ABE-4C57-A962-E38D0B93AF6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886" name="Group 885">
            <a:extLst>
              <a:ext uri="{FF2B5EF4-FFF2-40B4-BE49-F238E27FC236}">
                <a16:creationId xmlns:a16="http://schemas.microsoft.com/office/drawing/2014/main" id="{A4773DCC-EA23-44D6-B734-2DA3564B9587}"/>
              </a:ext>
            </a:extLst>
          </p:cNvPr>
          <p:cNvGrpSpPr>
            <a:grpSpLocks/>
          </p:cNvGrpSpPr>
          <p:nvPr/>
        </p:nvGrpSpPr>
        <p:grpSpPr>
          <a:xfrm>
            <a:off x="4752296" y="4889283"/>
            <a:ext cx="436569" cy="419720"/>
            <a:chOff x="2511970" y="2806214"/>
            <a:chExt cx="2598626" cy="2498332"/>
          </a:xfrm>
        </p:grpSpPr>
        <p:grpSp>
          <p:nvGrpSpPr>
            <p:cNvPr id="887" name="Google Shape;18115;p1604">
              <a:extLst>
                <a:ext uri="{FF2B5EF4-FFF2-40B4-BE49-F238E27FC236}">
                  <a16:creationId xmlns:a16="http://schemas.microsoft.com/office/drawing/2014/main" id="{55420F45-15CC-48A8-9ACE-8A3030457170}"/>
                </a:ext>
              </a:extLst>
            </p:cNvPr>
            <p:cNvGrpSpPr/>
            <p:nvPr/>
          </p:nvGrpSpPr>
          <p:grpSpPr>
            <a:xfrm>
              <a:off x="4214405" y="2806214"/>
              <a:ext cx="346511" cy="346515"/>
              <a:chOff x="1932810" y="1349835"/>
              <a:chExt cx="185335" cy="185337"/>
            </a:xfrm>
            <a:solidFill>
              <a:schemeClr val="tx2"/>
            </a:solidFill>
          </p:grpSpPr>
          <p:sp>
            <p:nvSpPr>
              <p:cNvPr id="910" name="Google Shape;18116;p1604">
                <a:extLst>
                  <a:ext uri="{FF2B5EF4-FFF2-40B4-BE49-F238E27FC236}">
                    <a16:creationId xmlns:a16="http://schemas.microsoft.com/office/drawing/2014/main" id="{0DE50576-C2BD-48CC-B848-ABB29D9B632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11" name="Google Shape;18117;p1604">
                <a:extLst>
                  <a:ext uri="{FF2B5EF4-FFF2-40B4-BE49-F238E27FC236}">
                    <a16:creationId xmlns:a16="http://schemas.microsoft.com/office/drawing/2014/main" id="{81B9057D-0C5E-4C9E-AFBE-DA4F11F17FF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88" name="Oval 887">
              <a:extLst>
                <a:ext uri="{FF2B5EF4-FFF2-40B4-BE49-F238E27FC236}">
                  <a16:creationId xmlns:a16="http://schemas.microsoft.com/office/drawing/2014/main" id="{7F4239C6-60C7-4857-8C83-55C92FC6D1B4}"/>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889" name="Google Shape;18115;p1604">
              <a:extLst>
                <a:ext uri="{FF2B5EF4-FFF2-40B4-BE49-F238E27FC236}">
                  <a16:creationId xmlns:a16="http://schemas.microsoft.com/office/drawing/2014/main" id="{05F4B052-BC00-4272-9FFB-6E6ABFA325E9}"/>
                </a:ext>
              </a:extLst>
            </p:cNvPr>
            <p:cNvGrpSpPr/>
            <p:nvPr/>
          </p:nvGrpSpPr>
          <p:grpSpPr>
            <a:xfrm>
              <a:off x="4402332" y="4548551"/>
              <a:ext cx="346511" cy="346515"/>
              <a:chOff x="1932810" y="1349835"/>
              <a:chExt cx="185335" cy="185337"/>
            </a:xfrm>
            <a:solidFill>
              <a:schemeClr val="tx2"/>
            </a:solidFill>
          </p:grpSpPr>
          <p:sp>
            <p:nvSpPr>
              <p:cNvPr id="908" name="Google Shape;18116;p1604">
                <a:extLst>
                  <a:ext uri="{FF2B5EF4-FFF2-40B4-BE49-F238E27FC236}">
                    <a16:creationId xmlns:a16="http://schemas.microsoft.com/office/drawing/2014/main" id="{3129C4D6-AB38-41AF-8973-07345A8910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9" name="Google Shape;18117;p1604">
                <a:extLst>
                  <a:ext uri="{FF2B5EF4-FFF2-40B4-BE49-F238E27FC236}">
                    <a16:creationId xmlns:a16="http://schemas.microsoft.com/office/drawing/2014/main" id="{248B6D1F-9C61-4696-9CEF-2FA9B3E097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0" name="Google Shape;18115;p1604">
              <a:extLst>
                <a:ext uri="{FF2B5EF4-FFF2-40B4-BE49-F238E27FC236}">
                  <a16:creationId xmlns:a16="http://schemas.microsoft.com/office/drawing/2014/main" id="{F6E12000-D507-48E6-9458-91A0A064057B}"/>
                </a:ext>
              </a:extLst>
            </p:cNvPr>
            <p:cNvGrpSpPr/>
            <p:nvPr/>
          </p:nvGrpSpPr>
          <p:grpSpPr>
            <a:xfrm>
              <a:off x="3578880" y="4958031"/>
              <a:ext cx="346511" cy="346515"/>
              <a:chOff x="1932810" y="1349835"/>
              <a:chExt cx="185335" cy="185337"/>
            </a:xfrm>
            <a:solidFill>
              <a:schemeClr val="tx2"/>
            </a:solidFill>
          </p:grpSpPr>
          <p:sp>
            <p:nvSpPr>
              <p:cNvPr id="906" name="Google Shape;18116;p1604">
                <a:extLst>
                  <a:ext uri="{FF2B5EF4-FFF2-40B4-BE49-F238E27FC236}">
                    <a16:creationId xmlns:a16="http://schemas.microsoft.com/office/drawing/2014/main" id="{D052D570-1A2A-4211-81C7-1965902422D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7" name="Google Shape;18117;p1604">
                <a:extLst>
                  <a:ext uri="{FF2B5EF4-FFF2-40B4-BE49-F238E27FC236}">
                    <a16:creationId xmlns:a16="http://schemas.microsoft.com/office/drawing/2014/main" id="{9AED4EAD-258D-45D0-8D2B-133EEBA88BB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1" name="Google Shape;18115;p1604">
              <a:extLst>
                <a:ext uri="{FF2B5EF4-FFF2-40B4-BE49-F238E27FC236}">
                  <a16:creationId xmlns:a16="http://schemas.microsoft.com/office/drawing/2014/main" id="{A0FAF904-0A34-42F0-95C8-5903A56C8248}"/>
                </a:ext>
              </a:extLst>
            </p:cNvPr>
            <p:cNvGrpSpPr/>
            <p:nvPr/>
          </p:nvGrpSpPr>
          <p:grpSpPr>
            <a:xfrm>
              <a:off x="2511970" y="3644968"/>
              <a:ext cx="346511" cy="346515"/>
              <a:chOff x="1932810" y="1349835"/>
              <a:chExt cx="185335" cy="185337"/>
            </a:xfrm>
            <a:solidFill>
              <a:schemeClr val="tx2"/>
            </a:solidFill>
          </p:grpSpPr>
          <p:sp>
            <p:nvSpPr>
              <p:cNvPr id="904" name="Google Shape;18116;p1604">
                <a:extLst>
                  <a:ext uri="{FF2B5EF4-FFF2-40B4-BE49-F238E27FC236}">
                    <a16:creationId xmlns:a16="http://schemas.microsoft.com/office/drawing/2014/main" id="{DF2E8903-396C-4991-902A-ACFB4A50A14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5" name="Google Shape;18117;p1604">
                <a:extLst>
                  <a:ext uri="{FF2B5EF4-FFF2-40B4-BE49-F238E27FC236}">
                    <a16:creationId xmlns:a16="http://schemas.microsoft.com/office/drawing/2014/main" id="{B08B1AAE-7034-4FB5-B696-D3EE23C45E6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2" name="Google Shape;18115;p1604">
              <a:extLst>
                <a:ext uri="{FF2B5EF4-FFF2-40B4-BE49-F238E27FC236}">
                  <a16:creationId xmlns:a16="http://schemas.microsoft.com/office/drawing/2014/main" id="{7A16447D-4638-42A0-AB03-C6C145A3E779}"/>
                </a:ext>
              </a:extLst>
            </p:cNvPr>
            <p:cNvGrpSpPr/>
            <p:nvPr/>
          </p:nvGrpSpPr>
          <p:grpSpPr>
            <a:xfrm>
              <a:off x="4754363" y="4548551"/>
              <a:ext cx="346511" cy="346515"/>
              <a:chOff x="1932810" y="1349835"/>
              <a:chExt cx="185335" cy="185337"/>
            </a:xfrm>
            <a:solidFill>
              <a:schemeClr val="tx2"/>
            </a:solidFill>
          </p:grpSpPr>
          <p:sp>
            <p:nvSpPr>
              <p:cNvPr id="902" name="Google Shape;18116;p1604">
                <a:extLst>
                  <a:ext uri="{FF2B5EF4-FFF2-40B4-BE49-F238E27FC236}">
                    <a16:creationId xmlns:a16="http://schemas.microsoft.com/office/drawing/2014/main" id="{E17633F8-2B29-4E9B-9083-96E79F5E7E9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3" name="Google Shape;18117;p1604">
                <a:extLst>
                  <a:ext uri="{FF2B5EF4-FFF2-40B4-BE49-F238E27FC236}">
                    <a16:creationId xmlns:a16="http://schemas.microsoft.com/office/drawing/2014/main" id="{25920A80-081B-4AF1-BD6B-9D9E813870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3" name="Google Shape;18115;p1604">
              <a:extLst>
                <a:ext uri="{FF2B5EF4-FFF2-40B4-BE49-F238E27FC236}">
                  <a16:creationId xmlns:a16="http://schemas.microsoft.com/office/drawing/2014/main" id="{9A1B98AB-937F-4770-8B5E-FAAD302CDB72}"/>
                </a:ext>
              </a:extLst>
            </p:cNvPr>
            <p:cNvGrpSpPr/>
            <p:nvPr/>
          </p:nvGrpSpPr>
          <p:grpSpPr>
            <a:xfrm>
              <a:off x="2644688" y="4493428"/>
              <a:ext cx="346511" cy="346515"/>
              <a:chOff x="1932810" y="1349835"/>
              <a:chExt cx="185335" cy="185337"/>
            </a:xfrm>
            <a:solidFill>
              <a:schemeClr val="tx2"/>
            </a:solidFill>
          </p:grpSpPr>
          <p:sp>
            <p:nvSpPr>
              <p:cNvPr id="900" name="Google Shape;18116;p1604">
                <a:extLst>
                  <a:ext uri="{FF2B5EF4-FFF2-40B4-BE49-F238E27FC236}">
                    <a16:creationId xmlns:a16="http://schemas.microsoft.com/office/drawing/2014/main" id="{73561998-9456-4B79-84C9-47F41BAF657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01" name="Google Shape;18117;p1604">
                <a:extLst>
                  <a:ext uri="{FF2B5EF4-FFF2-40B4-BE49-F238E27FC236}">
                    <a16:creationId xmlns:a16="http://schemas.microsoft.com/office/drawing/2014/main" id="{086A3BBF-6432-47EE-BF45-872461640B8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4" name="Google Shape;18115;p1604">
              <a:extLst>
                <a:ext uri="{FF2B5EF4-FFF2-40B4-BE49-F238E27FC236}">
                  <a16:creationId xmlns:a16="http://schemas.microsoft.com/office/drawing/2014/main" id="{5C5E4F3B-7E93-46D9-8567-6E3982460EEC}"/>
                </a:ext>
              </a:extLst>
            </p:cNvPr>
            <p:cNvGrpSpPr/>
            <p:nvPr/>
          </p:nvGrpSpPr>
          <p:grpSpPr>
            <a:xfrm>
              <a:off x="4764085" y="3612568"/>
              <a:ext cx="346511" cy="346515"/>
              <a:chOff x="1932810" y="1349835"/>
              <a:chExt cx="185335" cy="185337"/>
            </a:xfrm>
            <a:solidFill>
              <a:schemeClr val="tx2"/>
            </a:solidFill>
          </p:grpSpPr>
          <p:sp>
            <p:nvSpPr>
              <p:cNvPr id="898" name="Google Shape;18116;p1604">
                <a:extLst>
                  <a:ext uri="{FF2B5EF4-FFF2-40B4-BE49-F238E27FC236}">
                    <a16:creationId xmlns:a16="http://schemas.microsoft.com/office/drawing/2014/main" id="{29395DF7-8207-4FE0-9F52-6F98C32D12A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99" name="Google Shape;18117;p1604">
                <a:extLst>
                  <a:ext uri="{FF2B5EF4-FFF2-40B4-BE49-F238E27FC236}">
                    <a16:creationId xmlns:a16="http://schemas.microsoft.com/office/drawing/2014/main" id="{E5377F8D-F86F-4128-9CD1-05B9F1DC87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95" name="Google Shape;18115;p1604">
              <a:extLst>
                <a:ext uri="{FF2B5EF4-FFF2-40B4-BE49-F238E27FC236}">
                  <a16:creationId xmlns:a16="http://schemas.microsoft.com/office/drawing/2014/main" id="{8FF6F6D9-291D-4FF1-B643-EE35D08DF740}"/>
                </a:ext>
              </a:extLst>
            </p:cNvPr>
            <p:cNvGrpSpPr/>
            <p:nvPr/>
          </p:nvGrpSpPr>
          <p:grpSpPr>
            <a:xfrm>
              <a:off x="3091300" y="2809102"/>
              <a:ext cx="346511" cy="346515"/>
              <a:chOff x="1932810" y="1349835"/>
              <a:chExt cx="185335" cy="185337"/>
            </a:xfrm>
            <a:solidFill>
              <a:schemeClr val="tx2"/>
            </a:solidFill>
          </p:grpSpPr>
          <p:sp>
            <p:nvSpPr>
              <p:cNvPr id="896" name="Google Shape;18116;p1604">
                <a:extLst>
                  <a:ext uri="{FF2B5EF4-FFF2-40B4-BE49-F238E27FC236}">
                    <a16:creationId xmlns:a16="http://schemas.microsoft.com/office/drawing/2014/main" id="{643B08D0-FAB5-4719-AD3B-997152AF671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97" name="Google Shape;18117;p1604">
                <a:extLst>
                  <a:ext uri="{FF2B5EF4-FFF2-40B4-BE49-F238E27FC236}">
                    <a16:creationId xmlns:a16="http://schemas.microsoft.com/office/drawing/2014/main" id="{F488D0C8-C4E2-4DF8-B95B-14E1CF5C446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912" name="Google Shape;18115;p1604">
            <a:extLst>
              <a:ext uri="{FF2B5EF4-FFF2-40B4-BE49-F238E27FC236}">
                <a16:creationId xmlns:a16="http://schemas.microsoft.com/office/drawing/2014/main" id="{C18EB94B-4E89-4BF4-9DE5-753E9437C622}"/>
              </a:ext>
            </a:extLst>
          </p:cNvPr>
          <p:cNvGrpSpPr/>
          <p:nvPr/>
        </p:nvGrpSpPr>
        <p:grpSpPr>
          <a:xfrm>
            <a:off x="4473208" y="4053827"/>
            <a:ext cx="193423" cy="193425"/>
            <a:chOff x="1932810" y="1349835"/>
            <a:chExt cx="185335" cy="185337"/>
          </a:xfrm>
          <a:solidFill>
            <a:schemeClr val="tx2"/>
          </a:solidFill>
        </p:grpSpPr>
        <p:sp>
          <p:nvSpPr>
            <p:cNvPr id="913" name="Google Shape;18116;p1604">
              <a:extLst>
                <a:ext uri="{FF2B5EF4-FFF2-40B4-BE49-F238E27FC236}">
                  <a16:creationId xmlns:a16="http://schemas.microsoft.com/office/drawing/2014/main" id="{D0EA0B34-9F79-44B4-9FA8-6BD5BA1A019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14" name="Google Shape;18117;p1604">
              <a:extLst>
                <a:ext uri="{FF2B5EF4-FFF2-40B4-BE49-F238E27FC236}">
                  <a16:creationId xmlns:a16="http://schemas.microsoft.com/office/drawing/2014/main" id="{39BE4990-4615-4D19-A386-10363B1C188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15" name="Google Shape;18115;p1604">
            <a:extLst>
              <a:ext uri="{FF2B5EF4-FFF2-40B4-BE49-F238E27FC236}">
                <a16:creationId xmlns:a16="http://schemas.microsoft.com/office/drawing/2014/main" id="{D83EF00D-F7A8-41CE-8E4B-0DD448A8BA5D}"/>
              </a:ext>
            </a:extLst>
          </p:cNvPr>
          <p:cNvGrpSpPr/>
          <p:nvPr/>
        </p:nvGrpSpPr>
        <p:grpSpPr>
          <a:xfrm>
            <a:off x="4866149" y="4053827"/>
            <a:ext cx="193423" cy="193425"/>
            <a:chOff x="1932810" y="1349835"/>
            <a:chExt cx="185335" cy="185337"/>
          </a:xfrm>
          <a:solidFill>
            <a:schemeClr val="tx2"/>
          </a:solidFill>
        </p:grpSpPr>
        <p:sp>
          <p:nvSpPr>
            <p:cNvPr id="916" name="Google Shape;18116;p1604">
              <a:extLst>
                <a:ext uri="{FF2B5EF4-FFF2-40B4-BE49-F238E27FC236}">
                  <a16:creationId xmlns:a16="http://schemas.microsoft.com/office/drawing/2014/main" id="{6490BF33-6C3A-4AE6-A5BC-92D28890916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17" name="Google Shape;18117;p1604">
              <a:extLst>
                <a:ext uri="{FF2B5EF4-FFF2-40B4-BE49-F238E27FC236}">
                  <a16:creationId xmlns:a16="http://schemas.microsoft.com/office/drawing/2014/main" id="{9C113E5C-929A-45AC-8B56-18DD8FAB66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918" name="Rectangle 917">
            <a:extLst>
              <a:ext uri="{FF2B5EF4-FFF2-40B4-BE49-F238E27FC236}">
                <a16:creationId xmlns:a16="http://schemas.microsoft.com/office/drawing/2014/main" id="{606E17B3-6644-474E-9455-BE44851D8443}"/>
              </a:ext>
            </a:extLst>
          </p:cNvPr>
          <p:cNvSpPr/>
          <p:nvPr/>
        </p:nvSpPr>
        <p:spPr>
          <a:xfrm>
            <a:off x="4741972" y="376716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PM</a:t>
            </a:r>
          </a:p>
        </p:txBody>
      </p:sp>
      <p:sp>
        <p:nvSpPr>
          <p:cNvPr id="919" name="Rectangle 918">
            <a:extLst>
              <a:ext uri="{FF2B5EF4-FFF2-40B4-BE49-F238E27FC236}">
                <a16:creationId xmlns:a16="http://schemas.microsoft.com/office/drawing/2014/main" id="{8392405E-61FF-4BFD-91B1-38D02831E4F1}"/>
              </a:ext>
            </a:extLst>
          </p:cNvPr>
          <p:cNvSpPr/>
          <p:nvPr/>
        </p:nvSpPr>
        <p:spPr>
          <a:xfrm>
            <a:off x="4281698" y="3767164"/>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920" name="Rectangle 919">
            <a:extLst>
              <a:ext uri="{FF2B5EF4-FFF2-40B4-BE49-F238E27FC236}">
                <a16:creationId xmlns:a16="http://schemas.microsoft.com/office/drawing/2014/main" id="{7AA369CD-83DC-4389-8881-2CA0EAB3C9B1}"/>
              </a:ext>
            </a:extLst>
          </p:cNvPr>
          <p:cNvSpPr/>
          <p:nvPr/>
        </p:nvSpPr>
        <p:spPr>
          <a:xfrm>
            <a:off x="5816822" y="3309168"/>
            <a:ext cx="977139" cy="2000405"/>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a:solidFill>
                  <a:srgbClr val="55555A"/>
                </a:solidFill>
              </a:rPr>
              <a:t>Digital Product D</a:t>
            </a:r>
          </a:p>
        </p:txBody>
      </p:sp>
      <p:grpSp>
        <p:nvGrpSpPr>
          <p:cNvPr id="921" name="Group 920">
            <a:extLst>
              <a:ext uri="{FF2B5EF4-FFF2-40B4-BE49-F238E27FC236}">
                <a16:creationId xmlns:a16="http://schemas.microsoft.com/office/drawing/2014/main" id="{6559F0C4-BF0F-4CE6-AA40-B0396F1154A7}"/>
              </a:ext>
            </a:extLst>
          </p:cNvPr>
          <p:cNvGrpSpPr>
            <a:grpSpLocks/>
          </p:cNvGrpSpPr>
          <p:nvPr/>
        </p:nvGrpSpPr>
        <p:grpSpPr>
          <a:xfrm>
            <a:off x="5886149" y="4707433"/>
            <a:ext cx="436569" cy="419720"/>
            <a:chOff x="2511970" y="2806214"/>
            <a:chExt cx="2598626" cy="2498332"/>
          </a:xfrm>
        </p:grpSpPr>
        <p:grpSp>
          <p:nvGrpSpPr>
            <p:cNvPr id="922" name="Google Shape;18115;p1604">
              <a:extLst>
                <a:ext uri="{FF2B5EF4-FFF2-40B4-BE49-F238E27FC236}">
                  <a16:creationId xmlns:a16="http://schemas.microsoft.com/office/drawing/2014/main" id="{00105914-135C-4E07-8B01-AA983D1A2CE7}"/>
                </a:ext>
              </a:extLst>
            </p:cNvPr>
            <p:cNvGrpSpPr/>
            <p:nvPr/>
          </p:nvGrpSpPr>
          <p:grpSpPr>
            <a:xfrm>
              <a:off x="4214405" y="2806214"/>
              <a:ext cx="346511" cy="346515"/>
              <a:chOff x="1932810" y="1349835"/>
              <a:chExt cx="185335" cy="185337"/>
            </a:xfrm>
            <a:solidFill>
              <a:schemeClr val="tx2"/>
            </a:solidFill>
          </p:grpSpPr>
          <p:sp>
            <p:nvSpPr>
              <p:cNvPr id="945" name="Google Shape;18116;p1604">
                <a:extLst>
                  <a:ext uri="{FF2B5EF4-FFF2-40B4-BE49-F238E27FC236}">
                    <a16:creationId xmlns:a16="http://schemas.microsoft.com/office/drawing/2014/main" id="{E9A0E6AF-8B44-4C95-8345-1D484A26DAB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46" name="Google Shape;18117;p1604">
                <a:extLst>
                  <a:ext uri="{FF2B5EF4-FFF2-40B4-BE49-F238E27FC236}">
                    <a16:creationId xmlns:a16="http://schemas.microsoft.com/office/drawing/2014/main" id="{B85C3630-466C-4186-A314-3A16F6BD10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923" name="Oval 922">
              <a:extLst>
                <a:ext uri="{FF2B5EF4-FFF2-40B4-BE49-F238E27FC236}">
                  <a16:creationId xmlns:a16="http://schemas.microsoft.com/office/drawing/2014/main" id="{F4040D54-B43C-41A9-9609-2A5A0924352C}"/>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4" name="Google Shape;18115;p1604">
              <a:extLst>
                <a:ext uri="{FF2B5EF4-FFF2-40B4-BE49-F238E27FC236}">
                  <a16:creationId xmlns:a16="http://schemas.microsoft.com/office/drawing/2014/main" id="{8DEE3D79-078E-4E92-954F-9091FBA94EC7}"/>
                </a:ext>
              </a:extLst>
            </p:cNvPr>
            <p:cNvGrpSpPr/>
            <p:nvPr/>
          </p:nvGrpSpPr>
          <p:grpSpPr>
            <a:xfrm>
              <a:off x="4402332" y="4548551"/>
              <a:ext cx="346511" cy="346515"/>
              <a:chOff x="1932810" y="1349835"/>
              <a:chExt cx="185335" cy="185337"/>
            </a:xfrm>
            <a:solidFill>
              <a:schemeClr val="tx2"/>
            </a:solidFill>
          </p:grpSpPr>
          <p:sp>
            <p:nvSpPr>
              <p:cNvPr id="943" name="Google Shape;18116;p1604">
                <a:extLst>
                  <a:ext uri="{FF2B5EF4-FFF2-40B4-BE49-F238E27FC236}">
                    <a16:creationId xmlns:a16="http://schemas.microsoft.com/office/drawing/2014/main" id="{72CC96B9-E4D9-4CCE-9FA5-27E4751E9B3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44" name="Google Shape;18117;p1604">
                <a:extLst>
                  <a:ext uri="{FF2B5EF4-FFF2-40B4-BE49-F238E27FC236}">
                    <a16:creationId xmlns:a16="http://schemas.microsoft.com/office/drawing/2014/main" id="{AA9F4170-36A9-4069-99C1-D7CE7801F0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25" name="Google Shape;18115;p1604">
              <a:extLst>
                <a:ext uri="{FF2B5EF4-FFF2-40B4-BE49-F238E27FC236}">
                  <a16:creationId xmlns:a16="http://schemas.microsoft.com/office/drawing/2014/main" id="{28B2A953-17E7-4BA1-8032-8DD884530E0B}"/>
                </a:ext>
              </a:extLst>
            </p:cNvPr>
            <p:cNvGrpSpPr/>
            <p:nvPr/>
          </p:nvGrpSpPr>
          <p:grpSpPr>
            <a:xfrm>
              <a:off x="3578880" y="4958031"/>
              <a:ext cx="346511" cy="346515"/>
              <a:chOff x="1932810" y="1349835"/>
              <a:chExt cx="185335" cy="185337"/>
            </a:xfrm>
            <a:solidFill>
              <a:schemeClr val="tx2"/>
            </a:solidFill>
          </p:grpSpPr>
          <p:sp>
            <p:nvSpPr>
              <p:cNvPr id="941" name="Google Shape;18116;p1604">
                <a:extLst>
                  <a:ext uri="{FF2B5EF4-FFF2-40B4-BE49-F238E27FC236}">
                    <a16:creationId xmlns:a16="http://schemas.microsoft.com/office/drawing/2014/main" id="{238A8C95-7A82-45B8-AAD7-047F87281EE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42" name="Google Shape;18117;p1604">
                <a:extLst>
                  <a:ext uri="{FF2B5EF4-FFF2-40B4-BE49-F238E27FC236}">
                    <a16:creationId xmlns:a16="http://schemas.microsoft.com/office/drawing/2014/main" id="{CF56A6C5-7FAD-444C-9195-CF296FBC1F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26" name="Google Shape;18115;p1604">
              <a:extLst>
                <a:ext uri="{FF2B5EF4-FFF2-40B4-BE49-F238E27FC236}">
                  <a16:creationId xmlns:a16="http://schemas.microsoft.com/office/drawing/2014/main" id="{8BE04EC8-BB7B-4BB5-A1E1-DA33A2FDCACC}"/>
                </a:ext>
              </a:extLst>
            </p:cNvPr>
            <p:cNvGrpSpPr/>
            <p:nvPr/>
          </p:nvGrpSpPr>
          <p:grpSpPr>
            <a:xfrm>
              <a:off x="2511970" y="3644968"/>
              <a:ext cx="346511" cy="346515"/>
              <a:chOff x="1932810" y="1349835"/>
              <a:chExt cx="185335" cy="185337"/>
            </a:xfrm>
            <a:solidFill>
              <a:schemeClr val="tx2"/>
            </a:solidFill>
          </p:grpSpPr>
          <p:sp>
            <p:nvSpPr>
              <p:cNvPr id="939" name="Google Shape;18116;p1604">
                <a:extLst>
                  <a:ext uri="{FF2B5EF4-FFF2-40B4-BE49-F238E27FC236}">
                    <a16:creationId xmlns:a16="http://schemas.microsoft.com/office/drawing/2014/main" id="{E31F8A38-C3F3-4193-9733-EB13EA7318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40" name="Google Shape;18117;p1604">
                <a:extLst>
                  <a:ext uri="{FF2B5EF4-FFF2-40B4-BE49-F238E27FC236}">
                    <a16:creationId xmlns:a16="http://schemas.microsoft.com/office/drawing/2014/main" id="{DC0FD07F-9B8B-40C1-8D4D-3D42ED1B03A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27" name="Google Shape;18115;p1604">
              <a:extLst>
                <a:ext uri="{FF2B5EF4-FFF2-40B4-BE49-F238E27FC236}">
                  <a16:creationId xmlns:a16="http://schemas.microsoft.com/office/drawing/2014/main" id="{4B06053F-A4A6-4299-BFD3-94D2D4C24CB6}"/>
                </a:ext>
              </a:extLst>
            </p:cNvPr>
            <p:cNvGrpSpPr/>
            <p:nvPr/>
          </p:nvGrpSpPr>
          <p:grpSpPr>
            <a:xfrm>
              <a:off x="4754363" y="4548551"/>
              <a:ext cx="346511" cy="346515"/>
              <a:chOff x="1932810" y="1349835"/>
              <a:chExt cx="185335" cy="185337"/>
            </a:xfrm>
            <a:solidFill>
              <a:schemeClr val="tx2"/>
            </a:solidFill>
          </p:grpSpPr>
          <p:sp>
            <p:nvSpPr>
              <p:cNvPr id="937" name="Google Shape;18116;p1604">
                <a:extLst>
                  <a:ext uri="{FF2B5EF4-FFF2-40B4-BE49-F238E27FC236}">
                    <a16:creationId xmlns:a16="http://schemas.microsoft.com/office/drawing/2014/main" id="{7D0BE210-DE42-47C4-B2E6-FBE5B279505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38" name="Google Shape;18117;p1604">
                <a:extLst>
                  <a:ext uri="{FF2B5EF4-FFF2-40B4-BE49-F238E27FC236}">
                    <a16:creationId xmlns:a16="http://schemas.microsoft.com/office/drawing/2014/main" id="{ACECFB97-067A-45B5-993B-0C124E3124D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28" name="Google Shape;18115;p1604">
              <a:extLst>
                <a:ext uri="{FF2B5EF4-FFF2-40B4-BE49-F238E27FC236}">
                  <a16:creationId xmlns:a16="http://schemas.microsoft.com/office/drawing/2014/main" id="{5150EE4A-1FAF-4960-BDC3-A67024565456}"/>
                </a:ext>
              </a:extLst>
            </p:cNvPr>
            <p:cNvGrpSpPr/>
            <p:nvPr/>
          </p:nvGrpSpPr>
          <p:grpSpPr>
            <a:xfrm>
              <a:off x="2644688" y="4493428"/>
              <a:ext cx="346511" cy="346515"/>
              <a:chOff x="1932810" y="1349835"/>
              <a:chExt cx="185335" cy="185337"/>
            </a:xfrm>
            <a:solidFill>
              <a:schemeClr val="tx2"/>
            </a:solidFill>
          </p:grpSpPr>
          <p:sp>
            <p:nvSpPr>
              <p:cNvPr id="935" name="Google Shape;18116;p1604">
                <a:extLst>
                  <a:ext uri="{FF2B5EF4-FFF2-40B4-BE49-F238E27FC236}">
                    <a16:creationId xmlns:a16="http://schemas.microsoft.com/office/drawing/2014/main" id="{78F79972-E3BF-4A0A-940D-7B888F6A4DE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36" name="Google Shape;18117;p1604">
                <a:extLst>
                  <a:ext uri="{FF2B5EF4-FFF2-40B4-BE49-F238E27FC236}">
                    <a16:creationId xmlns:a16="http://schemas.microsoft.com/office/drawing/2014/main" id="{B0CA2877-E7FB-461C-9BEE-799B9FA2A7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29" name="Google Shape;18115;p1604">
              <a:extLst>
                <a:ext uri="{FF2B5EF4-FFF2-40B4-BE49-F238E27FC236}">
                  <a16:creationId xmlns:a16="http://schemas.microsoft.com/office/drawing/2014/main" id="{979729E7-2B9F-49FC-9F0D-F707C0A415CA}"/>
                </a:ext>
              </a:extLst>
            </p:cNvPr>
            <p:cNvGrpSpPr/>
            <p:nvPr/>
          </p:nvGrpSpPr>
          <p:grpSpPr>
            <a:xfrm>
              <a:off x="4764085" y="3612568"/>
              <a:ext cx="346511" cy="346515"/>
              <a:chOff x="1932810" y="1349835"/>
              <a:chExt cx="185335" cy="185337"/>
            </a:xfrm>
            <a:solidFill>
              <a:schemeClr val="tx2"/>
            </a:solidFill>
          </p:grpSpPr>
          <p:sp>
            <p:nvSpPr>
              <p:cNvPr id="933" name="Google Shape;18116;p1604">
                <a:extLst>
                  <a:ext uri="{FF2B5EF4-FFF2-40B4-BE49-F238E27FC236}">
                    <a16:creationId xmlns:a16="http://schemas.microsoft.com/office/drawing/2014/main" id="{BFD820F3-DD3B-441C-AC5B-F8241CF677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34" name="Google Shape;18117;p1604">
                <a:extLst>
                  <a:ext uri="{FF2B5EF4-FFF2-40B4-BE49-F238E27FC236}">
                    <a16:creationId xmlns:a16="http://schemas.microsoft.com/office/drawing/2014/main" id="{6DB58897-8E9E-4E04-A78E-1ABACDC2BDE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30" name="Google Shape;18115;p1604">
              <a:extLst>
                <a:ext uri="{FF2B5EF4-FFF2-40B4-BE49-F238E27FC236}">
                  <a16:creationId xmlns:a16="http://schemas.microsoft.com/office/drawing/2014/main" id="{9368AF59-77F4-4DF7-A74F-2A9F7B7B6C36}"/>
                </a:ext>
              </a:extLst>
            </p:cNvPr>
            <p:cNvGrpSpPr/>
            <p:nvPr/>
          </p:nvGrpSpPr>
          <p:grpSpPr>
            <a:xfrm>
              <a:off x="3091300" y="2809102"/>
              <a:ext cx="346511" cy="346515"/>
              <a:chOff x="1932810" y="1349835"/>
              <a:chExt cx="185335" cy="185337"/>
            </a:xfrm>
            <a:solidFill>
              <a:schemeClr val="tx2"/>
            </a:solidFill>
          </p:grpSpPr>
          <p:sp>
            <p:nvSpPr>
              <p:cNvPr id="931" name="Google Shape;18116;p1604">
                <a:extLst>
                  <a:ext uri="{FF2B5EF4-FFF2-40B4-BE49-F238E27FC236}">
                    <a16:creationId xmlns:a16="http://schemas.microsoft.com/office/drawing/2014/main" id="{383A5A7B-3017-4507-804A-44E06A3734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32" name="Google Shape;18117;p1604">
                <a:extLst>
                  <a:ext uri="{FF2B5EF4-FFF2-40B4-BE49-F238E27FC236}">
                    <a16:creationId xmlns:a16="http://schemas.microsoft.com/office/drawing/2014/main" id="{03474AD3-6655-4DE4-9693-D147F6F3585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947" name="Group 946">
            <a:extLst>
              <a:ext uri="{FF2B5EF4-FFF2-40B4-BE49-F238E27FC236}">
                <a16:creationId xmlns:a16="http://schemas.microsoft.com/office/drawing/2014/main" id="{5D29A7C3-8E24-457D-8F4C-7E09502803D8}"/>
              </a:ext>
            </a:extLst>
          </p:cNvPr>
          <p:cNvGrpSpPr>
            <a:grpSpLocks/>
          </p:cNvGrpSpPr>
          <p:nvPr/>
        </p:nvGrpSpPr>
        <p:grpSpPr>
          <a:xfrm>
            <a:off x="6279197" y="4462045"/>
            <a:ext cx="436569" cy="419720"/>
            <a:chOff x="2511970" y="2806214"/>
            <a:chExt cx="2598626" cy="2498332"/>
          </a:xfrm>
        </p:grpSpPr>
        <p:grpSp>
          <p:nvGrpSpPr>
            <p:cNvPr id="948" name="Google Shape;18115;p1604">
              <a:extLst>
                <a:ext uri="{FF2B5EF4-FFF2-40B4-BE49-F238E27FC236}">
                  <a16:creationId xmlns:a16="http://schemas.microsoft.com/office/drawing/2014/main" id="{ABFD9AD6-B5A9-4E35-BC13-479112170DBF}"/>
                </a:ext>
              </a:extLst>
            </p:cNvPr>
            <p:cNvGrpSpPr/>
            <p:nvPr/>
          </p:nvGrpSpPr>
          <p:grpSpPr>
            <a:xfrm>
              <a:off x="4214405" y="2806214"/>
              <a:ext cx="346511" cy="346515"/>
              <a:chOff x="1932810" y="1349835"/>
              <a:chExt cx="185335" cy="185337"/>
            </a:xfrm>
            <a:solidFill>
              <a:schemeClr val="tx2"/>
            </a:solidFill>
          </p:grpSpPr>
          <p:sp>
            <p:nvSpPr>
              <p:cNvPr id="971" name="Google Shape;18116;p1604">
                <a:extLst>
                  <a:ext uri="{FF2B5EF4-FFF2-40B4-BE49-F238E27FC236}">
                    <a16:creationId xmlns:a16="http://schemas.microsoft.com/office/drawing/2014/main" id="{4115E717-B047-4171-9BD9-D094EE07D4A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72" name="Google Shape;18117;p1604">
                <a:extLst>
                  <a:ext uri="{FF2B5EF4-FFF2-40B4-BE49-F238E27FC236}">
                    <a16:creationId xmlns:a16="http://schemas.microsoft.com/office/drawing/2014/main" id="{D98DD33C-BBE0-41CB-9749-185638870B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949" name="Oval 948">
              <a:extLst>
                <a:ext uri="{FF2B5EF4-FFF2-40B4-BE49-F238E27FC236}">
                  <a16:creationId xmlns:a16="http://schemas.microsoft.com/office/drawing/2014/main" id="{2E8F398E-2818-4DD8-8ADA-9C61753F0444}"/>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50" name="Google Shape;18115;p1604">
              <a:extLst>
                <a:ext uri="{FF2B5EF4-FFF2-40B4-BE49-F238E27FC236}">
                  <a16:creationId xmlns:a16="http://schemas.microsoft.com/office/drawing/2014/main" id="{B0D1B37C-4D5E-4925-A53E-4A084AFE5ECD}"/>
                </a:ext>
              </a:extLst>
            </p:cNvPr>
            <p:cNvGrpSpPr/>
            <p:nvPr/>
          </p:nvGrpSpPr>
          <p:grpSpPr>
            <a:xfrm>
              <a:off x="4402332" y="4548551"/>
              <a:ext cx="346511" cy="346515"/>
              <a:chOff x="1932810" y="1349835"/>
              <a:chExt cx="185335" cy="185337"/>
            </a:xfrm>
            <a:solidFill>
              <a:schemeClr val="tx2"/>
            </a:solidFill>
          </p:grpSpPr>
          <p:sp>
            <p:nvSpPr>
              <p:cNvPr id="969" name="Google Shape;18116;p1604">
                <a:extLst>
                  <a:ext uri="{FF2B5EF4-FFF2-40B4-BE49-F238E27FC236}">
                    <a16:creationId xmlns:a16="http://schemas.microsoft.com/office/drawing/2014/main" id="{E1D59944-6CE7-46A7-B8CB-7A274FE3E8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70" name="Google Shape;18117;p1604">
                <a:extLst>
                  <a:ext uri="{FF2B5EF4-FFF2-40B4-BE49-F238E27FC236}">
                    <a16:creationId xmlns:a16="http://schemas.microsoft.com/office/drawing/2014/main" id="{86DCBDA1-0C59-4BFB-881D-6E1E8DD5A1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51" name="Google Shape;18115;p1604">
              <a:extLst>
                <a:ext uri="{FF2B5EF4-FFF2-40B4-BE49-F238E27FC236}">
                  <a16:creationId xmlns:a16="http://schemas.microsoft.com/office/drawing/2014/main" id="{81BDA93D-A72D-47B5-BF16-C9C7FF63CC62}"/>
                </a:ext>
              </a:extLst>
            </p:cNvPr>
            <p:cNvGrpSpPr/>
            <p:nvPr/>
          </p:nvGrpSpPr>
          <p:grpSpPr>
            <a:xfrm>
              <a:off x="3578880" y="4958031"/>
              <a:ext cx="346511" cy="346515"/>
              <a:chOff x="1932810" y="1349835"/>
              <a:chExt cx="185335" cy="185337"/>
            </a:xfrm>
            <a:solidFill>
              <a:schemeClr val="tx2"/>
            </a:solidFill>
          </p:grpSpPr>
          <p:sp>
            <p:nvSpPr>
              <p:cNvPr id="967" name="Google Shape;18116;p1604">
                <a:extLst>
                  <a:ext uri="{FF2B5EF4-FFF2-40B4-BE49-F238E27FC236}">
                    <a16:creationId xmlns:a16="http://schemas.microsoft.com/office/drawing/2014/main" id="{230733C8-4266-4FBA-8799-8C6EC1B501C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68" name="Google Shape;18117;p1604">
                <a:extLst>
                  <a:ext uri="{FF2B5EF4-FFF2-40B4-BE49-F238E27FC236}">
                    <a16:creationId xmlns:a16="http://schemas.microsoft.com/office/drawing/2014/main" id="{4ACF60E4-9149-4EFD-92C1-ECF4A602949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52" name="Google Shape;18115;p1604">
              <a:extLst>
                <a:ext uri="{FF2B5EF4-FFF2-40B4-BE49-F238E27FC236}">
                  <a16:creationId xmlns:a16="http://schemas.microsoft.com/office/drawing/2014/main" id="{27544138-1BE4-468A-BE5C-8E8A02455440}"/>
                </a:ext>
              </a:extLst>
            </p:cNvPr>
            <p:cNvGrpSpPr/>
            <p:nvPr/>
          </p:nvGrpSpPr>
          <p:grpSpPr>
            <a:xfrm>
              <a:off x="2511970" y="3644968"/>
              <a:ext cx="346511" cy="346515"/>
              <a:chOff x="1932810" y="1349835"/>
              <a:chExt cx="185335" cy="185337"/>
            </a:xfrm>
            <a:solidFill>
              <a:schemeClr val="tx2"/>
            </a:solidFill>
          </p:grpSpPr>
          <p:sp>
            <p:nvSpPr>
              <p:cNvPr id="965" name="Google Shape;18116;p1604">
                <a:extLst>
                  <a:ext uri="{FF2B5EF4-FFF2-40B4-BE49-F238E27FC236}">
                    <a16:creationId xmlns:a16="http://schemas.microsoft.com/office/drawing/2014/main" id="{CA809377-85D7-44D1-BA6D-5D7885E697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66" name="Google Shape;18117;p1604">
                <a:extLst>
                  <a:ext uri="{FF2B5EF4-FFF2-40B4-BE49-F238E27FC236}">
                    <a16:creationId xmlns:a16="http://schemas.microsoft.com/office/drawing/2014/main" id="{DA0B6E57-282C-4E7B-8242-6EADDC061D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53" name="Google Shape;18115;p1604">
              <a:extLst>
                <a:ext uri="{FF2B5EF4-FFF2-40B4-BE49-F238E27FC236}">
                  <a16:creationId xmlns:a16="http://schemas.microsoft.com/office/drawing/2014/main" id="{C0FF1A59-34E0-493C-9045-7937BBDA99C0}"/>
                </a:ext>
              </a:extLst>
            </p:cNvPr>
            <p:cNvGrpSpPr/>
            <p:nvPr/>
          </p:nvGrpSpPr>
          <p:grpSpPr>
            <a:xfrm>
              <a:off x="4754363" y="4548551"/>
              <a:ext cx="346511" cy="346515"/>
              <a:chOff x="1932810" y="1349835"/>
              <a:chExt cx="185335" cy="185337"/>
            </a:xfrm>
            <a:solidFill>
              <a:schemeClr val="tx2"/>
            </a:solidFill>
          </p:grpSpPr>
          <p:sp>
            <p:nvSpPr>
              <p:cNvPr id="963" name="Google Shape;18116;p1604">
                <a:extLst>
                  <a:ext uri="{FF2B5EF4-FFF2-40B4-BE49-F238E27FC236}">
                    <a16:creationId xmlns:a16="http://schemas.microsoft.com/office/drawing/2014/main" id="{5803DFEA-3C6E-40FC-B5C5-2C55A351EC5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64" name="Google Shape;18117;p1604">
                <a:extLst>
                  <a:ext uri="{FF2B5EF4-FFF2-40B4-BE49-F238E27FC236}">
                    <a16:creationId xmlns:a16="http://schemas.microsoft.com/office/drawing/2014/main" id="{626715AF-EC39-4C7C-9342-80511F1DEFD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54" name="Google Shape;18115;p1604">
              <a:extLst>
                <a:ext uri="{FF2B5EF4-FFF2-40B4-BE49-F238E27FC236}">
                  <a16:creationId xmlns:a16="http://schemas.microsoft.com/office/drawing/2014/main" id="{82CFE520-A73D-42F3-BA7C-F915E7A706FD}"/>
                </a:ext>
              </a:extLst>
            </p:cNvPr>
            <p:cNvGrpSpPr/>
            <p:nvPr/>
          </p:nvGrpSpPr>
          <p:grpSpPr>
            <a:xfrm>
              <a:off x="2644688" y="4493428"/>
              <a:ext cx="346511" cy="346515"/>
              <a:chOff x="1932810" y="1349835"/>
              <a:chExt cx="185335" cy="185337"/>
            </a:xfrm>
            <a:solidFill>
              <a:schemeClr val="tx2"/>
            </a:solidFill>
          </p:grpSpPr>
          <p:sp>
            <p:nvSpPr>
              <p:cNvPr id="961" name="Google Shape;18116;p1604">
                <a:extLst>
                  <a:ext uri="{FF2B5EF4-FFF2-40B4-BE49-F238E27FC236}">
                    <a16:creationId xmlns:a16="http://schemas.microsoft.com/office/drawing/2014/main" id="{956DC16E-4C58-4238-A461-6B56BE4AFF6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62" name="Google Shape;18117;p1604">
                <a:extLst>
                  <a:ext uri="{FF2B5EF4-FFF2-40B4-BE49-F238E27FC236}">
                    <a16:creationId xmlns:a16="http://schemas.microsoft.com/office/drawing/2014/main" id="{EBD72C9F-53CB-4D06-B1BB-DFFF7F1F6FC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55" name="Google Shape;18115;p1604">
              <a:extLst>
                <a:ext uri="{FF2B5EF4-FFF2-40B4-BE49-F238E27FC236}">
                  <a16:creationId xmlns:a16="http://schemas.microsoft.com/office/drawing/2014/main" id="{A02159BE-D4C8-4EA3-8B23-1FFB0FADCA63}"/>
                </a:ext>
              </a:extLst>
            </p:cNvPr>
            <p:cNvGrpSpPr/>
            <p:nvPr/>
          </p:nvGrpSpPr>
          <p:grpSpPr>
            <a:xfrm>
              <a:off x="4764085" y="3612568"/>
              <a:ext cx="346511" cy="346515"/>
              <a:chOff x="1932810" y="1349835"/>
              <a:chExt cx="185335" cy="185337"/>
            </a:xfrm>
            <a:solidFill>
              <a:schemeClr val="tx2"/>
            </a:solidFill>
          </p:grpSpPr>
          <p:sp>
            <p:nvSpPr>
              <p:cNvPr id="959" name="Google Shape;18116;p1604">
                <a:extLst>
                  <a:ext uri="{FF2B5EF4-FFF2-40B4-BE49-F238E27FC236}">
                    <a16:creationId xmlns:a16="http://schemas.microsoft.com/office/drawing/2014/main" id="{CDE4558F-4468-4D8E-BDAB-E3E1B5DF619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60" name="Google Shape;18117;p1604">
                <a:extLst>
                  <a:ext uri="{FF2B5EF4-FFF2-40B4-BE49-F238E27FC236}">
                    <a16:creationId xmlns:a16="http://schemas.microsoft.com/office/drawing/2014/main" id="{E68DA964-F206-4F55-9C81-4F893326A3F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56" name="Google Shape;18115;p1604">
              <a:extLst>
                <a:ext uri="{FF2B5EF4-FFF2-40B4-BE49-F238E27FC236}">
                  <a16:creationId xmlns:a16="http://schemas.microsoft.com/office/drawing/2014/main" id="{83CFBAB7-EDBB-40FC-92BF-70135FB0E3E1}"/>
                </a:ext>
              </a:extLst>
            </p:cNvPr>
            <p:cNvGrpSpPr/>
            <p:nvPr/>
          </p:nvGrpSpPr>
          <p:grpSpPr>
            <a:xfrm>
              <a:off x="3091300" y="2809102"/>
              <a:ext cx="346511" cy="346515"/>
              <a:chOff x="1932810" y="1349835"/>
              <a:chExt cx="185335" cy="185337"/>
            </a:xfrm>
            <a:solidFill>
              <a:schemeClr val="tx2"/>
            </a:solidFill>
          </p:grpSpPr>
          <p:sp>
            <p:nvSpPr>
              <p:cNvPr id="957" name="Google Shape;18116;p1604">
                <a:extLst>
                  <a:ext uri="{FF2B5EF4-FFF2-40B4-BE49-F238E27FC236}">
                    <a16:creationId xmlns:a16="http://schemas.microsoft.com/office/drawing/2014/main" id="{39470542-D8F5-4270-8F25-A45BA35F6C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58" name="Google Shape;18117;p1604">
                <a:extLst>
                  <a:ext uri="{FF2B5EF4-FFF2-40B4-BE49-F238E27FC236}">
                    <a16:creationId xmlns:a16="http://schemas.microsoft.com/office/drawing/2014/main" id="{788CD70E-AF2A-48D8-B4E8-741A06E960A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973" name="Group 972">
            <a:extLst>
              <a:ext uri="{FF2B5EF4-FFF2-40B4-BE49-F238E27FC236}">
                <a16:creationId xmlns:a16="http://schemas.microsoft.com/office/drawing/2014/main" id="{86327D4E-2FD3-4DA4-9404-9C152DD8745C}"/>
              </a:ext>
            </a:extLst>
          </p:cNvPr>
          <p:cNvGrpSpPr>
            <a:grpSpLocks/>
          </p:cNvGrpSpPr>
          <p:nvPr/>
        </p:nvGrpSpPr>
        <p:grpSpPr>
          <a:xfrm>
            <a:off x="6279197" y="4889283"/>
            <a:ext cx="436569" cy="419720"/>
            <a:chOff x="2511970" y="2806214"/>
            <a:chExt cx="2598626" cy="2498332"/>
          </a:xfrm>
        </p:grpSpPr>
        <p:grpSp>
          <p:nvGrpSpPr>
            <p:cNvPr id="974" name="Google Shape;18115;p1604">
              <a:extLst>
                <a:ext uri="{FF2B5EF4-FFF2-40B4-BE49-F238E27FC236}">
                  <a16:creationId xmlns:a16="http://schemas.microsoft.com/office/drawing/2014/main" id="{987B45E6-A418-4D7E-B612-17BEF57DF554}"/>
                </a:ext>
              </a:extLst>
            </p:cNvPr>
            <p:cNvGrpSpPr/>
            <p:nvPr/>
          </p:nvGrpSpPr>
          <p:grpSpPr>
            <a:xfrm>
              <a:off x="4214405" y="2806214"/>
              <a:ext cx="346511" cy="346515"/>
              <a:chOff x="1932810" y="1349835"/>
              <a:chExt cx="185335" cy="185337"/>
            </a:xfrm>
            <a:solidFill>
              <a:schemeClr val="tx2"/>
            </a:solidFill>
          </p:grpSpPr>
          <p:sp>
            <p:nvSpPr>
              <p:cNvPr id="997" name="Google Shape;18116;p1604">
                <a:extLst>
                  <a:ext uri="{FF2B5EF4-FFF2-40B4-BE49-F238E27FC236}">
                    <a16:creationId xmlns:a16="http://schemas.microsoft.com/office/drawing/2014/main" id="{B24ABA9F-1BC1-4B1B-835D-E212FCD5FCA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98" name="Google Shape;18117;p1604">
                <a:extLst>
                  <a:ext uri="{FF2B5EF4-FFF2-40B4-BE49-F238E27FC236}">
                    <a16:creationId xmlns:a16="http://schemas.microsoft.com/office/drawing/2014/main" id="{A45786E3-6E21-4234-BD64-D2D56CDB064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975" name="Oval 974">
              <a:extLst>
                <a:ext uri="{FF2B5EF4-FFF2-40B4-BE49-F238E27FC236}">
                  <a16:creationId xmlns:a16="http://schemas.microsoft.com/office/drawing/2014/main" id="{680F9024-0123-47E1-AABD-0AF960E549EE}"/>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76" name="Google Shape;18115;p1604">
              <a:extLst>
                <a:ext uri="{FF2B5EF4-FFF2-40B4-BE49-F238E27FC236}">
                  <a16:creationId xmlns:a16="http://schemas.microsoft.com/office/drawing/2014/main" id="{1F9D771F-3A52-41E6-870D-E78982F1A92A}"/>
                </a:ext>
              </a:extLst>
            </p:cNvPr>
            <p:cNvGrpSpPr/>
            <p:nvPr/>
          </p:nvGrpSpPr>
          <p:grpSpPr>
            <a:xfrm>
              <a:off x="4402332" y="4548551"/>
              <a:ext cx="346511" cy="346515"/>
              <a:chOff x="1932810" y="1349835"/>
              <a:chExt cx="185335" cy="185337"/>
            </a:xfrm>
            <a:solidFill>
              <a:schemeClr val="tx2"/>
            </a:solidFill>
          </p:grpSpPr>
          <p:sp>
            <p:nvSpPr>
              <p:cNvPr id="995" name="Google Shape;18116;p1604">
                <a:extLst>
                  <a:ext uri="{FF2B5EF4-FFF2-40B4-BE49-F238E27FC236}">
                    <a16:creationId xmlns:a16="http://schemas.microsoft.com/office/drawing/2014/main" id="{B0D2CA9B-0F3D-4C96-B712-6EB787B4207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96" name="Google Shape;18117;p1604">
                <a:extLst>
                  <a:ext uri="{FF2B5EF4-FFF2-40B4-BE49-F238E27FC236}">
                    <a16:creationId xmlns:a16="http://schemas.microsoft.com/office/drawing/2014/main" id="{763A1DE4-290D-466C-A5CD-F3983379DFE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77" name="Google Shape;18115;p1604">
              <a:extLst>
                <a:ext uri="{FF2B5EF4-FFF2-40B4-BE49-F238E27FC236}">
                  <a16:creationId xmlns:a16="http://schemas.microsoft.com/office/drawing/2014/main" id="{8FA1043A-C8E0-44B6-BB08-579F30163353}"/>
                </a:ext>
              </a:extLst>
            </p:cNvPr>
            <p:cNvGrpSpPr/>
            <p:nvPr/>
          </p:nvGrpSpPr>
          <p:grpSpPr>
            <a:xfrm>
              <a:off x="3578880" y="4958031"/>
              <a:ext cx="346511" cy="346515"/>
              <a:chOff x="1932810" y="1349835"/>
              <a:chExt cx="185335" cy="185337"/>
            </a:xfrm>
            <a:solidFill>
              <a:schemeClr val="tx2"/>
            </a:solidFill>
          </p:grpSpPr>
          <p:sp>
            <p:nvSpPr>
              <p:cNvPr id="993" name="Google Shape;18116;p1604">
                <a:extLst>
                  <a:ext uri="{FF2B5EF4-FFF2-40B4-BE49-F238E27FC236}">
                    <a16:creationId xmlns:a16="http://schemas.microsoft.com/office/drawing/2014/main" id="{0326918D-727A-4C5C-926C-0365C6917E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94" name="Google Shape;18117;p1604">
                <a:extLst>
                  <a:ext uri="{FF2B5EF4-FFF2-40B4-BE49-F238E27FC236}">
                    <a16:creationId xmlns:a16="http://schemas.microsoft.com/office/drawing/2014/main" id="{8A729D4B-F9FC-4E2B-875A-D7FE62551B6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78" name="Google Shape;18115;p1604">
              <a:extLst>
                <a:ext uri="{FF2B5EF4-FFF2-40B4-BE49-F238E27FC236}">
                  <a16:creationId xmlns:a16="http://schemas.microsoft.com/office/drawing/2014/main" id="{33C3F078-7547-463A-B356-5D8B9442DF12}"/>
                </a:ext>
              </a:extLst>
            </p:cNvPr>
            <p:cNvGrpSpPr/>
            <p:nvPr/>
          </p:nvGrpSpPr>
          <p:grpSpPr>
            <a:xfrm>
              <a:off x="2511970" y="3644968"/>
              <a:ext cx="346511" cy="346515"/>
              <a:chOff x="1932810" y="1349835"/>
              <a:chExt cx="185335" cy="185337"/>
            </a:xfrm>
            <a:solidFill>
              <a:schemeClr val="tx2"/>
            </a:solidFill>
          </p:grpSpPr>
          <p:sp>
            <p:nvSpPr>
              <p:cNvPr id="991" name="Google Shape;18116;p1604">
                <a:extLst>
                  <a:ext uri="{FF2B5EF4-FFF2-40B4-BE49-F238E27FC236}">
                    <a16:creationId xmlns:a16="http://schemas.microsoft.com/office/drawing/2014/main" id="{655B2726-85B5-4D61-BC1E-AB17E22C3FF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92" name="Google Shape;18117;p1604">
                <a:extLst>
                  <a:ext uri="{FF2B5EF4-FFF2-40B4-BE49-F238E27FC236}">
                    <a16:creationId xmlns:a16="http://schemas.microsoft.com/office/drawing/2014/main" id="{EED0D463-0598-4BA1-99AB-8D07AF8439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79" name="Google Shape;18115;p1604">
              <a:extLst>
                <a:ext uri="{FF2B5EF4-FFF2-40B4-BE49-F238E27FC236}">
                  <a16:creationId xmlns:a16="http://schemas.microsoft.com/office/drawing/2014/main" id="{7DD3E89E-304D-45DE-887C-065F4A86551E}"/>
                </a:ext>
              </a:extLst>
            </p:cNvPr>
            <p:cNvGrpSpPr/>
            <p:nvPr/>
          </p:nvGrpSpPr>
          <p:grpSpPr>
            <a:xfrm>
              <a:off x="4754363" y="4548551"/>
              <a:ext cx="346511" cy="346515"/>
              <a:chOff x="1932810" y="1349835"/>
              <a:chExt cx="185335" cy="185337"/>
            </a:xfrm>
            <a:solidFill>
              <a:schemeClr val="tx2"/>
            </a:solidFill>
          </p:grpSpPr>
          <p:sp>
            <p:nvSpPr>
              <p:cNvPr id="989" name="Google Shape;18116;p1604">
                <a:extLst>
                  <a:ext uri="{FF2B5EF4-FFF2-40B4-BE49-F238E27FC236}">
                    <a16:creationId xmlns:a16="http://schemas.microsoft.com/office/drawing/2014/main" id="{24145EB7-559A-430D-BB56-13CB1470A3F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90" name="Google Shape;18117;p1604">
                <a:extLst>
                  <a:ext uri="{FF2B5EF4-FFF2-40B4-BE49-F238E27FC236}">
                    <a16:creationId xmlns:a16="http://schemas.microsoft.com/office/drawing/2014/main" id="{F07E96D2-7642-46EC-92B4-BEEC162FD11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80" name="Google Shape;18115;p1604">
              <a:extLst>
                <a:ext uri="{FF2B5EF4-FFF2-40B4-BE49-F238E27FC236}">
                  <a16:creationId xmlns:a16="http://schemas.microsoft.com/office/drawing/2014/main" id="{16D45E21-0DE0-4740-9632-73DD6AA8CA52}"/>
                </a:ext>
              </a:extLst>
            </p:cNvPr>
            <p:cNvGrpSpPr/>
            <p:nvPr/>
          </p:nvGrpSpPr>
          <p:grpSpPr>
            <a:xfrm>
              <a:off x="2644688" y="4493428"/>
              <a:ext cx="346511" cy="346515"/>
              <a:chOff x="1932810" y="1349835"/>
              <a:chExt cx="185335" cy="185337"/>
            </a:xfrm>
            <a:solidFill>
              <a:schemeClr val="tx2"/>
            </a:solidFill>
          </p:grpSpPr>
          <p:sp>
            <p:nvSpPr>
              <p:cNvPr id="987" name="Google Shape;18116;p1604">
                <a:extLst>
                  <a:ext uri="{FF2B5EF4-FFF2-40B4-BE49-F238E27FC236}">
                    <a16:creationId xmlns:a16="http://schemas.microsoft.com/office/drawing/2014/main" id="{DCF7AA74-811B-4492-B7C7-9208E27F34A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88" name="Google Shape;18117;p1604">
                <a:extLst>
                  <a:ext uri="{FF2B5EF4-FFF2-40B4-BE49-F238E27FC236}">
                    <a16:creationId xmlns:a16="http://schemas.microsoft.com/office/drawing/2014/main" id="{E91C367C-44CB-4B54-BB8F-89DABCD5CC8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81" name="Google Shape;18115;p1604">
              <a:extLst>
                <a:ext uri="{FF2B5EF4-FFF2-40B4-BE49-F238E27FC236}">
                  <a16:creationId xmlns:a16="http://schemas.microsoft.com/office/drawing/2014/main" id="{D99A8F00-DD66-4795-AB44-E68488D16583}"/>
                </a:ext>
              </a:extLst>
            </p:cNvPr>
            <p:cNvGrpSpPr/>
            <p:nvPr/>
          </p:nvGrpSpPr>
          <p:grpSpPr>
            <a:xfrm>
              <a:off x="4764085" y="3612568"/>
              <a:ext cx="346511" cy="346515"/>
              <a:chOff x="1932810" y="1349835"/>
              <a:chExt cx="185335" cy="185337"/>
            </a:xfrm>
            <a:solidFill>
              <a:schemeClr val="tx2"/>
            </a:solidFill>
          </p:grpSpPr>
          <p:sp>
            <p:nvSpPr>
              <p:cNvPr id="985" name="Google Shape;18116;p1604">
                <a:extLst>
                  <a:ext uri="{FF2B5EF4-FFF2-40B4-BE49-F238E27FC236}">
                    <a16:creationId xmlns:a16="http://schemas.microsoft.com/office/drawing/2014/main" id="{32FFA387-34BD-4D68-8B75-183F2491D38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86" name="Google Shape;18117;p1604">
                <a:extLst>
                  <a:ext uri="{FF2B5EF4-FFF2-40B4-BE49-F238E27FC236}">
                    <a16:creationId xmlns:a16="http://schemas.microsoft.com/office/drawing/2014/main" id="{DAB923C9-7F14-4EF4-9B98-247929E0E66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982" name="Google Shape;18115;p1604">
              <a:extLst>
                <a:ext uri="{FF2B5EF4-FFF2-40B4-BE49-F238E27FC236}">
                  <a16:creationId xmlns:a16="http://schemas.microsoft.com/office/drawing/2014/main" id="{77632813-7F00-438D-BF1E-04D957C824FA}"/>
                </a:ext>
              </a:extLst>
            </p:cNvPr>
            <p:cNvGrpSpPr/>
            <p:nvPr/>
          </p:nvGrpSpPr>
          <p:grpSpPr>
            <a:xfrm>
              <a:off x="3091300" y="2809102"/>
              <a:ext cx="346511" cy="346515"/>
              <a:chOff x="1932810" y="1349835"/>
              <a:chExt cx="185335" cy="185337"/>
            </a:xfrm>
            <a:solidFill>
              <a:schemeClr val="tx2"/>
            </a:solidFill>
          </p:grpSpPr>
          <p:sp>
            <p:nvSpPr>
              <p:cNvPr id="983" name="Google Shape;18116;p1604">
                <a:extLst>
                  <a:ext uri="{FF2B5EF4-FFF2-40B4-BE49-F238E27FC236}">
                    <a16:creationId xmlns:a16="http://schemas.microsoft.com/office/drawing/2014/main" id="{932E6856-6C20-4087-BE1C-47DBC77C76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984" name="Google Shape;18117;p1604">
                <a:extLst>
                  <a:ext uri="{FF2B5EF4-FFF2-40B4-BE49-F238E27FC236}">
                    <a16:creationId xmlns:a16="http://schemas.microsoft.com/office/drawing/2014/main" id="{7D798FE8-0C2A-474D-9438-2AC96A1F576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999" name="Google Shape;18115;p1604">
            <a:extLst>
              <a:ext uri="{FF2B5EF4-FFF2-40B4-BE49-F238E27FC236}">
                <a16:creationId xmlns:a16="http://schemas.microsoft.com/office/drawing/2014/main" id="{6ADFFCE0-2CB0-42F3-953D-3F6AA77B00EB}"/>
              </a:ext>
            </a:extLst>
          </p:cNvPr>
          <p:cNvGrpSpPr/>
          <p:nvPr/>
        </p:nvGrpSpPr>
        <p:grpSpPr>
          <a:xfrm>
            <a:off x="6000109" y="4053827"/>
            <a:ext cx="193423" cy="193425"/>
            <a:chOff x="1932810" y="1349835"/>
            <a:chExt cx="185335" cy="185337"/>
          </a:xfrm>
          <a:solidFill>
            <a:schemeClr val="tx2"/>
          </a:solidFill>
        </p:grpSpPr>
        <p:sp>
          <p:nvSpPr>
            <p:cNvPr id="1000" name="Google Shape;18116;p1604">
              <a:extLst>
                <a:ext uri="{FF2B5EF4-FFF2-40B4-BE49-F238E27FC236}">
                  <a16:creationId xmlns:a16="http://schemas.microsoft.com/office/drawing/2014/main" id="{F1C12E27-4FD6-4E03-B010-280FFCBE8AC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01" name="Google Shape;18117;p1604">
              <a:extLst>
                <a:ext uri="{FF2B5EF4-FFF2-40B4-BE49-F238E27FC236}">
                  <a16:creationId xmlns:a16="http://schemas.microsoft.com/office/drawing/2014/main" id="{4C5C47EC-8D2F-4F4E-B308-DBCB7414D3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02" name="Google Shape;18115;p1604">
            <a:extLst>
              <a:ext uri="{FF2B5EF4-FFF2-40B4-BE49-F238E27FC236}">
                <a16:creationId xmlns:a16="http://schemas.microsoft.com/office/drawing/2014/main" id="{07E460B4-BF79-4BF4-96A7-C73253ADE15C}"/>
              </a:ext>
            </a:extLst>
          </p:cNvPr>
          <p:cNvGrpSpPr/>
          <p:nvPr/>
        </p:nvGrpSpPr>
        <p:grpSpPr>
          <a:xfrm>
            <a:off x="6393050" y="4053827"/>
            <a:ext cx="193423" cy="193425"/>
            <a:chOff x="1932810" y="1349835"/>
            <a:chExt cx="185335" cy="185337"/>
          </a:xfrm>
          <a:solidFill>
            <a:schemeClr val="tx2"/>
          </a:solidFill>
        </p:grpSpPr>
        <p:sp>
          <p:nvSpPr>
            <p:cNvPr id="1003" name="Google Shape;18116;p1604">
              <a:extLst>
                <a:ext uri="{FF2B5EF4-FFF2-40B4-BE49-F238E27FC236}">
                  <a16:creationId xmlns:a16="http://schemas.microsoft.com/office/drawing/2014/main" id="{EFD8A65D-7D0B-4130-B4BA-D9EAF06F427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04" name="Google Shape;18117;p1604">
              <a:extLst>
                <a:ext uri="{FF2B5EF4-FFF2-40B4-BE49-F238E27FC236}">
                  <a16:creationId xmlns:a16="http://schemas.microsoft.com/office/drawing/2014/main" id="{E8FC9145-9003-49E4-B6C9-D58BDFA4155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005" name="Rectangle 1004">
            <a:extLst>
              <a:ext uri="{FF2B5EF4-FFF2-40B4-BE49-F238E27FC236}">
                <a16:creationId xmlns:a16="http://schemas.microsoft.com/office/drawing/2014/main" id="{869AFA79-52D2-4E32-B498-1A5D7BD3974E}"/>
              </a:ext>
            </a:extLst>
          </p:cNvPr>
          <p:cNvSpPr/>
          <p:nvPr/>
        </p:nvSpPr>
        <p:spPr>
          <a:xfrm>
            <a:off x="6268873" y="376716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PM</a:t>
            </a:r>
          </a:p>
        </p:txBody>
      </p:sp>
      <p:sp>
        <p:nvSpPr>
          <p:cNvPr id="1006" name="Rectangle 1005">
            <a:extLst>
              <a:ext uri="{FF2B5EF4-FFF2-40B4-BE49-F238E27FC236}">
                <a16:creationId xmlns:a16="http://schemas.microsoft.com/office/drawing/2014/main" id="{1E8ED001-B0FD-4A29-836F-721C00A58B9B}"/>
              </a:ext>
            </a:extLst>
          </p:cNvPr>
          <p:cNvSpPr/>
          <p:nvPr/>
        </p:nvSpPr>
        <p:spPr>
          <a:xfrm>
            <a:off x="5808599" y="3767164"/>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1007" name="Rectangle 1006">
            <a:extLst>
              <a:ext uri="{FF2B5EF4-FFF2-40B4-BE49-F238E27FC236}">
                <a16:creationId xmlns:a16="http://schemas.microsoft.com/office/drawing/2014/main" id="{50837DA9-2476-4529-86C5-F58F40F090E5}"/>
              </a:ext>
            </a:extLst>
          </p:cNvPr>
          <p:cNvSpPr/>
          <p:nvPr/>
        </p:nvSpPr>
        <p:spPr>
          <a:xfrm>
            <a:off x="6938344" y="3309168"/>
            <a:ext cx="977139" cy="2000405"/>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a:solidFill>
                  <a:srgbClr val="55555A"/>
                </a:solidFill>
              </a:rPr>
              <a:t>Digital Product E</a:t>
            </a:r>
          </a:p>
        </p:txBody>
      </p:sp>
      <p:grpSp>
        <p:nvGrpSpPr>
          <p:cNvPr id="1008" name="Group 1007">
            <a:extLst>
              <a:ext uri="{FF2B5EF4-FFF2-40B4-BE49-F238E27FC236}">
                <a16:creationId xmlns:a16="http://schemas.microsoft.com/office/drawing/2014/main" id="{67658A93-2984-48BD-83BE-D434D0B6F153}"/>
              </a:ext>
            </a:extLst>
          </p:cNvPr>
          <p:cNvGrpSpPr>
            <a:grpSpLocks/>
          </p:cNvGrpSpPr>
          <p:nvPr/>
        </p:nvGrpSpPr>
        <p:grpSpPr>
          <a:xfrm>
            <a:off x="7007671" y="4707433"/>
            <a:ext cx="436569" cy="419720"/>
            <a:chOff x="2511970" y="2806214"/>
            <a:chExt cx="2598626" cy="2498332"/>
          </a:xfrm>
        </p:grpSpPr>
        <p:grpSp>
          <p:nvGrpSpPr>
            <p:cNvPr id="1009" name="Google Shape;18115;p1604">
              <a:extLst>
                <a:ext uri="{FF2B5EF4-FFF2-40B4-BE49-F238E27FC236}">
                  <a16:creationId xmlns:a16="http://schemas.microsoft.com/office/drawing/2014/main" id="{06F678E8-97DE-4683-B4BA-E90801EB4DD0}"/>
                </a:ext>
              </a:extLst>
            </p:cNvPr>
            <p:cNvGrpSpPr/>
            <p:nvPr/>
          </p:nvGrpSpPr>
          <p:grpSpPr>
            <a:xfrm>
              <a:off x="4214405" y="2806214"/>
              <a:ext cx="346511" cy="346515"/>
              <a:chOff x="1932810" y="1349835"/>
              <a:chExt cx="185335" cy="185337"/>
            </a:xfrm>
            <a:solidFill>
              <a:schemeClr val="tx2"/>
            </a:solidFill>
          </p:grpSpPr>
          <p:sp>
            <p:nvSpPr>
              <p:cNvPr id="1032" name="Google Shape;18116;p1604">
                <a:extLst>
                  <a:ext uri="{FF2B5EF4-FFF2-40B4-BE49-F238E27FC236}">
                    <a16:creationId xmlns:a16="http://schemas.microsoft.com/office/drawing/2014/main" id="{4179D3B0-52A9-4008-9EF7-0044AED8AFB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33" name="Google Shape;18117;p1604">
                <a:extLst>
                  <a:ext uri="{FF2B5EF4-FFF2-40B4-BE49-F238E27FC236}">
                    <a16:creationId xmlns:a16="http://schemas.microsoft.com/office/drawing/2014/main" id="{16849127-3F63-4E8A-82E4-F43AD29F25B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010" name="Oval 1009">
              <a:extLst>
                <a:ext uri="{FF2B5EF4-FFF2-40B4-BE49-F238E27FC236}">
                  <a16:creationId xmlns:a16="http://schemas.microsoft.com/office/drawing/2014/main" id="{CB232418-4D0F-477D-894A-242AA7C4B805}"/>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011" name="Google Shape;18115;p1604">
              <a:extLst>
                <a:ext uri="{FF2B5EF4-FFF2-40B4-BE49-F238E27FC236}">
                  <a16:creationId xmlns:a16="http://schemas.microsoft.com/office/drawing/2014/main" id="{FE2BA70B-5963-4D66-92F3-D35B310AC53E}"/>
                </a:ext>
              </a:extLst>
            </p:cNvPr>
            <p:cNvGrpSpPr/>
            <p:nvPr/>
          </p:nvGrpSpPr>
          <p:grpSpPr>
            <a:xfrm>
              <a:off x="4402332" y="4548551"/>
              <a:ext cx="346511" cy="346515"/>
              <a:chOff x="1932810" y="1349835"/>
              <a:chExt cx="185335" cy="185337"/>
            </a:xfrm>
            <a:solidFill>
              <a:schemeClr val="tx2"/>
            </a:solidFill>
          </p:grpSpPr>
          <p:sp>
            <p:nvSpPr>
              <p:cNvPr id="1030" name="Google Shape;18116;p1604">
                <a:extLst>
                  <a:ext uri="{FF2B5EF4-FFF2-40B4-BE49-F238E27FC236}">
                    <a16:creationId xmlns:a16="http://schemas.microsoft.com/office/drawing/2014/main" id="{493EBAE5-375F-4492-A41B-361A49C59F4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31" name="Google Shape;18117;p1604">
                <a:extLst>
                  <a:ext uri="{FF2B5EF4-FFF2-40B4-BE49-F238E27FC236}">
                    <a16:creationId xmlns:a16="http://schemas.microsoft.com/office/drawing/2014/main" id="{BA18B7E6-1681-4B93-B3E6-F1CFC208011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12" name="Google Shape;18115;p1604">
              <a:extLst>
                <a:ext uri="{FF2B5EF4-FFF2-40B4-BE49-F238E27FC236}">
                  <a16:creationId xmlns:a16="http://schemas.microsoft.com/office/drawing/2014/main" id="{9563DEC6-5432-4870-AFE5-F4E777BE7199}"/>
                </a:ext>
              </a:extLst>
            </p:cNvPr>
            <p:cNvGrpSpPr/>
            <p:nvPr/>
          </p:nvGrpSpPr>
          <p:grpSpPr>
            <a:xfrm>
              <a:off x="3578880" y="4958031"/>
              <a:ext cx="346511" cy="346515"/>
              <a:chOff x="1932810" y="1349835"/>
              <a:chExt cx="185335" cy="185337"/>
            </a:xfrm>
            <a:solidFill>
              <a:schemeClr val="tx2"/>
            </a:solidFill>
          </p:grpSpPr>
          <p:sp>
            <p:nvSpPr>
              <p:cNvPr id="1028" name="Google Shape;18116;p1604">
                <a:extLst>
                  <a:ext uri="{FF2B5EF4-FFF2-40B4-BE49-F238E27FC236}">
                    <a16:creationId xmlns:a16="http://schemas.microsoft.com/office/drawing/2014/main" id="{CAC31DF4-0534-45ED-AAF0-3A433015BB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29" name="Google Shape;18117;p1604">
                <a:extLst>
                  <a:ext uri="{FF2B5EF4-FFF2-40B4-BE49-F238E27FC236}">
                    <a16:creationId xmlns:a16="http://schemas.microsoft.com/office/drawing/2014/main" id="{71829710-FC71-4B76-B5CD-9FE9A26B2E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13" name="Google Shape;18115;p1604">
              <a:extLst>
                <a:ext uri="{FF2B5EF4-FFF2-40B4-BE49-F238E27FC236}">
                  <a16:creationId xmlns:a16="http://schemas.microsoft.com/office/drawing/2014/main" id="{A5594161-E9C4-44EC-BAEE-07834EDCF927}"/>
                </a:ext>
              </a:extLst>
            </p:cNvPr>
            <p:cNvGrpSpPr/>
            <p:nvPr/>
          </p:nvGrpSpPr>
          <p:grpSpPr>
            <a:xfrm>
              <a:off x="2511970" y="3644968"/>
              <a:ext cx="346511" cy="346515"/>
              <a:chOff x="1932810" y="1349835"/>
              <a:chExt cx="185335" cy="185337"/>
            </a:xfrm>
            <a:solidFill>
              <a:schemeClr val="tx2"/>
            </a:solidFill>
          </p:grpSpPr>
          <p:sp>
            <p:nvSpPr>
              <p:cNvPr id="1026" name="Google Shape;18116;p1604">
                <a:extLst>
                  <a:ext uri="{FF2B5EF4-FFF2-40B4-BE49-F238E27FC236}">
                    <a16:creationId xmlns:a16="http://schemas.microsoft.com/office/drawing/2014/main" id="{BE090B12-A7B7-4F97-B9C9-9C58A1C0EB6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27" name="Google Shape;18117;p1604">
                <a:extLst>
                  <a:ext uri="{FF2B5EF4-FFF2-40B4-BE49-F238E27FC236}">
                    <a16:creationId xmlns:a16="http://schemas.microsoft.com/office/drawing/2014/main" id="{4C2EDF89-E4E6-40EA-BFAB-9C878932EC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14" name="Google Shape;18115;p1604">
              <a:extLst>
                <a:ext uri="{FF2B5EF4-FFF2-40B4-BE49-F238E27FC236}">
                  <a16:creationId xmlns:a16="http://schemas.microsoft.com/office/drawing/2014/main" id="{E633E637-A745-4897-8046-89156230F6DE}"/>
                </a:ext>
              </a:extLst>
            </p:cNvPr>
            <p:cNvGrpSpPr/>
            <p:nvPr/>
          </p:nvGrpSpPr>
          <p:grpSpPr>
            <a:xfrm>
              <a:off x="4754363" y="4548551"/>
              <a:ext cx="346511" cy="346515"/>
              <a:chOff x="1932810" y="1349835"/>
              <a:chExt cx="185335" cy="185337"/>
            </a:xfrm>
            <a:solidFill>
              <a:schemeClr val="tx2"/>
            </a:solidFill>
          </p:grpSpPr>
          <p:sp>
            <p:nvSpPr>
              <p:cNvPr id="1024" name="Google Shape;18116;p1604">
                <a:extLst>
                  <a:ext uri="{FF2B5EF4-FFF2-40B4-BE49-F238E27FC236}">
                    <a16:creationId xmlns:a16="http://schemas.microsoft.com/office/drawing/2014/main" id="{78FD97AC-2AAE-40DB-92D0-61A3CEF090E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25" name="Google Shape;18117;p1604">
                <a:extLst>
                  <a:ext uri="{FF2B5EF4-FFF2-40B4-BE49-F238E27FC236}">
                    <a16:creationId xmlns:a16="http://schemas.microsoft.com/office/drawing/2014/main" id="{F25947A3-DC29-429B-875D-E27FB7FD3F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15" name="Google Shape;18115;p1604">
              <a:extLst>
                <a:ext uri="{FF2B5EF4-FFF2-40B4-BE49-F238E27FC236}">
                  <a16:creationId xmlns:a16="http://schemas.microsoft.com/office/drawing/2014/main" id="{4E4F3626-4674-4A21-9123-2FB10C67EE9C}"/>
                </a:ext>
              </a:extLst>
            </p:cNvPr>
            <p:cNvGrpSpPr/>
            <p:nvPr/>
          </p:nvGrpSpPr>
          <p:grpSpPr>
            <a:xfrm>
              <a:off x="2644688" y="4493428"/>
              <a:ext cx="346511" cy="346515"/>
              <a:chOff x="1932810" y="1349835"/>
              <a:chExt cx="185335" cy="185337"/>
            </a:xfrm>
            <a:solidFill>
              <a:schemeClr val="tx2"/>
            </a:solidFill>
          </p:grpSpPr>
          <p:sp>
            <p:nvSpPr>
              <p:cNvPr id="1022" name="Google Shape;18116;p1604">
                <a:extLst>
                  <a:ext uri="{FF2B5EF4-FFF2-40B4-BE49-F238E27FC236}">
                    <a16:creationId xmlns:a16="http://schemas.microsoft.com/office/drawing/2014/main" id="{7C1C6F34-15A6-419B-8F3F-8B9430044FF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23" name="Google Shape;18117;p1604">
                <a:extLst>
                  <a:ext uri="{FF2B5EF4-FFF2-40B4-BE49-F238E27FC236}">
                    <a16:creationId xmlns:a16="http://schemas.microsoft.com/office/drawing/2014/main" id="{4B00EA18-D7F2-42F5-BBD9-0EA54DDFD33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16" name="Google Shape;18115;p1604">
              <a:extLst>
                <a:ext uri="{FF2B5EF4-FFF2-40B4-BE49-F238E27FC236}">
                  <a16:creationId xmlns:a16="http://schemas.microsoft.com/office/drawing/2014/main" id="{AD4920C0-8A33-4709-9B54-749239E2A38F}"/>
                </a:ext>
              </a:extLst>
            </p:cNvPr>
            <p:cNvGrpSpPr/>
            <p:nvPr/>
          </p:nvGrpSpPr>
          <p:grpSpPr>
            <a:xfrm>
              <a:off x="4764085" y="3612568"/>
              <a:ext cx="346511" cy="346515"/>
              <a:chOff x="1932810" y="1349835"/>
              <a:chExt cx="185335" cy="185337"/>
            </a:xfrm>
            <a:solidFill>
              <a:schemeClr val="tx2"/>
            </a:solidFill>
          </p:grpSpPr>
          <p:sp>
            <p:nvSpPr>
              <p:cNvPr id="1020" name="Google Shape;18116;p1604">
                <a:extLst>
                  <a:ext uri="{FF2B5EF4-FFF2-40B4-BE49-F238E27FC236}">
                    <a16:creationId xmlns:a16="http://schemas.microsoft.com/office/drawing/2014/main" id="{BFA4D19B-5FD6-4F21-A786-FEDA3EC8125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21" name="Google Shape;18117;p1604">
                <a:extLst>
                  <a:ext uri="{FF2B5EF4-FFF2-40B4-BE49-F238E27FC236}">
                    <a16:creationId xmlns:a16="http://schemas.microsoft.com/office/drawing/2014/main" id="{FB19DB0E-E5A0-450F-A4DE-1DEDB1FA4C4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17" name="Google Shape;18115;p1604">
              <a:extLst>
                <a:ext uri="{FF2B5EF4-FFF2-40B4-BE49-F238E27FC236}">
                  <a16:creationId xmlns:a16="http://schemas.microsoft.com/office/drawing/2014/main" id="{CDD29FFE-52F3-41F7-8BAB-ECF4CD649841}"/>
                </a:ext>
              </a:extLst>
            </p:cNvPr>
            <p:cNvGrpSpPr/>
            <p:nvPr/>
          </p:nvGrpSpPr>
          <p:grpSpPr>
            <a:xfrm>
              <a:off x="3091300" y="2809102"/>
              <a:ext cx="346511" cy="346515"/>
              <a:chOff x="1932810" y="1349835"/>
              <a:chExt cx="185335" cy="185337"/>
            </a:xfrm>
            <a:solidFill>
              <a:schemeClr val="tx2"/>
            </a:solidFill>
          </p:grpSpPr>
          <p:sp>
            <p:nvSpPr>
              <p:cNvPr id="1018" name="Google Shape;18116;p1604">
                <a:extLst>
                  <a:ext uri="{FF2B5EF4-FFF2-40B4-BE49-F238E27FC236}">
                    <a16:creationId xmlns:a16="http://schemas.microsoft.com/office/drawing/2014/main" id="{8D362306-0AB2-4C32-AFA7-FE8C0A11BEF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19" name="Google Shape;18117;p1604">
                <a:extLst>
                  <a:ext uri="{FF2B5EF4-FFF2-40B4-BE49-F238E27FC236}">
                    <a16:creationId xmlns:a16="http://schemas.microsoft.com/office/drawing/2014/main" id="{6BBAFC52-0B5F-4941-AC0C-FA154B68ACA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034" name="Group 1033">
            <a:extLst>
              <a:ext uri="{FF2B5EF4-FFF2-40B4-BE49-F238E27FC236}">
                <a16:creationId xmlns:a16="http://schemas.microsoft.com/office/drawing/2014/main" id="{CE839104-A41B-4B07-BA1E-5605ABF2134A}"/>
              </a:ext>
            </a:extLst>
          </p:cNvPr>
          <p:cNvGrpSpPr>
            <a:grpSpLocks/>
          </p:cNvGrpSpPr>
          <p:nvPr/>
        </p:nvGrpSpPr>
        <p:grpSpPr>
          <a:xfrm>
            <a:off x="7400719" y="4462045"/>
            <a:ext cx="436569" cy="419720"/>
            <a:chOff x="2511970" y="2806214"/>
            <a:chExt cx="2598626" cy="2498332"/>
          </a:xfrm>
        </p:grpSpPr>
        <p:grpSp>
          <p:nvGrpSpPr>
            <p:cNvPr id="1035" name="Google Shape;18115;p1604">
              <a:extLst>
                <a:ext uri="{FF2B5EF4-FFF2-40B4-BE49-F238E27FC236}">
                  <a16:creationId xmlns:a16="http://schemas.microsoft.com/office/drawing/2014/main" id="{4792150F-F258-4D34-AAA8-04428D9BB089}"/>
                </a:ext>
              </a:extLst>
            </p:cNvPr>
            <p:cNvGrpSpPr/>
            <p:nvPr/>
          </p:nvGrpSpPr>
          <p:grpSpPr>
            <a:xfrm>
              <a:off x="4214405" y="2806214"/>
              <a:ext cx="346511" cy="346515"/>
              <a:chOff x="1932810" y="1349835"/>
              <a:chExt cx="185335" cy="185337"/>
            </a:xfrm>
            <a:solidFill>
              <a:schemeClr val="tx2"/>
            </a:solidFill>
          </p:grpSpPr>
          <p:sp>
            <p:nvSpPr>
              <p:cNvPr id="1058" name="Google Shape;18116;p1604">
                <a:extLst>
                  <a:ext uri="{FF2B5EF4-FFF2-40B4-BE49-F238E27FC236}">
                    <a16:creationId xmlns:a16="http://schemas.microsoft.com/office/drawing/2014/main" id="{950511F2-992E-446E-9970-8BE34B2EB8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59" name="Google Shape;18117;p1604">
                <a:extLst>
                  <a:ext uri="{FF2B5EF4-FFF2-40B4-BE49-F238E27FC236}">
                    <a16:creationId xmlns:a16="http://schemas.microsoft.com/office/drawing/2014/main" id="{BECB0C29-AA0B-4639-BB0F-C2F9FA4B924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036" name="Oval 1035">
              <a:extLst>
                <a:ext uri="{FF2B5EF4-FFF2-40B4-BE49-F238E27FC236}">
                  <a16:creationId xmlns:a16="http://schemas.microsoft.com/office/drawing/2014/main" id="{EA36B98C-B0ED-4191-B71F-AC70C6BA51EF}"/>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037" name="Google Shape;18115;p1604">
              <a:extLst>
                <a:ext uri="{FF2B5EF4-FFF2-40B4-BE49-F238E27FC236}">
                  <a16:creationId xmlns:a16="http://schemas.microsoft.com/office/drawing/2014/main" id="{42D3B77D-9795-46F2-8ACE-59628D938A1F}"/>
                </a:ext>
              </a:extLst>
            </p:cNvPr>
            <p:cNvGrpSpPr/>
            <p:nvPr/>
          </p:nvGrpSpPr>
          <p:grpSpPr>
            <a:xfrm>
              <a:off x="4402332" y="4548551"/>
              <a:ext cx="346511" cy="346515"/>
              <a:chOff x="1932810" y="1349835"/>
              <a:chExt cx="185335" cy="185337"/>
            </a:xfrm>
            <a:solidFill>
              <a:schemeClr val="tx2"/>
            </a:solidFill>
          </p:grpSpPr>
          <p:sp>
            <p:nvSpPr>
              <p:cNvPr id="1056" name="Google Shape;18116;p1604">
                <a:extLst>
                  <a:ext uri="{FF2B5EF4-FFF2-40B4-BE49-F238E27FC236}">
                    <a16:creationId xmlns:a16="http://schemas.microsoft.com/office/drawing/2014/main" id="{4E0EE5C2-B4DE-4507-A460-B05DBC0CCB6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57" name="Google Shape;18117;p1604">
                <a:extLst>
                  <a:ext uri="{FF2B5EF4-FFF2-40B4-BE49-F238E27FC236}">
                    <a16:creationId xmlns:a16="http://schemas.microsoft.com/office/drawing/2014/main" id="{30F4B605-BADA-4961-94C7-DD28ED422E4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38" name="Google Shape;18115;p1604">
              <a:extLst>
                <a:ext uri="{FF2B5EF4-FFF2-40B4-BE49-F238E27FC236}">
                  <a16:creationId xmlns:a16="http://schemas.microsoft.com/office/drawing/2014/main" id="{12229608-F042-44A5-AF3F-9681F37EF7E1}"/>
                </a:ext>
              </a:extLst>
            </p:cNvPr>
            <p:cNvGrpSpPr/>
            <p:nvPr/>
          </p:nvGrpSpPr>
          <p:grpSpPr>
            <a:xfrm>
              <a:off x="3578880" y="4958031"/>
              <a:ext cx="346511" cy="346515"/>
              <a:chOff x="1932810" y="1349835"/>
              <a:chExt cx="185335" cy="185337"/>
            </a:xfrm>
            <a:solidFill>
              <a:schemeClr val="tx2"/>
            </a:solidFill>
          </p:grpSpPr>
          <p:sp>
            <p:nvSpPr>
              <p:cNvPr id="1054" name="Google Shape;18116;p1604">
                <a:extLst>
                  <a:ext uri="{FF2B5EF4-FFF2-40B4-BE49-F238E27FC236}">
                    <a16:creationId xmlns:a16="http://schemas.microsoft.com/office/drawing/2014/main" id="{BF3D3F7D-C16C-4EFC-BCFD-C8DA0B20F0E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55" name="Google Shape;18117;p1604">
                <a:extLst>
                  <a:ext uri="{FF2B5EF4-FFF2-40B4-BE49-F238E27FC236}">
                    <a16:creationId xmlns:a16="http://schemas.microsoft.com/office/drawing/2014/main" id="{B7544250-4B3F-402C-82A8-4D1D5FA58DE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39" name="Google Shape;18115;p1604">
              <a:extLst>
                <a:ext uri="{FF2B5EF4-FFF2-40B4-BE49-F238E27FC236}">
                  <a16:creationId xmlns:a16="http://schemas.microsoft.com/office/drawing/2014/main" id="{3A2D2212-7FE2-4080-AA32-49AB464872DE}"/>
                </a:ext>
              </a:extLst>
            </p:cNvPr>
            <p:cNvGrpSpPr/>
            <p:nvPr/>
          </p:nvGrpSpPr>
          <p:grpSpPr>
            <a:xfrm>
              <a:off x="2511970" y="3644968"/>
              <a:ext cx="346511" cy="346515"/>
              <a:chOff x="1932810" y="1349835"/>
              <a:chExt cx="185335" cy="185337"/>
            </a:xfrm>
            <a:solidFill>
              <a:schemeClr val="tx2"/>
            </a:solidFill>
          </p:grpSpPr>
          <p:sp>
            <p:nvSpPr>
              <p:cNvPr id="1052" name="Google Shape;18116;p1604">
                <a:extLst>
                  <a:ext uri="{FF2B5EF4-FFF2-40B4-BE49-F238E27FC236}">
                    <a16:creationId xmlns:a16="http://schemas.microsoft.com/office/drawing/2014/main" id="{22388915-100B-4E5F-A9B6-D468CE3278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53" name="Google Shape;18117;p1604">
                <a:extLst>
                  <a:ext uri="{FF2B5EF4-FFF2-40B4-BE49-F238E27FC236}">
                    <a16:creationId xmlns:a16="http://schemas.microsoft.com/office/drawing/2014/main" id="{95507088-134F-4793-8A3D-F2CFA460C33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40" name="Google Shape;18115;p1604">
              <a:extLst>
                <a:ext uri="{FF2B5EF4-FFF2-40B4-BE49-F238E27FC236}">
                  <a16:creationId xmlns:a16="http://schemas.microsoft.com/office/drawing/2014/main" id="{BBED3EB3-CECB-45D2-8270-0E3BA01DBAA6}"/>
                </a:ext>
              </a:extLst>
            </p:cNvPr>
            <p:cNvGrpSpPr/>
            <p:nvPr/>
          </p:nvGrpSpPr>
          <p:grpSpPr>
            <a:xfrm>
              <a:off x="4754363" y="4548551"/>
              <a:ext cx="346511" cy="346515"/>
              <a:chOff x="1932810" y="1349835"/>
              <a:chExt cx="185335" cy="185337"/>
            </a:xfrm>
            <a:solidFill>
              <a:schemeClr val="tx2"/>
            </a:solidFill>
          </p:grpSpPr>
          <p:sp>
            <p:nvSpPr>
              <p:cNvPr id="1050" name="Google Shape;18116;p1604">
                <a:extLst>
                  <a:ext uri="{FF2B5EF4-FFF2-40B4-BE49-F238E27FC236}">
                    <a16:creationId xmlns:a16="http://schemas.microsoft.com/office/drawing/2014/main" id="{A29DE9B3-63E1-4DAF-95EE-78172EDBC3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51" name="Google Shape;18117;p1604">
                <a:extLst>
                  <a:ext uri="{FF2B5EF4-FFF2-40B4-BE49-F238E27FC236}">
                    <a16:creationId xmlns:a16="http://schemas.microsoft.com/office/drawing/2014/main" id="{1AE3C834-4A4C-481B-AF4C-DE6AD3CCD7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41" name="Google Shape;18115;p1604">
              <a:extLst>
                <a:ext uri="{FF2B5EF4-FFF2-40B4-BE49-F238E27FC236}">
                  <a16:creationId xmlns:a16="http://schemas.microsoft.com/office/drawing/2014/main" id="{6D7B5DAB-2CB5-46A8-A9DA-7290BEC8CA34}"/>
                </a:ext>
              </a:extLst>
            </p:cNvPr>
            <p:cNvGrpSpPr/>
            <p:nvPr/>
          </p:nvGrpSpPr>
          <p:grpSpPr>
            <a:xfrm>
              <a:off x="2644688" y="4493428"/>
              <a:ext cx="346511" cy="346515"/>
              <a:chOff x="1932810" y="1349835"/>
              <a:chExt cx="185335" cy="185337"/>
            </a:xfrm>
            <a:solidFill>
              <a:schemeClr val="tx2"/>
            </a:solidFill>
          </p:grpSpPr>
          <p:sp>
            <p:nvSpPr>
              <p:cNvPr id="1048" name="Google Shape;18116;p1604">
                <a:extLst>
                  <a:ext uri="{FF2B5EF4-FFF2-40B4-BE49-F238E27FC236}">
                    <a16:creationId xmlns:a16="http://schemas.microsoft.com/office/drawing/2014/main" id="{EDDC6496-E7C1-4339-9E9B-4AF0230DD6C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49" name="Google Shape;18117;p1604">
                <a:extLst>
                  <a:ext uri="{FF2B5EF4-FFF2-40B4-BE49-F238E27FC236}">
                    <a16:creationId xmlns:a16="http://schemas.microsoft.com/office/drawing/2014/main" id="{5A1C1387-714F-4922-B9BE-D4684B7061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42" name="Google Shape;18115;p1604">
              <a:extLst>
                <a:ext uri="{FF2B5EF4-FFF2-40B4-BE49-F238E27FC236}">
                  <a16:creationId xmlns:a16="http://schemas.microsoft.com/office/drawing/2014/main" id="{8A2BD14A-AAE9-44CC-9142-64DC6C16AA8C}"/>
                </a:ext>
              </a:extLst>
            </p:cNvPr>
            <p:cNvGrpSpPr/>
            <p:nvPr/>
          </p:nvGrpSpPr>
          <p:grpSpPr>
            <a:xfrm>
              <a:off x="4764085" y="3612568"/>
              <a:ext cx="346511" cy="346515"/>
              <a:chOff x="1932810" y="1349835"/>
              <a:chExt cx="185335" cy="185337"/>
            </a:xfrm>
            <a:solidFill>
              <a:schemeClr val="tx2"/>
            </a:solidFill>
          </p:grpSpPr>
          <p:sp>
            <p:nvSpPr>
              <p:cNvPr id="1046" name="Google Shape;18116;p1604">
                <a:extLst>
                  <a:ext uri="{FF2B5EF4-FFF2-40B4-BE49-F238E27FC236}">
                    <a16:creationId xmlns:a16="http://schemas.microsoft.com/office/drawing/2014/main" id="{E865FF4D-A7DC-479C-AC12-57F24B7860D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47" name="Google Shape;18117;p1604">
                <a:extLst>
                  <a:ext uri="{FF2B5EF4-FFF2-40B4-BE49-F238E27FC236}">
                    <a16:creationId xmlns:a16="http://schemas.microsoft.com/office/drawing/2014/main" id="{E27CDB2D-FD11-407C-B57C-E1167E7C2BB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43" name="Google Shape;18115;p1604">
              <a:extLst>
                <a:ext uri="{FF2B5EF4-FFF2-40B4-BE49-F238E27FC236}">
                  <a16:creationId xmlns:a16="http://schemas.microsoft.com/office/drawing/2014/main" id="{38C1E02B-DD87-46E1-84CE-24BACB0E15FE}"/>
                </a:ext>
              </a:extLst>
            </p:cNvPr>
            <p:cNvGrpSpPr/>
            <p:nvPr/>
          </p:nvGrpSpPr>
          <p:grpSpPr>
            <a:xfrm>
              <a:off x="3091300" y="2809102"/>
              <a:ext cx="346511" cy="346515"/>
              <a:chOff x="1932810" y="1349835"/>
              <a:chExt cx="185335" cy="185337"/>
            </a:xfrm>
            <a:solidFill>
              <a:schemeClr val="tx2"/>
            </a:solidFill>
          </p:grpSpPr>
          <p:sp>
            <p:nvSpPr>
              <p:cNvPr id="1044" name="Google Shape;18116;p1604">
                <a:extLst>
                  <a:ext uri="{FF2B5EF4-FFF2-40B4-BE49-F238E27FC236}">
                    <a16:creationId xmlns:a16="http://schemas.microsoft.com/office/drawing/2014/main" id="{8F494EE4-7EE4-4B05-B015-750846F85E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45" name="Google Shape;18117;p1604">
                <a:extLst>
                  <a:ext uri="{FF2B5EF4-FFF2-40B4-BE49-F238E27FC236}">
                    <a16:creationId xmlns:a16="http://schemas.microsoft.com/office/drawing/2014/main" id="{81927A20-F7C7-4935-9116-B9ABEBACBF0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060" name="Group 1059">
            <a:extLst>
              <a:ext uri="{FF2B5EF4-FFF2-40B4-BE49-F238E27FC236}">
                <a16:creationId xmlns:a16="http://schemas.microsoft.com/office/drawing/2014/main" id="{0E5AA22A-9B9E-42A8-A3EF-3DC1966E3C1A}"/>
              </a:ext>
            </a:extLst>
          </p:cNvPr>
          <p:cNvGrpSpPr>
            <a:grpSpLocks/>
          </p:cNvGrpSpPr>
          <p:nvPr/>
        </p:nvGrpSpPr>
        <p:grpSpPr>
          <a:xfrm>
            <a:off x="7400719" y="4889283"/>
            <a:ext cx="436569" cy="419720"/>
            <a:chOff x="2511970" y="2806214"/>
            <a:chExt cx="2598626" cy="2498332"/>
          </a:xfrm>
        </p:grpSpPr>
        <p:grpSp>
          <p:nvGrpSpPr>
            <p:cNvPr id="1061" name="Google Shape;18115;p1604">
              <a:extLst>
                <a:ext uri="{FF2B5EF4-FFF2-40B4-BE49-F238E27FC236}">
                  <a16:creationId xmlns:a16="http://schemas.microsoft.com/office/drawing/2014/main" id="{FAA10635-8844-45C5-893B-8EEC9D4EF6F8}"/>
                </a:ext>
              </a:extLst>
            </p:cNvPr>
            <p:cNvGrpSpPr/>
            <p:nvPr/>
          </p:nvGrpSpPr>
          <p:grpSpPr>
            <a:xfrm>
              <a:off x="4214405" y="2806214"/>
              <a:ext cx="346511" cy="346515"/>
              <a:chOff x="1932810" y="1349835"/>
              <a:chExt cx="185335" cy="185337"/>
            </a:xfrm>
            <a:solidFill>
              <a:schemeClr val="tx2"/>
            </a:solidFill>
          </p:grpSpPr>
          <p:sp>
            <p:nvSpPr>
              <p:cNvPr id="1084" name="Google Shape;18116;p1604">
                <a:extLst>
                  <a:ext uri="{FF2B5EF4-FFF2-40B4-BE49-F238E27FC236}">
                    <a16:creationId xmlns:a16="http://schemas.microsoft.com/office/drawing/2014/main" id="{C4CC1CAF-F7E8-4284-B694-7D5705E8B42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85" name="Google Shape;18117;p1604">
                <a:extLst>
                  <a:ext uri="{FF2B5EF4-FFF2-40B4-BE49-F238E27FC236}">
                    <a16:creationId xmlns:a16="http://schemas.microsoft.com/office/drawing/2014/main" id="{48D0B323-E68F-444C-BC04-74D17D60A79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062" name="Oval 1061">
              <a:extLst>
                <a:ext uri="{FF2B5EF4-FFF2-40B4-BE49-F238E27FC236}">
                  <a16:creationId xmlns:a16="http://schemas.microsoft.com/office/drawing/2014/main" id="{78D0994F-E873-4637-BDA9-8D4C88BDE050}"/>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063" name="Google Shape;18115;p1604">
              <a:extLst>
                <a:ext uri="{FF2B5EF4-FFF2-40B4-BE49-F238E27FC236}">
                  <a16:creationId xmlns:a16="http://schemas.microsoft.com/office/drawing/2014/main" id="{770F3B18-10BF-4415-B35E-E15E18F4C1AA}"/>
                </a:ext>
              </a:extLst>
            </p:cNvPr>
            <p:cNvGrpSpPr/>
            <p:nvPr/>
          </p:nvGrpSpPr>
          <p:grpSpPr>
            <a:xfrm>
              <a:off x="4402332" y="4548551"/>
              <a:ext cx="346511" cy="346515"/>
              <a:chOff x="1932810" y="1349835"/>
              <a:chExt cx="185335" cy="185337"/>
            </a:xfrm>
            <a:solidFill>
              <a:schemeClr val="tx2"/>
            </a:solidFill>
          </p:grpSpPr>
          <p:sp>
            <p:nvSpPr>
              <p:cNvPr id="1082" name="Google Shape;18116;p1604">
                <a:extLst>
                  <a:ext uri="{FF2B5EF4-FFF2-40B4-BE49-F238E27FC236}">
                    <a16:creationId xmlns:a16="http://schemas.microsoft.com/office/drawing/2014/main" id="{31DEE945-059B-4C1E-AEC0-4C9B0A18D7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83" name="Google Shape;18117;p1604">
                <a:extLst>
                  <a:ext uri="{FF2B5EF4-FFF2-40B4-BE49-F238E27FC236}">
                    <a16:creationId xmlns:a16="http://schemas.microsoft.com/office/drawing/2014/main" id="{D6C85E1E-DA38-4A5A-8860-442FD76C3B6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64" name="Google Shape;18115;p1604">
              <a:extLst>
                <a:ext uri="{FF2B5EF4-FFF2-40B4-BE49-F238E27FC236}">
                  <a16:creationId xmlns:a16="http://schemas.microsoft.com/office/drawing/2014/main" id="{D6B03806-A4F4-4408-89A0-4AD6F856E715}"/>
                </a:ext>
              </a:extLst>
            </p:cNvPr>
            <p:cNvGrpSpPr/>
            <p:nvPr/>
          </p:nvGrpSpPr>
          <p:grpSpPr>
            <a:xfrm>
              <a:off x="3578880" y="4958031"/>
              <a:ext cx="346511" cy="346515"/>
              <a:chOff x="1932810" y="1349835"/>
              <a:chExt cx="185335" cy="185337"/>
            </a:xfrm>
            <a:solidFill>
              <a:schemeClr val="tx2"/>
            </a:solidFill>
          </p:grpSpPr>
          <p:sp>
            <p:nvSpPr>
              <p:cNvPr id="1080" name="Google Shape;18116;p1604">
                <a:extLst>
                  <a:ext uri="{FF2B5EF4-FFF2-40B4-BE49-F238E27FC236}">
                    <a16:creationId xmlns:a16="http://schemas.microsoft.com/office/drawing/2014/main" id="{9BCEEDA8-474A-4855-AA5B-D07F79FA83F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81" name="Google Shape;18117;p1604">
                <a:extLst>
                  <a:ext uri="{FF2B5EF4-FFF2-40B4-BE49-F238E27FC236}">
                    <a16:creationId xmlns:a16="http://schemas.microsoft.com/office/drawing/2014/main" id="{A61A16A3-C916-4199-BA7C-7E6FA5A2AC2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65" name="Google Shape;18115;p1604">
              <a:extLst>
                <a:ext uri="{FF2B5EF4-FFF2-40B4-BE49-F238E27FC236}">
                  <a16:creationId xmlns:a16="http://schemas.microsoft.com/office/drawing/2014/main" id="{E1A0B02B-9CD8-4F4A-843F-C6ECD9309215}"/>
                </a:ext>
              </a:extLst>
            </p:cNvPr>
            <p:cNvGrpSpPr/>
            <p:nvPr/>
          </p:nvGrpSpPr>
          <p:grpSpPr>
            <a:xfrm>
              <a:off x="2511970" y="3644968"/>
              <a:ext cx="346511" cy="346515"/>
              <a:chOff x="1932810" y="1349835"/>
              <a:chExt cx="185335" cy="185337"/>
            </a:xfrm>
            <a:solidFill>
              <a:schemeClr val="tx2"/>
            </a:solidFill>
          </p:grpSpPr>
          <p:sp>
            <p:nvSpPr>
              <p:cNvPr id="1078" name="Google Shape;18116;p1604">
                <a:extLst>
                  <a:ext uri="{FF2B5EF4-FFF2-40B4-BE49-F238E27FC236}">
                    <a16:creationId xmlns:a16="http://schemas.microsoft.com/office/drawing/2014/main" id="{E6F528DB-FCA2-4822-AA37-1AEAEBB70A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79" name="Google Shape;18117;p1604">
                <a:extLst>
                  <a:ext uri="{FF2B5EF4-FFF2-40B4-BE49-F238E27FC236}">
                    <a16:creationId xmlns:a16="http://schemas.microsoft.com/office/drawing/2014/main" id="{C51B890F-3D1B-4596-A488-95F5634850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66" name="Google Shape;18115;p1604">
              <a:extLst>
                <a:ext uri="{FF2B5EF4-FFF2-40B4-BE49-F238E27FC236}">
                  <a16:creationId xmlns:a16="http://schemas.microsoft.com/office/drawing/2014/main" id="{77A75117-2AA2-4E4D-AB63-284997E0FA4A}"/>
                </a:ext>
              </a:extLst>
            </p:cNvPr>
            <p:cNvGrpSpPr/>
            <p:nvPr/>
          </p:nvGrpSpPr>
          <p:grpSpPr>
            <a:xfrm>
              <a:off x="4754363" y="4548551"/>
              <a:ext cx="346511" cy="346515"/>
              <a:chOff x="1932810" y="1349835"/>
              <a:chExt cx="185335" cy="185337"/>
            </a:xfrm>
            <a:solidFill>
              <a:schemeClr val="tx2"/>
            </a:solidFill>
          </p:grpSpPr>
          <p:sp>
            <p:nvSpPr>
              <p:cNvPr id="1076" name="Google Shape;18116;p1604">
                <a:extLst>
                  <a:ext uri="{FF2B5EF4-FFF2-40B4-BE49-F238E27FC236}">
                    <a16:creationId xmlns:a16="http://schemas.microsoft.com/office/drawing/2014/main" id="{058B27E6-700C-4910-BEFE-6FE5A0A4B9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77" name="Google Shape;18117;p1604">
                <a:extLst>
                  <a:ext uri="{FF2B5EF4-FFF2-40B4-BE49-F238E27FC236}">
                    <a16:creationId xmlns:a16="http://schemas.microsoft.com/office/drawing/2014/main" id="{C6BD5D60-B4DC-45E1-BDED-8263F9EFBA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67" name="Google Shape;18115;p1604">
              <a:extLst>
                <a:ext uri="{FF2B5EF4-FFF2-40B4-BE49-F238E27FC236}">
                  <a16:creationId xmlns:a16="http://schemas.microsoft.com/office/drawing/2014/main" id="{C69DF8A5-7967-405D-B68B-B82295F36009}"/>
                </a:ext>
              </a:extLst>
            </p:cNvPr>
            <p:cNvGrpSpPr/>
            <p:nvPr/>
          </p:nvGrpSpPr>
          <p:grpSpPr>
            <a:xfrm>
              <a:off x="2644688" y="4493428"/>
              <a:ext cx="346511" cy="346515"/>
              <a:chOff x="1932810" y="1349835"/>
              <a:chExt cx="185335" cy="185337"/>
            </a:xfrm>
            <a:solidFill>
              <a:schemeClr val="tx2"/>
            </a:solidFill>
          </p:grpSpPr>
          <p:sp>
            <p:nvSpPr>
              <p:cNvPr id="1074" name="Google Shape;18116;p1604">
                <a:extLst>
                  <a:ext uri="{FF2B5EF4-FFF2-40B4-BE49-F238E27FC236}">
                    <a16:creationId xmlns:a16="http://schemas.microsoft.com/office/drawing/2014/main" id="{022016CB-E13A-4DA7-AE97-AC1547B5E6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75" name="Google Shape;18117;p1604">
                <a:extLst>
                  <a:ext uri="{FF2B5EF4-FFF2-40B4-BE49-F238E27FC236}">
                    <a16:creationId xmlns:a16="http://schemas.microsoft.com/office/drawing/2014/main" id="{77FC1E7E-E274-4F78-9E4E-AB29716C66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68" name="Google Shape;18115;p1604">
              <a:extLst>
                <a:ext uri="{FF2B5EF4-FFF2-40B4-BE49-F238E27FC236}">
                  <a16:creationId xmlns:a16="http://schemas.microsoft.com/office/drawing/2014/main" id="{A77D785D-4C41-47B0-A6A3-516F018B083E}"/>
                </a:ext>
              </a:extLst>
            </p:cNvPr>
            <p:cNvGrpSpPr/>
            <p:nvPr/>
          </p:nvGrpSpPr>
          <p:grpSpPr>
            <a:xfrm>
              <a:off x="4764085" y="3612568"/>
              <a:ext cx="346511" cy="346515"/>
              <a:chOff x="1932810" y="1349835"/>
              <a:chExt cx="185335" cy="185337"/>
            </a:xfrm>
            <a:solidFill>
              <a:schemeClr val="tx2"/>
            </a:solidFill>
          </p:grpSpPr>
          <p:sp>
            <p:nvSpPr>
              <p:cNvPr id="1072" name="Google Shape;18116;p1604">
                <a:extLst>
                  <a:ext uri="{FF2B5EF4-FFF2-40B4-BE49-F238E27FC236}">
                    <a16:creationId xmlns:a16="http://schemas.microsoft.com/office/drawing/2014/main" id="{FD485936-60C9-4D76-AE0D-AC1B2C06C6D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73" name="Google Shape;18117;p1604">
                <a:extLst>
                  <a:ext uri="{FF2B5EF4-FFF2-40B4-BE49-F238E27FC236}">
                    <a16:creationId xmlns:a16="http://schemas.microsoft.com/office/drawing/2014/main" id="{E064EEC9-54B5-405F-895F-8838E76B257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69" name="Google Shape;18115;p1604">
              <a:extLst>
                <a:ext uri="{FF2B5EF4-FFF2-40B4-BE49-F238E27FC236}">
                  <a16:creationId xmlns:a16="http://schemas.microsoft.com/office/drawing/2014/main" id="{F18AB006-D9CB-4E92-9783-D3465D851DAF}"/>
                </a:ext>
              </a:extLst>
            </p:cNvPr>
            <p:cNvGrpSpPr/>
            <p:nvPr/>
          </p:nvGrpSpPr>
          <p:grpSpPr>
            <a:xfrm>
              <a:off x="3091300" y="2809102"/>
              <a:ext cx="346511" cy="346515"/>
              <a:chOff x="1932810" y="1349835"/>
              <a:chExt cx="185335" cy="185337"/>
            </a:xfrm>
            <a:solidFill>
              <a:schemeClr val="tx2"/>
            </a:solidFill>
          </p:grpSpPr>
          <p:sp>
            <p:nvSpPr>
              <p:cNvPr id="1070" name="Google Shape;18116;p1604">
                <a:extLst>
                  <a:ext uri="{FF2B5EF4-FFF2-40B4-BE49-F238E27FC236}">
                    <a16:creationId xmlns:a16="http://schemas.microsoft.com/office/drawing/2014/main" id="{D835B1E8-8FB2-4A3B-8F46-C01E4B8F6F0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71" name="Google Shape;18117;p1604">
                <a:extLst>
                  <a:ext uri="{FF2B5EF4-FFF2-40B4-BE49-F238E27FC236}">
                    <a16:creationId xmlns:a16="http://schemas.microsoft.com/office/drawing/2014/main" id="{B3CC2215-15CE-44E7-9F81-F2AAC49BF13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086" name="Google Shape;18115;p1604">
            <a:extLst>
              <a:ext uri="{FF2B5EF4-FFF2-40B4-BE49-F238E27FC236}">
                <a16:creationId xmlns:a16="http://schemas.microsoft.com/office/drawing/2014/main" id="{58C85CEA-CD9E-4255-BD42-484B3F80E9AF}"/>
              </a:ext>
            </a:extLst>
          </p:cNvPr>
          <p:cNvGrpSpPr/>
          <p:nvPr/>
        </p:nvGrpSpPr>
        <p:grpSpPr>
          <a:xfrm>
            <a:off x="7121631" y="4053827"/>
            <a:ext cx="193423" cy="193425"/>
            <a:chOff x="1932810" y="1349835"/>
            <a:chExt cx="185335" cy="185337"/>
          </a:xfrm>
          <a:solidFill>
            <a:schemeClr val="tx2"/>
          </a:solidFill>
        </p:grpSpPr>
        <p:sp>
          <p:nvSpPr>
            <p:cNvPr id="1087" name="Google Shape;18116;p1604">
              <a:extLst>
                <a:ext uri="{FF2B5EF4-FFF2-40B4-BE49-F238E27FC236}">
                  <a16:creationId xmlns:a16="http://schemas.microsoft.com/office/drawing/2014/main" id="{905E3552-0555-4B4D-8270-1086E5C037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88" name="Google Shape;18117;p1604">
              <a:extLst>
                <a:ext uri="{FF2B5EF4-FFF2-40B4-BE49-F238E27FC236}">
                  <a16:creationId xmlns:a16="http://schemas.microsoft.com/office/drawing/2014/main" id="{5A86E482-FC7F-4882-882A-3185B9FA91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89" name="Google Shape;18115;p1604">
            <a:extLst>
              <a:ext uri="{FF2B5EF4-FFF2-40B4-BE49-F238E27FC236}">
                <a16:creationId xmlns:a16="http://schemas.microsoft.com/office/drawing/2014/main" id="{409DA6F0-E5AC-4300-A54A-A37E7E120B4B}"/>
              </a:ext>
            </a:extLst>
          </p:cNvPr>
          <p:cNvGrpSpPr/>
          <p:nvPr/>
        </p:nvGrpSpPr>
        <p:grpSpPr>
          <a:xfrm>
            <a:off x="7514572" y="4053827"/>
            <a:ext cx="193423" cy="193425"/>
            <a:chOff x="1932810" y="1349835"/>
            <a:chExt cx="185335" cy="185337"/>
          </a:xfrm>
          <a:solidFill>
            <a:schemeClr val="tx2"/>
          </a:solidFill>
        </p:grpSpPr>
        <p:sp>
          <p:nvSpPr>
            <p:cNvPr id="1090" name="Google Shape;18116;p1604">
              <a:extLst>
                <a:ext uri="{FF2B5EF4-FFF2-40B4-BE49-F238E27FC236}">
                  <a16:creationId xmlns:a16="http://schemas.microsoft.com/office/drawing/2014/main" id="{F023E6EF-7460-4781-A0EA-E5FFDE6CEDC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91" name="Google Shape;18117;p1604">
              <a:extLst>
                <a:ext uri="{FF2B5EF4-FFF2-40B4-BE49-F238E27FC236}">
                  <a16:creationId xmlns:a16="http://schemas.microsoft.com/office/drawing/2014/main" id="{0532078A-1B08-4CEB-A807-24096DD96A1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092" name="Rectangle 1091">
            <a:extLst>
              <a:ext uri="{FF2B5EF4-FFF2-40B4-BE49-F238E27FC236}">
                <a16:creationId xmlns:a16="http://schemas.microsoft.com/office/drawing/2014/main" id="{F2261A6C-F757-481D-9A85-C99EE56705ED}"/>
              </a:ext>
            </a:extLst>
          </p:cNvPr>
          <p:cNvSpPr/>
          <p:nvPr/>
        </p:nvSpPr>
        <p:spPr>
          <a:xfrm>
            <a:off x="7390395" y="376716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PM</a:t>
            </a:r>
          </a:p>
        </p:txBody>
      </p:sp>
      <p:sp>
        <p:nvSpPr>
          <p:cNvPr id="1093" name="Rectangle 1092">
            <a:extLst>
              <a:ext uri="{FF2B5EF4-FFF2-40B4-BE49-F238E27FC236}">
                <a16:creationId xmlns:a16="http://schemas.microsoft.com/office/drawing/2014/main" id="{6EB70190-A9D3-4683-8E70-9D9EB05FE188}"/>
              </a:ext>
            </a:extLst>
          </p:cNvPr>
          <p:cNvSpPr/>
          <p:nvPr/>
        </p:nvSpPr>
        <p:spPr>
          <a:xfrm>
            <a:off x="6930121" y="3767164"/>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1094" name="Rectangle 1093">
            <a:extLst>
              <a:ext uri="{FF2B5EF4-FFF2-40B4-BE49-F238E27FC236}">
                <a16:creationId xmlns:a16="http://schemas.microsoft.com/office/drawing/2014/main" id="{37C49618-361B-42D2-A1C1-81A28846B939}"/>
              </a:ext>
            </a:extLst>
          </p:cNvPr>
          <p:cNvSpPr/>
          <p:nvPr/>
        </p:nvSpPr>
        <p:spPr>
          <a:xfrm>
            <a:off x="8779303" y="3309168"/>
            <a:ext cx="977139" cy="2000405"/>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a:solidFill>
                  <a:srgbClr val="55555A"/>
                </a:solidFill>
              </a:rPr>
              <a:t>Digital Product F</a:t>
            </a:r>
          </a:p>
        </p:txBody>
      </p:sp>
      <p:grpSp>
        <p:nvGrpSpPr>
          <p:cNvPr id="1095" name="Group 1094">
            <a:extLst>
              <a:ext uri="{FF2B5EF4-FFF2-40B4-BE49-F238E27FC236}">
                <a16:creationId xmlns:a16="http://schemas.microsoft.com/office/drawing/2014/main" id="{642B002A-4DAA-4B77-874B-C8F9476327CC}"/>
              </a:ext>
            </a:extLst>
          </p:cNvPr>
          <p:cNvGrpSpPr>
            <a:grpSpLocks/>
          </p:cNvGrpSpPr>
          <p:nvPr/>
        </p:nvGrpSpPr>
        <p:grpSpPr>
          <a:xfrm>
            <a:off x="8848630" y="4707433"/>
            <a:ext cx="436569" cy="419720"/>
            <a:chOff x="2511970" y="2806214"/>
            <a:chExt cx="2598626" cy="2498332"/>
          </a:xfrm>
        </p:grpSpPr>
        <p:grpSp>
          <p:nvGrpSpPr>
            <p:cNvPr id="1096" name="Google Shape;18115;p1604">
              <a:extLst>
                <a:ext uri="{FF2B5EF4-FFF2-40B4-BE49-F238E27FC236}">
                  <a16:creationId xmlns:a16="http://schemas.microsoft.com/office/drawing/2014/main" id="{57E35B7F-7A28-436F-BBA5-DF55ADB0AFAB}"/>
                </a:ext>
              </a:extLst>
            </p:cNvPr>
            <p:cNvGrpSpPr/>
            <p:nvPr/>
          </p:nvGrpSpPr>
          <p:grpSpPr>
            <a:xfrm>
              <a:off x="4214405" y="2806214"/>
              <a:ext cx="346511" cy="346515"/>
              <a:chOff x="1932810" y="1349835"/>
              <a:chExt cx="185335" cy="185337"/>
            </a:xfrm>
            <a:solidFill>
              <a:schemeClr val="tx2"/>
            </a:solidFill>
          </p:grpSpPr>
          <p:sp>
            <p:nvSpPr>
              <p:cNvPr id="1119" name="Google Shape;18116;p1604">
                <a:extLst>
                  <a:ext uri="{FF2B5EF4-FFF2-40B4-BE49-F238E27FC236}">
                    <a16:creationId xmlns:a16="http://schemas.microsoft.com/office/drawing/2014/main" id="{1BDEFFE9-8E3F-4C65-A8E0-FD47287B41B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20" name="Google Shape;18117;p1604">
                <a:extLst>
                  <a:ext uri="{FF2B5EF4-FFF2-40B4-BE49-F238E27FC236}">
                    <a16:creationId xmlns:a16="http://schemas.microsoft.com/office/drawing/2014/main" id="{6069851B-731A-4891-936D-E28905E26E3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097" name="Oval 1096">
              <a:extLst>
                <a:ext uri="{FF2B5EF4-FFF2-40B4-BE49-F238E27FC236}">
                  <a16:creationId xmlns:a16="http://schemas.microsoft.com/office/drawing/2014/main" id="{4D6098DC-19C4-419F-82A5-F61DFC602D30}"/>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098" name="Google Shape;18115;p1604">
              <a:extLst>
                <a:ext uri="{FF2B5EF4-FFF2-40B4-BE49-F238E27FC236}">
                  <a16:creationId xmlns:a16="http://schemas.microsoft.com/office/drawing/2014/main" id="{D4924792-E691-45B6-BD74-50857F65076B}"/>
                </a:ext>
              </a:extLst>
            </p:cNvPr>
            <p:cNvGrpSpPr/>
            <p:nvPr/>
          </p:nvGrpSpPr>
          <p:grpSpPr>
            <a:xfrm>
              <a:off x="4402332" y="4548551"/>
              <a:ext cx="346511" cy="346515"/>
              <a:chOff x="1932810" y="1349835"/>
              <a:chExt cx="185335" cy="185337"/>
            </a:xfrm>
            <a:solidFill>
              <a:schemeClr val="tx2"/>
            </a:solidFill>
          </p:grpSpPr>
          <p:sp>
            <p:nvSpPr>
              <p:cNvPr id="1117" name="Google Shape;18116;p1604">
                <a:extLst>
                  <a:ext uri="{FF2B5EF4-FFF2-40B4-BE49-F238E27FC236}">
                    <a16:creationId xmlns:a16="http://schemas.microsoft.com/office/drawing/2014/main" id="{D9276975-5C38-4A58-983F-37460802BFE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18" name="Google Shape;18117;p1604">
                <a:extLst>
                  <a:ext uri="{FF2B5EF4-FFF2-40B4-BE49-F238E27FC236}">
                    <a16:creationId xmlns:a16="http://schemas.microsoft.com/office/drawing/2014/main" id="{B368D6C3-455D-4E5B-943C-B5357784F6B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99" name="Google Shape;18115;p1604">
              <a:extLst>
                <a:ext uri="{FF2B5EF4-FFF2-40B4-BE49-F238E27FC236}">
                  <a16:creationId xmlns:a16="http://schemas.microsoft.com/office/drawing/2014/main" id="{2F93CF92-CEB5-43BB-B40A-85A9ABB8EB9B}"/>
                </a:ext>
              </a:extLst>
            </p:cNvPr>
            <p:cNvGrpSpPr/>
            <p:nvPr/>
          </p:nvGrpSpPr>
          <p:grpSpPr>
            <a:xfrm>
              <a:off x="3578880" y="4958031"/>
              <a:ext cx="346511" cy="346515"/>
              <a:chOff x="1932810" y="1349835"/>
              <a:chExt cx="185335" cy="185337"/>
            </a:xfrm>
            <a:solidFill>
              <a:schemeClr val="tx2"/>
            </a:solidFill>
          </p:grpSpPr>
          <p:sp>
            <p:nvSpPr>
              <p:cNvPr id="1115" name="Google Shape;18116;p1604">
                <a:extLst>
                  <a:ext uri="{FF2B5EF4-FFF2-40B4-BE49-F238E27FC236}">
                    <a16:creationId xmlns:a16="http://schemas.microsoft.com/office/drawing/2014/main" id="{971A6487-C53E-4148-86CA-762034951C6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16" name="Google Shape;18117;p1604">
                <a:extLst>
                  <a:ext uri="{FF2B5EF4-FFF2-40B4-BE49-F238E27FC236}">
                    <a16:creationId xmlns:a16="http://schemas.microsoft.com/office/drawing/2014/main" id="{3C55E2D7-AABD-4B4E-B19D-B3264FF0C3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00" name="Google Shape;18115;p1604">
              <a:extLst>
                <a:ext uri="{FF2B5EF4-FFF2-40B4-BE49-F238E27FC236}">
                  <a16:creationId xmlns:a16="http://schemas.microsoft.com/office/drawing/2014/main" id="{B57347AC-721D-44F1-8AB7-76B1DF318357}"/>
                </a:ext>
              </a:extLst>
            </p:cNvPr>
            <p:cNvGrpSpPr/>
            <p:nvPr/>
          </p:nvGrpSpPr>
          <p:grpSpPr>
            <a:xfrm>
              <a:off x="2511970" y="3644968"/>
              <a:ext cx="346511" cy="346515"/>
              <a:chOff x="1932810" y="1349835"/>
              <a:chExt cx="185335" cy="185337"/>
            </a:xfrm>
            <a:solidFill>
              <a:schemeClr val="tx2"/>
            </a:solidFill>
          </p:grpSpPr>
          <p:sp>
            <p:nvSpPr>
              <p:cNvPr id="1113" name="Google Shape;18116;p1604">
                <a:extLst>
                  <a:ext uri="{FF2B5EF4-FFF2-40B4-BE49-F238E27FC236}">
                    <a16:creationId xmlns:a16="http://schemas.microsoft.com/office/drawing/2014/main" id="{2AC4CE6C-2D83-406B-BF84-4B3AB2F438A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14" name="Google Shape;18117;p1604">
                <a:extLst>
                  <a:ext uri="{FF2B5EF4-FFF2-40B4-BE49-F238E27FC236}">
                    <a16:creationId xmlns:a16="http://schemas.microsoft.com/office/drawing/2014/main" id="{BCABCE55-E345-4B1E-96C7-CF06DD9F84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01" name="Google Shape;18115;p1604">
              <a:extLst>
                <a:ext uri="{FF2B5EF4-FFF2-40B4-BE49-F238E27FC236}">
                  <a16:creationId xmlns:a16="http://schemas.microsoft.com/office/drawing/2014/main" id="{AD03D3F2-8DD6-41C9-9ECE-FC9AD7ACA55F}"/>
                </a:ext>
              </a:extLst>
            </p:cNvPr>
            <p:cNvGrpSpPr/>
            <p:nvPr/>
          </p:nvGrpSpPr>
          <p:grpSpPr>
            <a:xfrm>
              <a:off x="4754363" y="4548551"/>
              <a:ext cx="346511" cy="346515"/>
              <a:chOff x="1932810" y="1349835"/>
              <a:chExt cx="185335" cy="185337"/>
            </a:xfrm>
            <a:solidFill>
              <a:schemeClr val="tx2"/>
            </a:solidFill>
          </p:grpSpPr>
          <p:sp>
            <p:nvSpPr>
              <p:cNvPr id="1111" name="Google Shape;18116;p1604">
                <a:extLst>
                  <a:ext uri="{FF2B5EF4-FFF2-40B4-BE49-F238E27FC236}">
                    <a16:creationId xmlns:a16="http://schemas.microsoft.com/office/drawing/2014/main" id="{C76DE72E-EA57-41D6-B30A-9E6BFE3782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12" name="Google Shape;18117;p1604">
                <a:extLst>
                  <a:ext uri="{FF2B5EF4-FFF2-40B4-BE49-F238E27FC236}">
                    <a16:creationId xmlns:a16="http://schemas.microsoft.com/office/drawing/2014/main" id="{5996EF9A-F582-41CC-AC98-894E84E2F4E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02" name="Google Shape;18115;p1604">
              <a:extLst>
                <a:ext uri="{FF2B5EF4-FFF2-40B4-BE49-F238E27FC236}">
                  <a16:creationId xmlns:a16="http://schemas.microsoft.com/office/drawing/2014/main" id="{1B14C835-77A2-4923-A0FD-B1C3D6B955FB}"/>
                </a:ext>
              </a:extLst>
            </p:cNvPr>
            <p:cNvGrpSpPr/>
            <p:nvPr/>
          </p:nvGrpSpPr>
          <p:grpSpPr>
            <a:xfrm>
              <a:off x="2644688" y="4493428"/>
              <a:ext cx="346511" cy="346515"/>
              <a:chOff x="1932810" y="1349835"/>
              <a:chExt cx="185335" cy="185337"/>
            </a:xfrm>
            <a:solidFill>
              <a:schemeClr val="tx2"/>
            </a:solidFill>
          </p:grpSpPr>
          <p:sp>
            <p:nvSpPr>
              <p:cNvPr id="1109" name="Google Shape;18116;p1604">
                <a:extLst>
                  <a:ext uri="{FF2B5EF4-FFF2-40B4-BE49-F238E27FC236}">
                    <a16:creationId xmlns:a16="http://schemas.microsoft.com/office/drawing/2014/main" id="{3E99E243-AF93-4AEC-8BC7-08C028BDBB2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10" name="Google Shape;18117;p1604">
                <a:extLst>
                  <a:ext uri="{FF2B5EF4-FFF2-40B4-BE49-F238E27FC236}">
                    <a16:creationId xmlns:a16="http://schemas.microsoft.com/office/drawing/2014/main" id="{A68E06D5-0BB3-450D-B36A-65F38FC4CC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03" name="Google Shape;18115;p1604">
              <a:extLst>
                <a:ext uri="{FF2B5EF4-FFF2-40B4-BE49-F238E27FC236}">
                  <a16:creationId xmlns:a16="http://schemas.microsoft.com/office/drawing/2014/main" id="{131826A2-3C17-403B-9C73-BA71F04EC3EC}"/>
                </a:ext>
              </a:extLst>
            </p:cNvPr>
            <p:cNvGrpSpPr/>
            <p:nvPr/>
          </p:nvGrpSpPr>
          <p:grpSpPr>
            <a:xfrm>
              <a:off x="4764085" y="3612568"/>
              <a:ext cx="346511" cy="346515"/>
              <a:chOff x="1932810" y="1349835"/>
              <a:chExt cx="185335" cy="185337"/>
            </a:xfrm>
            <a:solidFill>
              <a:schemeClr val="tx2"/>
            </a:solidFill>
          </p:grpSpPr>
          <p:sp>
            <p:nvSpPr>
              <p:cNvPr id="1107" name="Google Shape;18116;p1604">
                <a:extLst>
                  <a:ext uri="{FF2B5EF4-FFF2-40B4-BE49-F238E27FC236}">
                    <a16:creationId xmlns:a16="http://schemas.microsoft.com/office/drawing/2014/main" id="{7F1919A6-BA37-4A1F-AF17-EE084BE91DF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08" name="Google Shape;18117;p1604">
                <a:extLst>
                  <a:ext uri="{FF2B5EF4-FFF2-40B4-BE49-F238E27FC236}">
                    <a16:creationId xmlns:a16="http://schemas.microsoft.com/office/drawing/2014/main" id="{0170D9DA-3292-4A42-AD64-36F7D3D758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04" name="Google Shape;18115;p1604">
              <a:extLst>
                <a:ext uri="{FF2B5EF4-FFF2-40B4-BE49-F238E27FC236}">
                  <a16:creationId xmlns:a16="http://schemas.microsoft.com/office/drawing/2014/main" id="{A3ED49DB-62BA-45A0-815D-546555A93339}"/>
                </a:ext>
              </a:extLst>
            </p:cNvPr>
            <p:cNvGrpSpPr/>
            <p:nvPr/>
          </p:nvGrpSpPr>
          <p:grpSpPr>
            <a:xfrm>
              <a:off x="3091300" y="2809102"/>
              <a:ext cx="346511" cy="346515"/>
              <a:chOff x="1932810" y="1349835"/>
              <a:chExt cx="185335" cy="185337"/>
            </a:xfrm>
            <a:solidFill>
              <a:schemeClr val="tx2"/>
            </a:solidFill>
          </p:grpSpPr>
          <p:sp>
            <p:nvSpPr>
              <p:cNvPr id="1105" name="Google Shape;18116;p1604">
                <a:extLst>
                  <a:ext uri="{FF2B5EF4-FFF2-40B4-BE49-F238E27FC236}">
                    <a16:creationId xmlns:a16="http://schemas.microsoft.com/office/drawing/2014/main" id="{C9EDE37A-D00E-43F6-8C8D-DE82821933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06" name="Google Shape;18117;p1604">
                <a:extLst>
                  <a:ext uri="{FF2B5EF4-FFF2-40B4-BE49-F238E27FC236}">
                    <a16:creationId xmlns:a16="http://schemas.microsoft.com/office/drawing/2014/main" id="{CF99DA9A-8C86-4B7C-9A51-3481912174D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121" name="Group 1120">
            <a:extLst>
              <a:ext uri="{FF2B5EF4-FFF2-40B4-BE49-F238E27FC236}">
                <a16:creationId xmlns:a16="http://schemas.microsoft.com/office/drawing/2014/main" id="{C324D432-B1D5-4499-AA66-12B0E345BB7F}"/>
              </a:ext>
            </a:extLst>
          </p:cNvPr>
          <p:cNvGrpSpPr>
            <a:grpSpLocks/>
          </p:cNvGrpSpPr>
          <p:nvPr/>
        </p:nvGrpSpPr>
        <p:grpSpPr>
          <a:xfrm>
            <a:off x="9241678" y="4462045"/>
            <a:ext cx="436569" cy="419720"/>
            <a:chOff x="2511970" y="2806214"/>
            <a:chExt cx="2598626" cy="2498332"/>
          </a:xfrm>
        </p:grpSpPr>
        <p:grpSp>
          <p:nvGrpSpPr>
            <p:cNvPr id="1122" name="Google Shape;18115;p1604">
              <a:extLst>
                <a:ext uri="{FF2B5EF4-FFF2-40B4-BE49-F238E27FC236}">
                  <a16:creationId xmlns:a16="http://schemas.microsoft.com/office/drawing/2014/main" id="{F397FA06-64F8-4B8D-A5E7-3FDD67F3E17E}"/>
                </a:ext>
              </a:extLst>
            </p:cNvPr>
            <p:cNvGrpSpPr/>
            <p:nvPr/>
          </p:nvGrpSpPr>
          <p:grpSpPr>
            <a:xfrm>
              <a:off x="4214405" y="2806214"/>
              <a:ext cx="346511" cy="346515"/>
              <a:chOff x="1932810" y="1349835"/>
              <a:chExt cx="185335" cy="185337"/>
            </a:xfrm>
            <a:solidFill>
              <a:schemeClr val="tx2"/>
            </a:solidFill>
          </p:grpSpPr>
          <p:sp>
            <p:nvSpPr>
              <p:cNvPr id="1145" name="Google Shape;18116;p1604">
                <a:extLst>
                  <a:ext uri="{FF2B5EF4-FFF2-40B4-BE49-F238E27FC236}">
                    <a16:creationId xmlns:a16="http://schemas.microsoft.com/office/drawing/2014/main" id="{17F3F6E4-966E-4A44-B9AF-79E3A0C0E9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46" name="Google Shape;18117;p1604">
                <a:extLst>
                  <a:ext uri="{FF2B5EF4-FFF2-40B4-BE49-F238E27FC236}">
                    <a16:creationId xmlns:a16="http://schemas.microsoft.com/office/drawing/2014/main" id="{B15E1236-AFFC-494E-888A-DC593F1B6BE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123" name="Oval 1122">
              <a:extLst>
                <a:ext uri="{FF2B5EF4-FFF2-40B4-BE49-F238E27FC236}">
                  <a16:creationId xmlns:a16="http://schemas.microsoft.com/office/drawing/2014/main" id="{BD394A2A-3AF1-4F02-B2A6-9A5135EA5DBA}"/>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124" name="Google Shape;18115;p1604">
              <a:extLst>
                <a:ext uri="{FF2B5EF4-FFF2-40B4-BE49-F238E27FC236}">
                  <a16:creationId xmlns:a16="http://schemas.microsoft.com/office/drawing/2014/main" id="{B1E07192-0AA3-43E4-A900-D77152563D7F}"/>
                </a:ext>
              </a:extLst>
            </p:cNvPr>
            <p:cNvGrpSpPr/>
            <p:nvPr/>
          </p:nvGrpSpPr>
          <p:grpSpPr>
            <a:xfrm>
              <a:off x="4402332" y="4548551"/>
              <a:ext cx="346511" cy="346515"/>
              <a:chOff x="1932810" y="1349835"/>
              <a:chExt cx="185335" cy="185337"/>
            </a:xfrm>
            <a:solidFill>
              <a:schemeClr val="tx2"/>
            </a:solidFill>
          </p:grpSpPr>
          <p:sp>
            <p:nvSpPr>
              <p:cNvPr id="1143" name="Google Shape;18116;p1604">
                <a:extLst>
                  <a:ext uri="{FF2B5EF4-FFF2-40B4-BE49-F238E27FC236}">
                    <a16:creationId xmlns:a16="http://schemas.microsoft.com/office/drawing/2014/main" id="{02828152-DB13-400F-9645-A8C02B90B9D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44" name="Google Shape;18117;p1604">
                <a:extLst>
                  <a:ext uri="{FF2B5EF4-FFF2-40B4-BE49-F238E27FC236}">
                    <a16:creationId xmlns:a16="http://schemas.microsoft.com/office/drawing/2014/main" id="{859AEB63-D999-446D-AC82-C08F198FB77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25" name="Google Shape;18115;p1604">
              <a:extLst>
                <a:ext uri="{FF2B5EF4-FFF2-40B4-BE49-F238E27FC236}">
                  <a16:creationId xmlns:a16="http://schemas.microsoft.com/office/drawing/2014/main" id="{BB528509-58F0-417A-A683-225DBB4D4E79}"/>
                </a:ext>
              </a:extLst>
            </p:cNvPr>
            <p:cNvGrpSpPr/>
            <p:nvPr/>
          </p:nvGrpSpPr>
          <p:grpSpPr>
            <a:xfrm>
              <a:off x="3578880" y="4958031"/>
              <a:ext cx="346511" cy="346515"/>
              <a:chOff x="1932810" y="1349835"/>
              <a:chExt cx="185335" cy="185337"/>
            </a:xfrm>
            <a:solidFill>
              <a:schemeClr val="tx2"/>
            </a:solidFill>
          </p:grpSpPr>
          <p:sp>
            <p:nvSpPr>
              <p:cNvPr id="1141" name="Google Shape;18116;p1604">
                <a:extLst>
                  <a:ext uri="{FF2B5EF4-FFF2-40B4-BE49-F238E27FC236}">
                    <a16:creationId xmlns:a16="http://schemas.microsoft.com/office/drawing/2014/main" id="{98648CF6-ED64-4E2E-B102-489F8938301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42" name="Google Shape;18117;p1604">
                <a:extLst>
                  <a:ext uri="{FF2B5EF4-FFF2-40B4-BE49-F238E27FC236}">
                    <a16:creationId xmlns:a16="http://schemas.microsoft.com/office/drawing/2014/main" id="{3F8695F4-6DEC-494C-A13E-D8676E512A2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26" name="Google Shape;18115;p1604">
              <a:extLst>
                <a:ext uri="{FF2B5EF4-FFF2-40B4-BE49-F238E27FC236}">
                  <a16:creationId xmlns:a16="http://schemas.microsoft.com/office/drawing/2014/main" id="{965F3130-1851-4E91-8304-70CA96C5E837}"/>
                </a:ext>
              </a:extLst>
            </p:cNvPr>
            <p:cNvGrpSpPr/>
            <p:nvPr/>
          </p:nvGrpSpPr>
          <p:grpSpPr>
            <a:xfrm>
              <a:off x="2511970" y="3644968"/>
              <a:ext cx="346511" cy="346515"/>
              <a:chOff x="1932810" y="1349835"/>
              <a:chExt cx="185335" cy="185337"/>
            </a:xfrm>
            <a:solidFill>
              <a:schemeClr val="tx2"/>
            </a:solidFill>
          </p:grpSpPr>
          <p:sp>
            <p:nvSpPr>
              <p:cNvPr id="1139" name="Google Shape;18116;p1604">
                <a:extLst>
                  <a:ext uri="{FF2B5EF4-FFF2-40B4-BE49-F238E27FC236}">
                    <a16:creationId xmlns:a16="http://schemas.microsoft.com/office/drawing/2014/main" id="{8357D094-C01F-490A-85DC-EB8F134C974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40" name="Google Shape;18117;p1604">
                <a:extLst>
                  <a:ext uri="{FF2B5EF4-FFF2-40B4-BE49-F238E27FC236}">
                    <a16:creationId xmlns:a16="http://schemas.microsoft.com/office/drawing/2014/main" id="{21858632-7505-43A6-9B3A-A15059C359F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27" name="Google Shape;18115;p1604">
              <a:extLst>
                <a:ext uri="{FF2B5EF4-FFF2-40B4-BE49-F238E27FC236}">
                  <a16:creationId xmlns:a16="http://schemas.microsoft.com/office/drawing/2014/main" id="{2678CDB2-1DB1-44EB-8ED6-5992D7BC1BA6}"/>
                </a:ext>
              </a:extLst>
            </p:cNvPr>
            <p:cNvGrpSpPr/>
            <p:nvPr/>
          </p:nvGrpSpPr>
          <p:grpSpPr>
            <a:xfrm>
              <a:off x="4754363" y="4548551"/>
              <a:ext cx="346511" cy="346515"/>
              <a:chOff x="1932810" y="1349835"/>
              <a:chExt cx="185335" cy="185337"/>
            </a:xfrm>
            <a:solidFill>
              <a:schemeClr val="tx2"/>
            </a:solidFill>
          </p:grpSpPr>
          <p:sp>
            <p:nvSpPr>
              <p:cNvPr id="1137" name="Google Shape;18116;p1604">
                <a:extLst>
                  <a:ext uri="{FF2B5EF4-FFF2-40B4-BE49-F238E27FC236}">
                    <a16:creationId xmlns:a16="http://schemas.microsoft.com/office/drawing/2014/main" id="{7E98FD36-3B93-46CC-9B6E-20088C3DC7A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38" name="Google Shape;18117;p1604">
                <a:extLst>
                  <a:ext uri="{FF2B5EF4-FFF2-40B4-BE49-F238E27FC236}">
                    <a16:creationId xmlns:a16="http://schemas.microsoft.com/office/drawing/2014/main" id="{B0744732-F02B-414B-A47D-8D09DD8311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28" name="Google Shape;18115;p1604">
              <a:extLst>
                <a:ext uri="{FF2B5EF4-FFF2-40B4-BE49-F238E27FC236}">
                  <a16:creationId xmlns:a16="http://schemas.microsoft.com/office/drawing/2014/main" id="{34F82D86-B4CA-49F8-ADDA-B95F2FC5C5D8}"/>
                </a:ext>
              </a:extLst>
            </p:cNvPr>
            <p:cNvGrpSpPr/>
            <p:nvPr/>
          </p:nvGrpSpPr>
          <p:grpSpPr>
            <a:xfrm>
              <a:off x="2644688" y="4493428"/>
              <a:ext cx="346511" cy="346515"/>
              <a:chOff x="1932810" y="1349835"/>
              <a:chExt cx="185335" cy="185337"/>
            </a:xfrm>
            <a:solidFill>
              <a:schemeClr val="tx2"/>
            </a:solidFill>
          </p:grpSpPr>
          <p:sp>
            <p:nvSpPr>
              <p:cNvPr id="1135" name="Google Shape;18116;p1604">
                <a:extLst>
                  <a:ext uri="{FF2B5EF4-FFF2-40B4-BE49-F238E27FC236}">
                    <a16:creationId xmlns:a16="http://schemas.microsoft.com/office/drawing/2014/main" id="{4741758C-65D8-4B03-8D24-7BBBFC70F42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36" name="Google Shape;18117;p1604">
                <a:extLst>
                  <a:ext uri="{FF2B5EF4-FFF2-40B4-BE49-F238E27FC236}">
                    <a16:creationId xmlns:a16="http://schemas.microsoft.com/office/drawing/2014/main" id="{873B48C5-B3F8-4ECC-90BF-F8B8D39822D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29" name="Google Shape;18115;p1604">
              <a:extLst>
                <a:ext uri="{FF2B5EF4-FFF2-40B4-BE49-F238E27FC236}">
                  <a16:creationId xmlns:a16="http://schemas.microsoft.com/office/drawing/2014/main" id="{AC3ABDF8-19E2-44E1-A9AB-06EDA9FB5139}"/>
                </a:ext>
              </a:extLst>
            </p:cNvPr>
            <p:cNvGrpSpPr/>
            <p:nvPr/>
          </p:nvGrpSpPr>
          <p:grpSpPr>
            <a:xfrm>
              <a:off x="4764085" y="3612568"/>
              <a:ext cx="346511" cy="346515"/>
              <a:chOff x="1932810" y="1349835"/>
              <a:chExt cx="185335" cy="185337"/>
            </a:xfrm>
            <a:solidFill>
              <a:schemeClr val="tx2"/>
            </a:solidFill>
          </p:grpSpPr>
          <p:sp>
            <p:nvSpPr>
              <p:cNvPr id="1133" name="Google Shape;18116;p1604">
                <a:extLst>
                  <a:ext uri="{FF2B5EF4-FFF2-40B4-BE49-F238E27FC236}">
                    <a16:creationId xmlns:a16="http://schemas.microsoft.com/office/drawing/2014/main" id="{836BFBBA-87E4-45CC-8FA2-B70B4895238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34" name="Google Shape;18117;p1604">
                <a:extLst>
                  <a:ext uri="{FF2B5EF4-FFF2-40B4-BE49-F238E27FC236}">
                    <a16:creationId xmlns:a16="http://schemas.microsoft.com/office/drawing/2014/main" id="{53B9948C-8D71-42A8-A898-5355A8047C9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30" name="Google Shape;18115;p1604">
              <a:extLst>
                <a:ext uri="{FF2B5EF4-FFF2-40B4-BE49-F238E27FC236}">
                  <a16:creationId xmlns:a16="http://schemas.microsoft.com/office/drawing/2014/main" id="{F1CD62D6-6BD4-405A-9769-86EC5DFFC535}"/>
                </a:ext>
              </a:extLst>
            </p:cNvPr>
            <p:cNvGrpSpPr/>
            <p:nvPr/>
          </p:nvGrpSpPr>
          <p:grpSpPr>
            <a:xfrm>
              <a:off x="3091300" y="2809102"/>
              <a:ext cx="346511" cy="346515"/>
              <a:chOff x="1932810" y="1349835"/>
              <a:chExt cx="185335" cy="185337"/>
            </a:xfrm>
            <a:solidFill>
              <a:schemeClr val="tx2"/>
            </a:solidFill>
          </p:grpSpPr>
          <p:sp>
            <p:nvSpPr>
              <p:cNvPr id="1131" name="Google Shape;18116;p1604">
                <a:extLst>
                  <a:ext uri="{FF2B5EF4-FFF2-40B4-BE49-F238E27FC236}">
                    <a16:creationId xmlns:a16="http://schemas.microsoft.com/office/drawing/2014/main" id="{0DADB055-3005-42E7-9186-D1354A647B9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32" name="Google Shape;18117;p1604">
                <a:extLst>
                  <a:ext uri="{FF2B5EF4-FFF2-40B4-BE49-F238E27FC236}">
                    <a16:creationId xmlns:a16="http://schemas.microsoft.com/office/drawing/2014/main" id="{3C598F09-EC92-4A08-92AC-B9C3399B8C7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147" name="Group 1146">
            <a:extLst>
              <a:ext uri="{FF2B5EF4-FFF2-40B4-BE49-F238E27FC236}">
                <a16:creationId xmlns:a16="http://schemas.microsoft.com/office/drawing/2014/main" id="{EF23A52E-4EF1-4DE2-8B3F-998BB6968237}"/>
              </a:ext>
            </a:extLst>
          </p:cNvPr>
          <p:cNvGrpSpPr>
            <a:grpSpLocks/>
          </p:cNvGrpSpPr>
          <p:nvPr/>
        </p:nvGrpSpPr>
        <p:grpSpPr>
          <a:xfrm>
            <a:off x="9241678" y="4889283"/>
            <a:ext cx="436569" cy="419720"/>
            <a:chOff x="2511970" y="2806214"/>
            <a:chExt cx="2598626" cy="2498332"/>
          </a:xfrm>
        </p:grpSpPr>
        <p:grpSp>
          <p:nvGrpSpPr>
            <p:cNvPr id="1148" name="Google Shape;18115;p1604">
              <a:extLst>
                <a:ext uri="{FF2B5EF4-FFF2-40B4-BE49-F238E27FC236}">
                  <a16:creationId xmlns:a16="http://schemas.microsoft.com/office/drawing/2014/main" id="{8850AB94-D576-4E23-9030-D1E598FCBE34}"/>
                </a:ext>
              </a:extLst>
            </p:cNvPr>
            <p:cNvGrpSpPr/>
            <p:nvPr/>
          </p:nvGrpSpPr>
          <p:grpSpPr>
            <a:xfrm>
              <a:off x="4214405" y="2806214"/>
              <a:ext cx="346511" cy="346515"/>
              <a:chOff x="1932810" y="1349835"/>
              <a:chExt cx="185335" cy="185337"/>
            </a:xfrm>
            <a:solidFill>
              <a:schemeClr val="tx2"/>
            </a:solidFill>
          </p:grpSpPr>
          <p:sp>
            <p:nvSpPr>
              <p:cNvPr id="1171" name="Google Shape;18116;p1604">
                <a:extLst>
                  <a:ext uri="{FF2B5EF4-FFF2-40B4-BE49-F238E27FC236}">
                    <a16:creationId xmlns:a16="http://schemas.microsoft.com/office/drawing/2014/main" id="{F1F48E86-8354-4D5E-B9CC-FBC210F76F4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72" name="Google Shape;18117;p1604">
                <a:extLst>
                  <a:ext uri="{FF2B5EF4-FFF2-40B4-BE49-F238E27FC236}">
                    <a16:creationId xmlns:a16="http://schemas.microsoft.com/office/drawing/2014/main" id="{A3ABF527-AD60-4A23-BF80-7D2DBFB50E0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149" name="Oval 1148">
              <a:extLst>
                <a:ext uri="{FF2B5EF4-FFF2-40B4-BE49-F238E27FC236}">
                  <a16:creationId xmlns:a16="http://schemas.microsoft.com/office/drawing/2014/main" id="{4A437E71-C14B-4104-AC0B-1A74990DE79F}"/>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150" name="Google Shape;18115;p1604">
              <a:extLst>
                <a:ext uri="{FF2B5EF4-FFF2-40B4-BE49-F238E27FC236}">
                  <a16:creationId xmlns:a16="http://schemas.microsoft.com/office/drawing/2014/main" id="{6B0C3B6D-672F-4C0C-BD6D-E2CDA9CA4EDD}"/>
                </a:ext>
              </a:extLst>
            </p:cNvPr>
            <p:cNvGrpSpPr/>
            <p:nvPr/>
          </p:nvGrpSpPr>
          <p:grpSpPr>
            <a:xfrm>
              <a:off x="4402332" y="4548551"/>
              <a:ext cx="346511" cy="346515"/>
              <a:chOff x="1932810" y="1349835"/>
              <a:chExt cx="185335" cy="185337"/>
            </a:xfrm>
            <a:solidFill>
              <a:schemeClr val="tx2"/>
            </a:solidFill>
          </p:grpSpPr>
          <p:sp>
            <p:nvSpPr>
              <p:cNvPr id="1169" name="Google Shape;18116;p1604">
                <a:extLst>
                  <a:ext uri="{FF2B5EF4-FFF2-40B4-BE49-F238E27FC236}">
                    <a16:creationId xmlns:a16="http://schemas.microsoft.com/office/drawing/2014/main" id="{021D7E3F-9AA8-4232-B0FE-881697C06D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70" name="Google Shape;18117;p1604">
                <a:extLst>
                  <a:ext uri="{FF2B5EF4-FFF2-40B4-BE49-F238E27FC236}">
                    <a16:creationId xmlns:a16="http://schemas.microsoft.com/office/drawing/2014/main" id="{B7F71457-4714-4F26-9483-761B6BC8709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1" name="Google Shape;18115;p1604">
              <a:extLst>
                <a:ext uri="{FF2B5EF4-FFF2-40B4-BE49-F238E27FC236}">
                  <a16:creationId xmlns:a16="http://schemas.microsoft.com/office/drawing/2014/main" id="{B9A882DF-F998-4159-B22B-E93D0FAD7A97}"/>
                </a:ext>
              </a:extLst>
            </p:cNvPr>
            <p:cNvGrpSpPr/>
            <p:nvPr/>
          </p:nvGrpSpPr>
          <p:grpSpPr>
            <a:xfrm>
              <a:off x="3578880" y="4958031"/>
              <a:ext cx="346511" cy="346515"/>
              <a:chOff x="1932810" y="1349835"/>
              <a:chExt cx="185335" cy="185337"/>
            </a:xfrm>
            <a:solidFill>
              <a:schemeClr val="tx2"/>
            </a:solidFill>
          </p:grpSpPr>
          <p:sp>
            <p:nvSpPr>
              <p:cNvPr id="1167" name="Google Shape;18116;p1604">
                <a:extLst>
                  <a:ext uri="{FF2B5EF4-FFF2-40B4-BE49-F238E27FC236}">
                    <a16:creationId xmlns:a16="http://schemas.microsoft.com/office/drawing/2014/main" id="{7C3C82EA-8D90-4FD5-BBBA-6585AC69395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8" name="Google Shape;18117;p1604">
                <a:extLst>
                  <a:ext uri="{FF2B5EF4-FFF2-40B4-BE49-F238E27FC236}">
                    <a16:creationId xmlns:a16="http://schemas.microsoft.com/office/drawing/2014/main" id="{34869C45-E781-44E7-BF94-0B41280E7D1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2" name="Google Shape;18115;p1604">
              <a:extLst>
                <a:ext uri="{FF2B5EF4-FFF2-40B4-BE49-F238E27FC236}">
                  <a16:creationId xmlns:a16="http://schemas.microsoft.com/office/drawing/2014/main" id="{2B679C6B-BE2E-474F-A2E4-085BE4EDA258}"/>
                </a:ext>
              </a:extLst>
            </p:cNvPr>
            <p:cNvGrpSpPr/>
            <p:nvPr/>
          </p:nvGrpSpPr>
          <p:grpSpPr>
            <a:xfrm>
              <a:off x="2511970" y="3644968"/>
              <a:ext cx="346511" cy="346515"/>
              <a:chOff x="1932810" y="1349835"/>
              <a:chExt cx="185335" cy="185337"/>
            </a:xfrm>
            <a:solidFill>
              <a:schemeClr val="tx2"/>
            </a:solidFill>
          </p:grpSpPr>
          <p:sp>
            <p:nvSpPr>
              <p:cNvPr id="1165" name="Google Shape;18116;p1604">
                <a:extLst>
                  <a:ext uri="{FF2B5EF4-FFF2-40B4-BE49-F238E27FC236}">
                    <a16:creationId xmlns:a16="http://schemas.microsoft.com/office/drawing/2014/main" id="{12E62BED-936D-4313-930A-9712FD52444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6" name="Google Shape;18117;p1604">
                <a:extLst>
                  <a:ext uri="{FF2B5EF4-FFF2-40B4-BE49-F238E27FC236}">
                    <a16:creationId xmlns:a16="http://schemas.microsoft.com/office/drawing/2014/main" id="{5EF8053D-05DD-423E-B749-DA9CA0EC618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3" name="Google Shape;18115;p1604">
              <a:extLst>
                <a:ext uri="{FF2B5EF4-FFF2-40B4-BE49-F238E27FC236}">
                  <a16:creationId xmlns:a16="http://schemas.microsoft.com/office/drawing/2014/main" id="{43EE125B-B3E6-435B-AEA6-D7FDC0855F76}"/>
                </a:ext>
              </a:extLst>
            </p:cNvPr>
            <p:cNvGrpSpPr/>
            <p:nvPr/>
          </p:nvGrpSpPr>
          <p:grpSpPr>
            <a:xfrm>
              <a:off x="4754363" y="4548551"/>
              <a:ext cx="346511" cy="346515"/>
              <a:chOff x="1932810" y="1349835"/>
              <a:chExt cx="185335" cy="185337"/>
            </a:xfrm>
            <a:solidFill>
              <a:schemeClr val="tx2"/>
            </a:solidFill>
          </p:grpSpPr>
          <p:sp>
            <p:nvSpPr>
              <p:cNvPr id="1163" name="Google Shape;18116;p1604">
                <a:extLst>
                  <a:ext uri="{FF2B5EF4-FFF2-40B4-BE49-F238E27FC236}">
                    <a16:creationId xmlns:a16="http://schemas.microsoft.com/office/drawing/2014/main" id="{EF7EDD1D-76F4-44D9-8C6C-49CA57C92AD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4" name="Google Shape;18117;p1604">
                <a:extLst>
                  <a:ext uri="{FF2B5EF4-FFF2-40B4-BE49-F238E27FC236}">
                    <a16:creationId xmlns:a16="http://schemas.microsoft.com/office/drawing/2014/main" id="{F330262A-B407-4A32-BE1B-5FCAAE57DC4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4" name="Google Shape;18115;p1604">
              <a:extLst>
                <a:ext uri="{FF2B5EF4-FFF2-40B4-BE49-F238E27FC236}">
                  <a16:creationId xmlns:a16="http://schemas.microsoft.com/office/drawing/2014/main" id="{357B5A21-132C-4D74-BC28-98BB76B75E7A}"/>
                </a:ext>
              </a:extLst>
            </p:cNvPr>
            <p:cNvGrpSpPr/>
            <p:nvPr/>
          </p:nvGrpSpPr>
          <p:grpSpPr>
            <a:xfrm>
              <a:off x="2644688" y="4493428"/>
              <a:ext cx="346511" cy="346515"/>
              <a:chOff x="1932810" y="1349835"/>
              <a:chExt cx="185335" cy="185337"/>
            </a:xfrm>
            <a:solidFill>
              <a:schemeClr val="tx2"/>
            </a:solidFill>
          </p:grpSpPr>
          <p:sp>
            <p:nvSpPr>
              <p:cNvPr id="1161" name="Google Shape;18116;p1604">
                <a:extLst>
                  <a:ext uri="{FF2B5EF4-FFF2-40B4-BE49-F238E27FC236}">
                    <a16:creationId xmlns:a16="http://schemas.microsoft.com/office/drawing/2014/main" id="{E195D33B-3BAB-4FB8-BB6E-2E37576C06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2" name="Google Shape;18117;p1604">
                <a:extLst>
                  <a:ext uri="{FF2B5EF4-FFF2-40B4-BE49-F238E27FC236}">
                    <a16:creationId xmlns:a16="http://schemas.microsoft.com/office/drawing/2014/main" id="{E600267A-C9E5-4683-80A6-44153EC0646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5" name="Google Shape;18115;p1604">
              <a:extLst>
                <a:ext uri="{FF2B5EF4-FFF2-40B4-BE49-F238E27FC236}">
                  <a16:creationId xmlns:a16="http://schemas.microsoft.com/office/drawing/2014/main" id="{EA3C50B6-8F5E-4A6A-AB67-94087D57DDB7}"/>
                </a:ext>
              </a:extLst>
            </p:cNvPr>
            <p:cNvGrpSpPr/>
            <p:nvPr/>
          </p:nvGrpSpPr>
          <p:grpSpPr>
            <a:xfrm>
              <a:off x="4764085" y="3612568"/>
              <a:ext cx="346511" cy="346515"/>
              <a:chOff x="1932810" y="1349835"/>
              <a:chExt cx="185335" cy="185337"/>
            </a:xfrm>
            <a:solidFill>
              <a:schemeClr val="tx2"/>
            </a:solidFill>
          </p:grpSpPr>
          <p:sp>
            <p:nvSpPr>
              <p:cNvPr id="1159" name="Google Shape;18116;p1604">
                <a:extLst>
                  <a:ext uri="{FF2B5EF4-FFF2-40B4-BE49-F238E27FC236}">
                    <a16:creationId xmlns:a16="http://schemas.microsoft.com/office/drawing/2014/main" id="{432EA04E-15AC-44A9-828D-5859136F850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0" name="Google Shape;18117;p1604">
                <a:extLst>
                  <a:ext uri="{FF2B5EF4-FFF2-40B4-BE49-F238E27FC236}">
                    <a16:creationId xmlns:a16="http://schemas.microsoft.com/office/drawing/2014/main" id="{EB64E663-380C-40E4-AF6C-192573E9A02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6" name="Google Shape;18115;p1604">
              <a:extLst>
                <a:ext uri="{FF2B5EF4-FFF2-40B4-BE49-F238E27FC236}">
                  <a16:creationId xmlns:a16="http://schemas.microsoft.com/office/drawing/2014/main" id="{B560E808-6A49-4EE5-8C9A-389A949E731D}"/>
                </a:ext>
              </a:extLst>
            </p:cNvPr>
            <p:cNvGrpSpPr/>
            <p:nvPr/>
          </p:nvGrpSpPr>
          <p:grpSpPr>
            <a:xfrm>
              <a:off x="3091300" y="2809102"/>
              <a:ext cx="346511" cy="346515"/>
              <a:chOff x="1932810" y="1349835"/>
              <a:chExt cx="185335" cy="185337"/>
            </a:xfrm>
            <a:solidFill>
              <a:schemeClr val="tx2"/>
            </a:solidFill>
          </p:grpSpPr>
          <p:sp>
            <p:nvSpPr>
              <p:cNvPr id="1157" name="Google Shape;18116;p1604">
                <a:extLst>
                  <a:ext uri="{FF2B5EF4-FFF2-40B4-BE49-F238E27FC236}">
                    <a16:creationId xmlns:a16="http://schemas.microsoft.com/office/drawing/2014/main" id="{BB943C89-F31C-44E5-8297-5614971E0C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58" name="Google Shape;18117;p1604">
                <a:extLst>
                  <a:ext uri="{FF2B5EF4-FFF2-40B4-BE49-F238E27FC236}">
                    <a16:creationId xmlns:a16="http://schemas.microsoft.com/office/drawing/2014/main" id="{F75414C2-AA4B-4A16-81E4-A9E8806C9B6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173" name="Google Shape;18115;p1604">
            <a:extLst>
              <a:ext uri="{FF2B5EF4-FFF2-40B4-BE49-F238E27FC236}">
                <a16:creationId xmlns:a16="http://schemas.microsoft.com/office/drawing/2014/main" id="{021FAD71-FFA5-4D8B-86AE-5803C83B51F9}"/>
              </a:ext>
            </a:extLst>
          </p:cNvPr>
          <p:cNvGrpSpPr/>
          <p:nvPr/>
        </p:nvGrpSpPr>
        <p:grpSpPr>
          <a:xfrm>
            <a:off x="8962590" y="4053827"/>
            <a:ext cx="193423" cy="193425"/>
            <a:chOff x="1932810" y="1349835"/>
            <a:chExt cx="185335" cy="185337"/>
          </a:xfrm>
          <a:solidFill>
            <a:schemeClr val="tx2"/>
          </a:solidFill>
        </p:grpSpPr>
        <p:sp>
          <p:nvSpPr>
            <p:cNvPr id="1174" name="Google Shape;18116;p1604">
              <a:extLst>
                <a:ext uri="{FF2B5EF4-FFF2-40B4-BE49-F238E27FC236}">
                  <a16:creationId xmlns:a16="http://schemas.microsoft.com/office/drawing/2014/main" id="{CFDB466A-1042-481F-996E-944E089DFD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75" name="Google Shape;18117;p1604">
              <a:extLst>
                <a:ext uri="{FF2B5EF4-FFF2-40B4-BE49-F238E27FC236}">
                  <a16:creationId xmlns:a16="http://schemas.microsoft.com/office/drawing/2014/main" id="{3CA19CA5-B32E-49DB-AED6-BCF8246C11B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76" name="Google Shape;18115;p1604">
            <a:extLst>
              <a:ext uri="{FF2B5EF4-FFF2-40B4-BE49-F238E27FC236}">
                <a16:creationId xmlns:a16="http://schemas.microsoft.com/office/drawing/2014/main" id="{9A7EBDAA-FBC3-42C2-B93C-C8135805B3AB}"/>
              </a:ext>
            </a:extLst>
          </p:cNvPr>
          <p:cNvGrpSpPr/>
          <p:nvPr/>
        </p:nvGrpSpPr>
        <p:grpSpPr>
          <a:xfrm>
            <a:off x="9355531" y="4053827"/>
            <a:ext cx="193423" cy="193425"/>
            <a:chOff x="1932810" y="1349835"/>
            <a:chExt cx="185335" cy="185337"/>
          </a:xfrm>
          <a:solidFill>
            <a:schemeClr val="tx2"/>
          </a:solidFill>
        </p:grpSpPr>
        <p:sp>
          <p:nvSpPr>
            <p:cNvPr id="1177" name="Google Shape;18116;p1604">
              <a:extLst>
                <a:ext uri="{FF2B5EF4-FFF2-40B4-BE49-F238E27FC236}">
                  <a16:creationId xmlns:a16="http://schemas.microsoft.com/office/drawing/2014/main" id="{830E917F-8768-4B70-8134-9C538C1B4F1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78" name="Google Shape;18117;p1604">
              <a:extLst>
                <a:ext uri="{FF2B5EF4-FFF2-40B4-BE49-F238E27FC236}">
                  <a16:creationId xmlns:a16="http://schemas.microsoft.com/office/drawing/2014/main" id="{ADAABA48-A352-45A6-B277-FD2CB8D845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179" name="Rectangle 1178">
            <a:extLst>
              <a:ext uri="{FF2B5EF4-FFF2-40B4-BE49-F238E27FC236}">
                <a16:creationId xmlns:a16="http://schemas.microsoft.com/office/drawing/2014/main" id="{E2EA2D41-8109-486E-B256-AE10C5F43099}"/>
              </a:ext>
            </a:extLst>
          </p:cNvPr>
          <p:cNvSpPr/>
          <p:nvPr/>
        </p:nvSpPr>
        <p:spPr>
          <a:xfrm>
            <a:off x="9231354" y="376716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PM</a:t>
            </a:r>
          </a:p>
        </p:txBody>
      </p:sp>
      <p:sp>
        <p:nvSpPr>
          <p:cNvPr id="1180" name="Rectangle 1179">
            <a:extLst>
              <a:ext uri="{FF2B5EF4-FFF2-40B4-BE49-F238E27FC236}">
                <a16:creationId xmlns:a16="http://schemas.microsoft.com/office/drawing/2014/main" id="{9E8895B0-5FDF-4C02-B00B-1565694B263F}"/>
              </a:ext>
            </a:extLst>
          </p:cNvPr>
          <p:cNvSpPr/>
          <p:nvPr/>
        </p:nvSpPr>
        <p:spPr>
          <a:xfrm>
            <a:off x="8771080" y="3767164"/>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1268" name="Rectangle 1267">
            <a:extLst>
              <a:ext uri="{FF2B5EF4-FFF2-40B4-BE49-F238E27FC236}">
                <a16:creationId xmlns:a16="http://schemas.microsoft.com/office/drawing/2014/main" id="{935B052C-D4A9-4E09-9A3F-F18B18D8C39E}"/>
              </a:ext>
            </a:extLst>
          </p:cNvPr>
          <p:cNvSpPr/>
          <p:nvPr/>
        </p:nvSpPr>
        <p:spPr>
          <a:xfrm>
            <a:off x="2990891" y="2389413"/>
            <a:ext cx="885417" cy="44816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Business Director</a:t>
            </a:r>
          </a:p>
        </p:txBody>
      </p:sp>
      <p:grpSp>
        <p:nvGrpSpPr>
          <p:cNvPr id="1269" name="Google Shape;18115;p1604">
            <a:extLst>
              <a:ext uri="{FF2B5EF4-FFF2-40B4-BE49-F238E27FC236}">
                <a16:creationId xmlns:a16="http://schemas.microsoft.com/office/drawing/2014/main" id="{6A8D2DF1-ED92-4F6C-AC9E-76ED2E61E238}"/>
              </a:ext>
            </a:extLst>
          </p:cNvPr>
          <p:cNvGrpSpPr/>
          <p:nvPr/>
        </p:nvGrpSpPr>
        <p:grpSpPr>
          <a:xfrm>
            <a:off x="3734491" y="2517958"/>
            <a:ext cx="193423" cy="193425"/>
            <a:chOff x="1932810" y="1349835"/>
            <a:chExt cx="185335" cy="185337"/>
          </a:xfrm>
          <a:solidFill>
            <a:schemeClr val="tx2"/>
          </a:solidFill>
        </p:grpSpPr>
        <p:sp>
          <p:nvSpPr>
            <p:cNvPr id="1270" name="Google Shape;18116;p1604">
              <a:extLst>
                <a:ext uri="{FF2B5EF4-FFF2-40B4-BE49-F238E27FC236}">
                  <a16:creationId xmlns:a16="http://schemas.microsoft.com/office/drawing/2014/main" id="{9719763C-6A4A-468B-8585-D8F2EB1708F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71" name="Google Shape;18117;p1604">
              <a:extLst>
                <a:ext uri="{FF2B5EF4-FFF2-40B4-BE49-F238E27FC236}">
                  <a16:creationId xmlns:a16="http://schemas.microsoft.com/office/drawing/2014/main" id="{5C3AE626-5BF1-4D8E-9CDA-8B905915335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546" name="Rectangle 1545">
            <a:extLst>
              <a:ext uri="{FF2B5EF4-FFF2-40B4-BE49-F238E27FC236}">
                <a16:creationId xmlns:a16="http://schemas.microsoft.com/office/drawing/2014/main" id="{94AA3555-4D47-4315-A370-06BEA03D44E2}"/>
              </a:ext>
            </a:extLst>
          </p:cNvPr>
          <p:cNvSpPr/>
          <p:nvPr/>
        </p:nvSpPr>
        <p:spPr>
          <a:xfrm>
            <a:off x="2287240" y="2389413"/>
            <a:ext cx="482224"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Produ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rector</a:t>
            </a:r>
          </a:p>
        </p:txBody>
      </p:sp>
      <p:grpSp>
        <p:nvGrpSpPr>
          <p:cNvPr id="1547" name="Google Shape;18115;p1604">
            <a:extLst>
              <a:ext uri="{FF2B5EF4-FFF2-40B4-BE49-F238E27FC236}">
                <a16:creationId xmlns:a16="http://schemas.microsoft.com/office/drawing/2014/main" id="{54BB7232-D474-4EF9-BDEA-E32F5FA2A37F}"/>
              </a:ext>
            </a:extLst>
          </p:cNvPr>
          <p:cNvGrpSpPr/>
          <p:nvPr/>
        </p:nvGrpSpPr>
        <p:grpSpPr>
          <a:xfrm>
            <a:off x="2929810" y="2517958"/>
            <a:ext cx="193423" cy="193425"/>
            <a:chOff x="1932810" y="1349835"/>
            <a:chExt cx="185335" cy="185337"/>
          </a:xfrm>
          <a:solidFill>
            <a:schemeClr val="tx2"/>
          </a:solidFill>
        </p:grpSpPr>
        <p:sp>
          <p:nvSpPr>
            <p:cNvPr id="1548" name="Google Shape;18116;p1604">
              <a:extLst>
                <a:ext uri="{FF2B5EF4-FFF2-40B4-BE49-F238E27FC236}">
                  <a16:creationId xmlns:a16="http://schemas.microsoft.com/office/drawing/2014/main" id="{285907BC-9B3A-4B9F-8483-BAEC45B88C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49" name="Google Shape;18117;p1604">
              <a:extLst>
                <a:ext uri="{FF2B5EF4-FFF2-40B4-BE49-F238E27FC236}">
                  <a16:creationId xmlns:a16="http://schemas.microsoft.com/office/drawing/2014/main" id="{E969DB24-B4B0-4F6B-9F29-272F67D2D14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550" name="Rectangle 1549">
            <a:extLst>
              <a:ext uri="{FF2B5EF4-FFF2-40B4-BE49-F238E27FC236}">
                <a16:creationId xmlns:a16="http://schemas.microsoft.com/office/drawing/2014/main" id="{48B84B7E-B12F-4B33-9D1B-99158561406A}"/>
              </a:ext>
            </a:extLst>
          </p:cNvPr>
          <p:cNvSpPr/>
          <p:nvPr/>
        </p:nvSpPr>
        <p:spPr>
          <a:xfrm>
            <a:off x="6113357" y="2389413"/>
            <a:ext cx="482224"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Produ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rector</a:t>
            </a:r>
          </a:p>
        </p:txBody>
      </p:sp>
      <p:grpSp>
        <p:nvGrpSpPr>
          <p:cNvPr id="1551" name="Google Shape;18115;p1604">
            <a:extLst>
              <a:ext uri="{FF2B5EF4-FFF2-40B4-BE49-F238E27FC236}">
                <a16:creationId xmlns:a16="http://schemas.microsoft.com/office/drawing/2014/main" id="{794B8451-9C19-4F35-BC4C-A980E23B7AA4}"/>
              </a:ext>
            </a:extLst>
          </p:cNvPr>
          <p:cNvGrpSpPr/>
          <p:nvPr/>
        </p:nvGrpSpPr>
        <p:grpSpPr>
          <a:xfrm>
            <a:off x="6755927" y="2517958"/>
            <a:ext cx="193423" cy="193425"/>
            <a:chOff x="1932810" y="1349835"/>
            <a:chExt cx="185335" cy="185337"/>
          </a:xfrm>
          <a:solidFill>
            <a:schemeClr val="tx2"/>
          </a:solidFill>
        </p:grpSpPr>
        <p:sp>
          <p:nvSpPr>
            <p:cNvPr id="1552" name="Google Shape;18116;p1604">
              <a:extLst>
                <a:ext uri="{FF2B5EF4-FFF2-40B4-BE49-F238E27FC236}">
                  <a16:creationId xmlns:a16="http://schemas.microsoft.com/office/drawing/2014/main" id="{31ACF3C8-90F8-4CE7-9256-CC5E41E0BF2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53" name="Google Shape;18117;p1604">
              <a:extLst>
                <a:ext uri="{FF2B5EF4-FFF2-40B4-BE49-F238E27FC236}">
                  <a16:creationId xmlns:a16="http://schemas.microsoft.com/office/drawing/2014/main" id="{41EB12BE-1DD1-4E2F-9A31-918F2585A77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554" name="Rectangle 1553">
            <a:extLst>
              <a:ext uri="{FF2B5EF4-FFF2-40B4-BE49-F238E27FC236}">
                <a16:creationId xmlns:a16="http://schemas.microsoft.com/office/drawing/2014/main" id="{D0B634A1-BCF3-46C5-935F-3BE8D408C648}"/>
              </a:ext>
            </a:extLst>
          </p:cNvPr>
          <p:cNvSpPr/>
          <p:nvPr/>
        </p:nvSpPr>
        <p:spPr>
          <a:xfrm>
            <a:off x="8490606" y="2389413"/>
            <a:ext cx="482224"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Produ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rector</a:t>
            </a:r>
          </a:p>
        </p:txBody>
      </p:sp>
      <p:grpSp>
        <p:nvGrpSpPr>
          <p:cNvPr id="1555" name="Google Shape;18115;p1604">
            <a:extLst>
              <a:ext uri="{FF2B5EF4-FFF2-40B4-BE49-F238E27FC236}">
                <a16:creationId xmlns:a16="http://schemas.microsoft.com/office/drawing/2014/main" id="{6544BF38-DFA5-4851-ADF0-CC02622D34C0}"/>
              </a:ext>
            </a:extLst>
          </p:cNvPr>
          <p:cNvGrpSpPr/>
          <p:nvPr/>
        </p:nvGrpSpPr>
        <p:grpSpPr>
          <a:xfrm>
            <a:off x="9133176" y="2517958"/>
            <a:ext cx="193423" cy="193425"/>
            <a:chOff x="1932810" y="1349835"/>
            <a:chExt cx="185335" cy="185337"/>
          </a:xfrm>
          <a:solidFill>
            <a:schemeClr val="tx2"/>
          </a:solidFill>
        </p:grpSpPr>
        <p:sp>
          <p:nvSpPr>
            <p:cNvPr id="1556" name="Google Shape;18116;p1604">
              <a:extLst>
                <a:ext uri="{FF2B5EF4-FFF2-40B4-BE49-F238E27FC236}">
                  <a16:creationId xmlns:a16="http://schemas.microsoft.com/office/drawing/2014/main" id="{06C1F4A7-183A-4B36-A711-3C52C3D7240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57" name="Google Shape;18117;p1604">
              <a:extLst>
                <a:ext uri="{FF2B5EF4-FFF2-40B4-BE49-F238E27FC236}">
                  <a16:creationId xmlns:a16="http://schemas.microsoft.com/office/drawing/2014/main" id="{1AC29676-6A76-4E5F-8D9C-317F66DDAD4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681" name="Rectangle 680">
            <a:extLst>
              <a:ext uri="{FF2B5EF4-FFF2-40B4-BE49-F238E27FC236}">
                <a16:creationId xmlns:a16="http://schemas.microsoft.com/office/drawing/2014/main" id="{27427DA1-91D2-4AC5-A680-A6D2E8E24671}"/>
              </a:ext>
            </a:extLst>
          </p:cNvPr>
          <p:cNvSpPr/>
          <p:nvPr/>
        </p:nvSpPr>
        <p:spPr>
          <a:xfrm>
            <a:off x="9699053" y="1902580"/>
            <a:ext cx="1110937" cy="228501"/>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914354">
              <a:defRPr/>
            </a:pPr>
            <a:r>
              <a:rPr lang="en-US" sz="1050" b="1" dirty="0">
                <a:solidFill>
                  <a:schemeClr val="tx2"/>
                </a:solidFill>
                <a:latin typeface="Arial"/>
                <a:cs typeface="Arial"/>
              </a:rPr>
              <a:t>Head of Design</a:t>
            </a:r>
          </a:p>
        </p:txBody>
      </p:sp>
      <p:grpSp>
        <p:nvGrpSpPr>
          <p:cNvPr id="682" name="Google Shape;18115;p1604">
            <a:extLst>
              <a:ext uri="{FF2B5EF4-FFF2-40B4-BE49-F238E27FC236}">
                <a16:creationId xmlns:a16="http://schemas.microsoft.com/office/drawing/2014/main" id="{836ABD64-8B91-4D22-815F-3D584854D573}"/>
              </a:ext>
            </a:extLst>
          </p:cNvPr>
          <p:cNvGrpSpPr/>
          <p:nvPr/>
        </p:nvGrpSpPr>
        <p:grpSpPr>
          <a:xfrm>
            <a:off x="9478437" y="1916096"/>
            <a:ext cx="220616" cy="220618"/>
            <a:chOff x="1932810" y="1349835"/>
            <a:chExt cx="185335" cy="185337"/>
          </a:xfrm>
          <a:solidFill>
            <a:schemeClr val="tx2"/>
          </a:solidFill>
        </p:grpSpPr>
        <p:sp>
          <p:nvSpPr>
            <p:cNvPr id="683" name="Google Shape;18116;p1604">
              <a:extLst>
                <a:ext uri="{FF2B5EF4-FFF2-40B4-BE49-F238E27FC236}">
                  <a16:creationId xmlns:a16="http://schemas.microsoft.com/office/drawing/2014/main" id="{B2336728-755D-40C6-A4CF-98D11DC93F3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684" name="Google Shape;18117;p1604">
              <a:extLst>
                <a:ext uri="{FF2B5EF4-FFF2-40B4-BE49-F238E27FC236}">
                  <a16:creationId xmlns:a16="http://schemas.microsoft.com/office/drawing/2014/main" id="{EBA54A17-DC91-4A68-A10B-0A0906C1D94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2" name="Group 1">
            <a:extLst>
              <a:ext uri="{FF2B5EF4-FFF2-40B4-BE49-F238E27FC236}">
                <a16:creationId xmlns:a16="http://schemas.microsoft.com/office/drawing/2014/main" id="{68E019A5-58D7-4CC4-B3D7-268F73985BCC}"/>
              </a:ext>
            </a:extLst>
          </p:cNvPr>
          <p:cNvGrpSpPr/>
          <p:nvPr/>
        </p:nvGrpSpPr>
        <p:grpSpPr>
          <a:xfrm>
            <a:off x="369186" y="1261422"/>
            <a:ext cx="1308065" cy="641158"/>
            <a:chOff x="369186" y="1261422"/>
            <a:chExt cx="1308065" cy="641158"/>
          </a:xfrm>
        </p:grpSpPr>
        <p:grpSp>
          <p:nvGrpSpPr>
            <p:cNvPr id="687" name="Google Shape;18115;p1604">
              <a:extLst>
                <a:ext uri="{FF2B5EF4-FFF2-40B4-BE49-F238E27FC236}">
                  <a16:creationId xmlns:a16="http://schemas.microsoft.com/office/drawing/2014/main" id="{A26751CB-9C46-4F3D-8D83-AFD281766774}"/>
                </a:ext>
              </a:extLst>
            </p:cNvPr>
            <p:cNvGrpSpPr/>
            <p:nvPr/>
          </p:nvGrpSpPr>
          <p:grpSpPr>
            <a:xfrm>
              <a:off x="476186" y="1333471"/>
              <a:ext cx="217843" cy="217845"/>
              <a:chOff x="1932810" y="1349835"/>
              <a:chExt cx="185335" cy="185337"/>
            </a:xfrm>
            <a:solidFill>
              <a:srgbClr val="FFE02B"/>
            </a:solidFill>
          </p:grpSpPr>
          <p:sp>
            <p:nvSpPr>
              <p:cNvPr id="712" name="Google Shape;18116;p1604">
                <a:extLst>
                  <a:ext uri="{FF2B5EF4-FFF2-40B4-BE49-F238E27FC236}">
                    <a16:creationId xmlns:a16="http://schemas.microsoft.com/office/drawing/2014/main" id="{AE6A8D70-8639-4786-AD76-AA6FE7D1FA9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713" name="Google Shape;18117;p1604">
                <a:extLst>
                  <a:ext uri="{FF2B5EF4-FFF2-40B4-BE49-F238E27FC236}">
                    <a16:creationId xmlns:a16="http://schemas.microsoft.com/office/drawing/2014/main" id="{EAA7A935-3961-40C7-BD36-6873D5B6133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688" name="Google Shape;18115;p1604">
              <a:extLst>
                <a:ext uri="{FF2B5EF4-FFF2-40B4-BE49-F238E27FC236}">
                  <a16:creationId xmlns:a16="http://schemas.microsoft.com/office/drawing/2014/main" id="{99B96668-37BD-4DF9-B06C-8A5D1CADECCA}"/>
                </a:ext>
              </a:extLst>
            </p:cNvPr>
            <p:cNvGrpSpPr/>
            <p:nvPr/>
          </p:nvGrpSpPr>
          <p:grpSpPr>
            <a:xfrm>
              <a:off x="1237672" y="1338822"/>
              <a:ext cx="217843" cy="217845"/>
              <a:chOff x="1932810" y="1349835"/>
              <a:chExt cx="185335" cy="185337"/>
            </a:xfrm>
            <a:solidFill>
              <a:srgbClr val="FFE02B"/>
            </a:solidFill>
          </p:grpSpPr>
          <p:sp>
            <p:nvSpPr>
              <p:cNvPr id="710" name="Google Shape;18116;p1604">
                <a:extLst>
                  <a:ext uri="{FF2B5EF4-FFF2-40B4-BE49-F238E27FC236}">
                    <a16:creationId xmlns:a16="http://schemas.microsoft.com/office/drawing/2014/main" id="{833EAFD3-5A92-4396-973C-43D23D0B89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711" name="Google Shape;18117;p1604">
                <a:extLst>
                  <a:ext uri="{FF2B5EF4-FFF2-40B4-BE49-F238E27FC236}">
                    <a16:creationId xmlns:a16="http://schemas.microsoft.com/office/drawing/2014/main" id="{F664EC19-CF53-42DF-B607-3ECA480612E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696" name="Google Shape;18108;p1604">
              <a:extLst>
                <a:ext uri="{FF2B5EF4-FFF2-40B4-BE49-F238E27FC236}">
                  <a16:creationId xmlns:a16="http://schemas.microsoft.com/office/drawing/2014/main" id="{01159E15-C913-4F71-A36F-176E259F676E}"/>
                </a:ext>
              </a:extLst>
            </p:cNvPr>
            <p:cNvSpPr txBox="1"/>
            <p:nvPr/>
          </p:nvSpPr>
          <p:spPr>
            <a:xfrm>
              <a:off x="733562" y="1358035"/>
              <a:ext cx="410289" cy="14188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r>
                <a:rPr lang="en-US" sz="900" dirty="0">
                  <a:solidFill>
                    <a:srgbClr val="212121"/>
                  </a:solidFill>
                  <a:sym typeface="Century Gothic" panose="020B0502020202020204" pitchFamily="34" charset="0"/>
                </a:rPr>
                <a:t>Business</a:t>
              </a:r>
            </a:p>
          </p:txBody>
        </p:sp>
        <p:sp>
          <p:nvSpPr>
            <p:cNvPr id="697" name="Google Shape;18108;p1604">
              <a:extLst>
                <a:ext uri="{FF2B5EF4-FFF2-40B4-BE49-F238E27FC236}">
                  <a16:creationId xmlns:a16="http://schemas.microsoft.com/office/drawing/2014/main" id="{4275CE3C-9EC5-4AAF-B84D-9491EC2D5C55}"/>
                </a:ext>
              </a:extLst>
            </p:cNvPr>
            <p:cNvSpPr txBox="1"/>
            <p:nvPr/>
          </p:nvSpPr>
          <p:spPr>
            <a:xfrm>
              <a:off x="1520970" y="1358035"/>
              <a:ext cx="156281" cy="206469"/>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r>
                <a:rPr lang="en-US" sz="900" dirty="0">
                  <a:solidFill>
                    <a:srgbClr val="212121"/>
                  </a:solidFill>
                  <a:sym typeface="Century Gothic" panose="020B0502020202020204" pitchFamily="34" charset="0"/>
                </a:rPr>
                <a:t>IT</a:t>
              </a:r>
            </a:p>
          </p:txBody>
        </p:sp>
        <p:sp>
          <p:nvSpPr>
            <p:cNvPr id="698" name="Rectangle 697">
              <a:extLst>
                <a:ext uri="{FF2B5EF4-FFF2-40B4-BE49-F238E27FC236}">
                  <a16:creationId xmlns:a16="http://schemas.microsoft.com/office/drawing/2014/main" id="{03A85234-EE3D-411F-94DF-F90F66F6C8C9}"/>
                </a:ext>
              </a:extLst>
            </p:cNvPr>
            <p:cNvSpPr/>
            <p:nvPr/>
          </p:nvSpPr>
          <p:spPr>
            <a:xfrm>
              <a:off x="369186" y="1261422"/>
              <a:ext cx="1308065" cy="641158"/>
            </a:xfrm>
            <a:prstGeom prst="rect">
              <a:avLst/>
            </a:prstGeom>
            <a:noFill/>
            <a:ln w="9525" cap="rnd" cmpd="sng" algn="ctr">
              <a:solidFill>
                <a:srgbClr val="A6A6A6"/>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99" name="Google Shape;18115;p1604">
              <a:extLst>
                <a:ext uri="{FF2B5EF4-FFF2-40B4-BE49-F238E27FC236}">
                  <a16:creationId xmlns:a16="http://schemas.microsoft.com/office/drawing/2014/main" id="{A65EB533-AA5B-44C1-861D-7DC0FB252404}"/>
                </a:ext>
              </a:extLst>
            </p:cNvPr>
            <p:cNvGrpSpPr/>
            <p:nvPr/>
          </p:nvGrpSpPr>
          <p:grpSpPr>
            <a:xfrm>
              <a:off x="1225732" y="1649629"/>
              <a:ext cx="217843" cy="217845"/>
              <a:chOff x="1932810" y="1349835"/>
              <a:chExt cx="185335" cy="185337"/>
            </a:xfrm>
            <a:solidFill>
              <a:srgbClr val="FFE02B"/>
            </a:solidFill>
          </p:grpSpPr>
          <p:sp>
            <p:nvSpPr>
              <p:cNvPr id="708" name="Google Shape;18116;p1604">
                <a:extLst>
                  <a:ext uri="{FF2B5EF4-FFF2-40B4-BE49-F238E27FC236}">
                    <a16:creationId xmlns:a16="http://schemas.microsoft.com/office/drawing/2014/main" id="{E8A9F2C6-6101-4A57-9E50-1F3A31363D4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EEE89A"/>
              </a:solidFill>
              <a:ln>
                <a:solidFill>
                  <a:schemeClr val="tx1"/>
                </a:solidFill>
                <a:prstDash val="sysDot"/>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709" name="Google Shape;18117;p1604">
                <a:extLst>
                  <a:ext uri="{FF2B5EF4-FFF2-40B4-BE49-F238E27FC236}">
                    <a16:creationId xmlns:a16="http://schemas.microsoft.com/office/drawing/2014/main" id="{866195B2-29D4-4D7B-AFB6-2B531EB3D45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EEE89A"/>
              </a:solidFill>
              <a:ln>
                <a:solidFill>
                  <a:schemeClr val="tx1"/>
                </a:solidFill>
                <a:prstDash val="sysDot"/>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700" name="Google Shape;18108;p1604">
              <a:extLst>
                <a:ext uri="{FF2B5EF4-FFF2-40B4-BE49-F238E27FC236}">
                  <a16:creationId xmlns:a16="http://schemas.microsoft.com/office/drawing/2014/main" id="{9CE0FD82-43E2-422C-B6A7-BAD94C355343}"/>
                </a:ext>
              </a:extLst>
            </p:cNvPr>
            <p:cNvSpPr txBox="1"/>
            <p:nvPr/>
          </p:nvSpPr>
          <p:spPr>
            <a:xfrm>
              <a:off x="754890" y="1662952"/>
              <a:ext cx="576097" cy="193281"/>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r>
                <a:rPr lang="en-US" sz="900" dirty="0">
                  <a:solidFill>
                    <a:srgbClr val="212121"/>
                  </a:solidFill>
                  <a:sym typeface="Century Gothic" panose="020B0502020202020204" pitchFamily="34" charset="0"/>
                </a:rPr>
                <a:t>Optional</a:t>
              </a:r>
            </a:p>
          </p:txBody>
        </p:sp>
      </p:grpSp>
      <p:grpSp>
        <p:nvGrpSpPr>
          <p:cNvPr id="714" name="Google Shape;18115;p1604">
            <a:extLst>
              <a:ext uri="{FF2B5EF4-FFF2-40B4-BE49-F238E27FC236}">
                <a16:creationId xmlns:a16="http://schemas.microsoft.com/office/drawing/2014/main" id="{14198793-6469-404A-ABCD-CF8219450D8B}"/>
              </a:ext>
            </a:extLst>
          </p:cNvPr>
          <p:cNvGrpSpPr/>
          <p:nvPr/>
        </p:nvGrpSpPr>
        <p:grpSpPr>
          <a:xfrm>
            <a:off x="5024369" y="2369905"/>
            <a:ext cx="193423" cy="193425"/>
            <a:chOff x="1932810" y="1349835"/>
            <a:chExt cx="185335" cy="185337"/>
          </a:xfrm>
          <a:solidFill>
            <a:schemeClr val="tx2"/>
          </a:solidFill>
        </p:grpSpPr>
        <p:sp>
          <p:nvSpPr>
            <p:cNvPr id="715" name="Google Shape;18116;p1604">
              <a:extLst>
                <a:ext uri="{FF2B5EF4-FFF2-40B4-BE49-F238E27FC236}">
                  <a16:creationId xmlns:a16="http://schemas.microsoft.com/office/drawing/2014/main" id="{2A6A66A5-DE1E-4794-A515-898146F4051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EEE89A"/>
            </a:solidFill>
            <a:ln w="9525" cap="flat" cmpd="sng" algn="ctr">
              <a:solidFill>
                <a:srgbClr val="55555A"/>
              </a:solidFill>
              <a:prstDash val="sysDot"/>
              <a:round/>
              <a:headEnd type="none" w="med" len="med"/>
              <a:tailEnd type="none" w="med" len="med"/>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716" name="Google Shape;18117;p1604">
              <a:extLst>
                <a:ext uri="{FF2B5EF4-FFF2-40B4-BE49-F238E27FC236}">
                  <a16:creationId xmlns:a16="http://schemas.microsoft.com/office/drawing/2014/main" id="{C6BEACA6-D699-4D6E-88E2-3E584780DA1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EEE89A"/>
            </a:solidFill>
            <a:ln w="9525" cap="flat" cmpd="sng" algn="ctr">
              <a:solidFill>
                <a:srgbClr val="55555A"/>
              </a:solidFill>
              <a:prstDash val="sysDot"/>
              <a:round/>
              <a:headEnd type="none" w="med" len="med"/>
              <a:tailEnd type="none" w="med" len="med"/>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717" name="Rectangle 716">
            <a:extLst>
              <a:ext uri="{FF2B5EF4-FFF2-40B4-BE49-F238E27FC236}">
                <a16:creationId xmlns:a16="http://schemas.microsoft.com/office/drawing/2014/main" id="{7AACF525-BB12-4E96-B64B-8E5A1AFD576B}"/>
              </a:ext>
            </a:extLst>
          </p:cNvPr>
          <p:cNvSpPr/>
          <p:nvPr/>
        </p:nvSpPr>
        <p:spPr>
          <a:xfrm>
            <a:off x="3997593" y="2389413"/>
            <a:ext cx="1078836" cy="44816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esign Dir</a:t>
            </a:r>
            <a:r>
              <a:rPr kumimoji="0" lang="en-US" sz="900" b="1" i="0" u="none" strike="noStrike" kern="1200" cap="none" spc="0" normalizeH="0" baseline="30000" noProof="0" dirty="0">
                <a:ln>
                  <a:noFill/>
                </a:ln>
                <a:solidFill>
                  <a:srgbClr val="00148C"/>
                </a:solidFill>
                <a:effectLst/>
                <a:uLnTx/>
                <a:uFillTx/>
                <a:latin typeface="Arial"/>
                <a:ea typeface="+mn-ea"/>
                <a:cs typeface="Arial"/>
              </a:rPr>
              <a:t>1</a:t>
            </a:r>
            <a:r>
              <a:rPr kumimoji="0" lang="en-US" sz="900" b="1" i="0" u="none" strike="noStrike" kern="1200" cap="none" spc="0" normalizeH="0" baseline="0" noProof="0" dirty="0">
                <a:ln>
                  <a:noFill/>
                </a:ln>
                <a:solidFill>
                  <a:srgbClr val="00148C"/>
                </a:solidFill>
                <a:effectLst/>
                <a:uLnTx/>
                <a:uFillTx/>
                <a:latin typeface="Arial"/>
                <a:ea typeface="+mn-ea"/>
                <a:cs typeface="Arial"/>
              </a:rPr>
              <a:t> </a:t>
            </a:r>
          </a:p>
          <a:p>
            <a:pPr marL="0" marR="0" lvl="0" indent="0" algn="ctr" defTabSz="914400" rtl="0" eaLnBrk="1" fontAlgn="auto" latinLnBrk="0" hangingPunct="1">
              <a:lnSpc>
                <a:spcPct val="100000"/>
              </a:lnSpc>
              <a:spcBef>
                <a:spcPts val="300"/>
              </a:spcBef>
              <a:spcAft>
                <a:spcPts val="0"/>
              </a:spcAft>
              <a:buClrTx/>
              <a:buSzTx/>
              <a:buFontTx/>
              <a:buNone/>
              <a:tabLst/>
              <a:defRPr/>
            </a:pPr>
            <a:r>
              <a:rPr lang="en-US" sz="900" b="1" dirty="0">
                <a:solidFill>
                  <a:srgbClr val="00148C"/>
                </a:solidFill>
                <a:latin typeface="Arial"/>
                <a:cs typeface="Arial"/>
              </a:rPr>
              <a:t>Engineering Dir</a:t>
            </a:r>
            <a:r>
              <a:rPr lang="en-US" sz="900" b="1" baseline="30000" dirty="0">
                <a:solidFill>
                  <a:srgbClr val="00148C"/>
                </a:solidFill>
                <a:latin typeface="Arial"/>
                <a:cs typeface="Arial"/>
              </a:rPr>
              <a:t>1</a:t>
            </a:r>
            <a:r>
              <a:rPr lang="en-US" sz="900" b="1" dirty="0">
                <a:solidFill>
                  <a:srgbClr val="00148C"/>
                </a:solidFill>
                <a:latin typeface="Arial"/>
                <a:cs typeface="Arial"/>
              </a:rPr>
              <a:t> </a:t>
            </a:r>
            <a:endParaRPr kumimoji="0" lang="en-US" sz="900" b="1" i="0" u="none" strike="noStrike" kern="1200" cap="none" spc="0" normalizeH="0" baseline="0" noProof="0" dirty="0">
              <a:ln>
                <a:noFill/>
              </a:ln>
              <a:solidFill>
                <a:srgbClr val="00148C"/>
              </a:solidFill>
              <a:effectLst/>
              <a:uLnTx/>
              <a:uFillTx/>
              <a:latin typeface="Arial"/>
              <a:ea typeface="+mn-ea"/>
              <a:cs typeface="Arial"/>
            </a:endParaRPr>
          </a:p>
        </p:txBody>
      </p:sp>
      <p:grpSp>
        <p:nvGrpSpPr>
          <p:cNvPr id="718" name="Google Shape;18115;p1604">
            <a:extLst>
              <a:ext uri="{FF2B5EF4-FFF2-40B4-BE49-F238E27FC236}">
                <a16:creationId xmlns:a16="http://schemas.microsoft.com/office/drawing/2014/main" id="{2BEF9D2B-5CD4-431A-BC1B-8438CE80F093}"/>
              </a:ext>
            </a:extLst>
          </p:cNvPr>
          <p:cNvGrpSpPr/>
          <p:nvPr/>
        </p:nvGrpSpPr>
        <p:grpSpPr>
          <a:xfrm>
            <a:off x="5024369" y="2587814"/>
            <a:ext cx="193423" cy="193425"/>
            <a:chOff x="1932810" y="1349835"/>
            <a:chExt cx="185335" cy="185337"/>
          </a:xfrm>
          <a:solidFill>
            <a:schemeClr val="tx2"/>
          </a:solidFill>
        </p:grpSpPr>
        <p:sp>
          <p:nvSpPr>
            <p:cNvPr id="719" name="Google Shape;18116;p1604">
              <a:extLst>
                <a:ext uri="{FF2B5EF4-FFF2-40B4-BE49-F238E27FC236}">
                  <a16:creationId xmlns:a16="http://schemas.microsoft.com/office/drawing/2014/main" id="{602CE151-C8BB-4771-B129-8E7B23C9D3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EEE89A"/>
            </a:solidFill>
            <a:ln w="9525" cap="flat" cmpd="sng" algn="ctr">
              <a:solidFill>
                <a:srgbClr val="55555A"/>
              </a:solidFill>
              <a:prstDash val="sysDot"/>
              <a:round/>
              <a:headEnd type="none" w="med" len="med"/>
              <a:tailEnd type="none" w="med" len="med"/>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720" name="Google Shape;18117;p1604">
              <a:extLst>
                <a:ext uri="{FF2B5EF4-FFF2-40B4-BE49-F238E27FC236}">
                  <a16:creationId xmlns:a16="http://schemas.microsoft.com/office/drawing/2014/main" id="{90E16BF9-7246-4DD1-9DE7-598D4F58D6C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EEE89A"/>
            </a:solidFill>
            <a:ln w="9525" cap="flat" cmpd="sng" algn="ctr">
              <a:solidFill>
                <a:srgbClr val="55555A"/>
              </a:solidFill>
              <a:prstDash val="sysDot"/>
              <a:round/>
              <a:headEnd type="none" w="med" len="med"/>
              <a:tailEnd type="none" w="med" len="med"/>
            </a:ln>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721" name="ee4pFootnotes">
            <a:extLst>
              <a:ext uri="{FF2B5EF4-FFF2-40B4-BE49-F238E27FC236}">
                <a16:creationId xmlns:a16="http://schemas.microsoft.com/office/drawing/2014/main" id="{28F5E36E-4D48-446A-8ADD-7B39CCA4E79C}"/>
              </a:ext>
            </a:extLst>
          </p:cNvPr>
          <p:cNvSpPr>
            <a:spLocks noChangeArrowheads="1"/>
          </p:cNvSpPr>
          <p:nvPr/>
        </p:nvSpPr>
        <p:spPr bwMode="auto">
          <a:xfrm>
            <a:off x="1980648"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latin typeface="Arial" panose="020B0604020202020204" pitchFamily="34" charset="0"/>
                <a:sym typeface="+mn-lt"/>
              </a:rPr>
              <a:t>1. Optional for larger multi-product product lines</a:t>
            </a:r>
          </a:p>
        </p:txBody>
      </p:sp>
      <p:sp>
        <p:nvSpPr>
          <p:cNvPr id="685" name="NavigationTriangle">
            <a:extLst>
              <a:ext uri="{FF2B5EF4-FFF2-40B4-BE49-F238E27FC236}">
                <a16:creationId xmlns:a16="http://schemas.microsoft.com/office/drawing/2014/main" id="{5FEBD245-D734-4BE2-9F73-F2BBFDC2CD0F}"/>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86" name="NavigationIcon">
            <a:extLst>
              <a:ext uri="{FF2B5EF4-FFF2-40B4-BE49-F238E27FC236}">
                <a16:creationId xmlns:a16="http://schemas.microsoft.com/office/drawing/2014/main" id="{B0AA9B7F-509A-4CF3-9DAB-A05BF031CE1F}"/>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4</a:t>
            </a:r>
          </a:p>
        </p:txBody>
      </p:sp>
    </p:spTree>
    <p:extLst>
      <p:ext uri="{BB962C8B-B14F-4D97-AF65-F5344CB8AC3E}">
        <p14:creationId xmlns:p14="http://schemas.microsoft.com/office/powerpoint/2010/main" val="3182813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a:extLst>
              <a:ext uri="{FF2B5EF4-FFF2-40B4-BE49-F238E27FC236}">
                <a16:creationId xmlns:a16="http://schemas.microsoft.com/office/drawing/2014/main" id="{E452232E-8F25-4F7A-B056-134B60C6F1C4}"/>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8482" name="think-cell Slide" r:id="rId7" imgW="395" imgH="394" progId="TCLayout.ActiveDocument.1">
                  <p:embed/>
                </p:oleObj>
              </mc:Choice>
              <mc:Fallback>
                <p:oleObj name="think-cell Slide" r:id="rId7" imgW="395" imgH="394" progId="TCLayout.ActiveDocument.1">
                  <p:embed/>
                  <p:pic>
                    <p:nvPicPr>
                      <p:cNvPr id="66" name="Object 65" hidden="1">
                        <a:extLst>
                          <a:ext uri="{FF2B5EF4-FFF2-40B4-BE49-F238E27FC236}">
                            <a16:creationId xmlns:a16="http://schemas.microsoft.com/office/drawing/2014/main" id="{E452232E-8F25-4F7A-B056-134B60C6F1C4}"/>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121" name="Rectangle 120">
            <a:extLst>
              <a:ext uri="{FF2B5EF4-FFF2-40B4-BE49-F238E27FC236}">
                <a16:creationId xmlns:a16="http://schemas.microsoft.com/office/drawing/2014/main" id="{A934258F-8CF3-DF4C-AF6E-1BE7BC45D4BB}"/>
              </a:ext>
            </a:extLst>
          </p:cNvPr>
          <p:cNvSpPr/>
          <p:nvPr/>
        </p:nvSpPr>
        <p:spPr>
          <a:xfrm>
            <a:off x="7399058" y="1533691"/>
            <a:ext cx="1195188" cy="457200"/>
          </a:xfrm>
          <a:prstGeom prst="rect">
            <a:avLst/>
          </a:prstGeom>
          <a:solidFill>
            <a:schemeClr val="bg1"/>
          </a:solidFill>
          <a:ln>
            <a:solidFill>
              <a:srgbClr val="0D46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148C"/>
                </a:solidFill>
                <a:effectLst/>
                <a:uLnTx/>
                <a:uFillTx/>
                <a:latin typeface="Arial"/>
                <a:ea typeface="+mn-ea"/>
                <a:cs typeface="Arial"/>
              </a:rPr>
              <a:t>VP of Engineering</a:t>
            </a:r>
          </a:p>
        </p:txBody>
      </p:sp>
      <p:sp>
        <p:nvSpPr>
          <p:cNvPr id="120" name="Rectangle 119">
            <a:extLst>
              <a:ext uri="{FF2B5EF4-FFF2-40B4-BE49-F238E27FC236}">
                <a16:creationId xmlns:a16="http://schemas.microsoft.com/office/drawing/2014/main" id="{DC6C2B12-5D64-734D-90FD-2C3C3DFC3FEF}"/>
              </a:ext>
            </a:extLst>
          </p:cNvPr>
          <p:cNvSpPr/>
          <p:nvPr/>
        </p:nvSpPr>
        <p:spPr>
          <a:xfrm>
            <a:off x="191307" y="5590080"/>
            <a:ext cx="11630103" cy="1050239"/>
          </a:xfrm>
          <a:prstGeom prst="rect">
            <a:avLst/>
          </a:prstGeom>
          <a:solidFill>
            <a:schemeClr val="bg1"/>
          </a:solidFill>
          <a:ln w="127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3" name="Rectangle 2">
            <a:extLst>
              <a:ext uri="{FF2B5EF4-FFF2-40B4-BE49-F238E27FC236}">
                <a16:creationId xmlns:a16="http://schemas.microsoft.com/office/drawing/2014/main" id="{D7D19254-06C7-4A27-8567-81B3928CE684}"/>
              </a:ext>
            </a:extLst>
          </p:cNvPr>
          <p:cNvSpPr/>
          <p:nvPr/>
        </p:nvSpPr>
        <p:spPr>
          <a:xfrm>
            <a:off x="60961" y="1182835"/>
            <a:ext cx="12050825" cy="5542288"/>
          </a:xfrm>
          <a:prstGeom prst="rect">
            <a:avLst/>
          </a:prstGeom>
          <a:noFill/>
          <a:ln w="12700"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Arial"/>
              </a:rPr>
              <a:t>\\</a:t>
            </a:r>
          </a:p>
        </p:txBody>
      </p:sp>
      <p:sp>
        <p:nvSpPr>
          <p:cNvPr id="40" name="Rectangle 39">
            <a:extLst>
              <a:ext uri="{FF2B5EF4-FFF2-40B4-BE49-F238E27FC236}">
                <a16:creationId xmlns:a16="http://schemas.microsoft.com/office/drawing/2014/main" id="{4965E0B2-A1FF-5644-9AC5-8CE3E7A98A7A}"/>
              </a:ext>
            </a:extLst>
          </p:cNvPr>
          <p:cNvSpPr/>
          <p:nvPr/>
        </p:nvSpPr>
        <p:spPr>
          <a:xfrm>
            <a:off x="5369411" y="2248741"/>
            <a:ext cx="1200968" cy="4391579"/>
          </a:xfrm>
          <a:prstGeom prst="rect">
            <a:avLst/>
          </a:prstGeom>
          <a:solidFill>
            <a:schemeClr val="bg1"/>
          </a:solidFill>
          <a:ln w="12700"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65" name="Rectangle 64" hidden="1">
            <a:extLst>
              <a:ext uri="{FF2B5EF4-FFF2-40B4-BE49-F238E27FC236}">
                <a16:creationId xmlns:a16="http://schemas.microsoft.com/office/drawing/2014/main" id="{406B738E-3BEC-4716-8AF7-32ADEB8D906B}"/>
              </a:ext>
            </a:extLst>
          </p:cNvPr>
          <p:cNvSpPr/>
          <p:nvPr>
            <p:custDataLst>
              <p:tags r:id="rId3"/>
            </p:custDataLst>
          </p:nvPr>
        </p:nvSpPr>
        <p:spPr>
          <a:xfrm>
            <a:off x="1" y="1"/>
            <a:ext cx="158751" cy="15875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BBCD090-0B74-4241-B24B-2BD456EAA878}"/>
              </a:ext>
            </a:extLst>
          </p:cNvPr>
          <p:cNvSpPr>
            <a:spLocks noGrp="1"/>
          </p:cNvSpPr>
          <p:nvPr>
            <p:ph type="title"/>
          </p:nvPr>
        </p:nvSpPr>
        <p:spPr>
          <a:xfrm>
            <a:off x="630000" y="622800"/>
            <a:ext cx="11191410" cy="387798"/>
          </a:xfrm>
        </p:spPr>
        <p:txBody>
          <a:bodyPr vert="horz" wrap="square">
            <a:spAutoFit/>
          </a:bodyPr>
          <a:lstStyle/>
          <a:p>
            <a:r>
              <a:rPr lang="en-US" dirty="0"/>
              <a:t>Illustrative: </a:t>
            </a:r>
            <a:r>
              <a:rPr lang="en-US" dirty="0" err="1"/>
              <a:t>EBU</a:t>
            </a:r>
            <a:r>
              <a:rPr lang="en-US" dirty="0"/>
              <a:t> example of digital product portfolio organization</a:t>
            </a:r>
          </a:p>
        </p:txBody>
      </p:sp>
      <p:sp>
        <p:nvSpPr>
          <p:cNvPr id="4" name="TextBox 3">
            <a:extLst>
              <a:ext uri="{FF2B5EF4-FFF2-40B4-BE49-F238E27FC236}">
                <a16:creationId xmlns:a16="http://schemas.microsoft.com/office/drawing/2014/main" id="{77F84B28-0D5E-414C-B914-2D314A247FFE}"/>
              </a:ext>
            </a:extLst>
          </p:cNvPr>
          <p:cNvSpPr txBox="1"/>
          <p:nvPr/>
        </p:nvSpPr>
        <p:spPr>
          <a:xfrm>
            <a:off x="471254" y="1097450"/>
            <a:ext cx="2188167" cy="207877"/>
          </a:xfrm>
          <a:prstGeom prst="rect">
            <a:avLst/>
          </a:prstGeom>
          <a:solidFill>
            <a:srgbClr val="FFFFFF"/>
          </a:solidFill>
          <a:ln w="9525" cap="rnd">
            <a:solidFill>
              <a:schemeClr val="accent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err="1">
                <a:ln>
                  <a:noFill/>
                </a:ln>
                <a:solidFill>
                  <a:srgbClr val="00148C">
                    <a:lumMod val="100000"/>
                  </a:srgbClr>
                </a:solidFill>
                <a:effectLst/>
                <a:uLnTx/>
                <a:uFillTx/>
                <a:latin typeface="Arial" panose="020B0604020202020204" pitchFamily="34" charset="0"/>
                <a:ea typeface="+mn-ea"/>
                <a:cs typeface="Arial"/>
              </a:rPr>
              <a:t>EBU</a:t>
            </a:r>
            <a:r>
              <a:rPr kumimoji="0" lang="en-US" sz="1351" b="1" i="0" u="none" strike="noStrike" kern="1200" cap="none" spc="0" normalizeH="0" baseline="0" noProof="0" dirty="0">
                <a:ln>
                  <a:noFill/>
                </a:ln>
                <a:solidFill>
                  <a:srgbClr val="00148C">
                    <a:lumMod val="100000"/>
                  </a:srgbClr>
                </a:solidFill>
                <a:effectLst/>
                <a:uLnTx/>
                <a:uFillTx/>
                <a:latin typeface="Arial" panose="020B0604020202020204" pitchFamily="34" charset="0"/>
                <a:ea typeface="+mn-ea"/>
                <a:cs typeface="Arial"/>
              </a:rPr>
              <a:t> product portfolio</a:t>
            </a:r>
          </a:p>
        </p:txBody>
      </p:sp>
      <p:sp>
        <p:nvSpPr>
          <p:cNvPr id="10" name="TextBox 9">
            <a:extLst>
              <a:ext uri="{FF2B5EF4-FFF2-40B4-BE49-F238E27FC236}">
                <a16:creationId xmlns:a16="http://schemas.microsoft.com/office/drawing/2014/main" id="{4D36D817-E997-4A7C-B8B0-4869F7173B3C}"/>
              </a:ext>
            </a:extLst>
          </p:cNvPr>
          <p:cNvSpPr txBox="1"/>
          <p:nvPr/>
        </p:nvSpPr>
        <p:spPr>
          <a:xfrm>
            <a:off x="5395957" y="2223315"/>
            <a:ext cx="1200968" cy="57069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148C"/>
                </a:solidFill>
                <a:effectLst/>
                <a:uLnTx/>
                <a:uFillTx/>
                <a:latin typeface="Arial" panose="020B0604020202020204"/>
                <a:ea typeface="+mn-ea"/>
                <a:cs typeface="Arial"/>
              </a:rPr>
              <a:t>Service Line Enabling teams</a:t>
            </a:r>
          </a:p>
        </p:txBody>
      </p:sp>
      <p:sp>
        <p:nvSpPr>
          <p:cNvPr id="11" name="Rectangle 10">
            <a:extLst>
              <a:ext uri="{FF2B5EF4-FFF2-40B4-BE49-F238E27FC236}">
                <a16:creationId xmlns:a16="http://schemas.microsoft.com/office/drawing/2014/main" id="{08174281-7BBD-499F-AF8A-C3A5BACAE0DE}"/>
              </a:ext>
            </a:extLst>
          </p:cNvPr>
          <p:cNvSpPr/>
          <p:nvPr/>
        </p:nvSpPr>
        <p:spPr>
          <a:xfrm>
            <a:off x="467883" y="2206279"/>
            <a:ext cx="4884735" cy="510384"/>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a:rPr>
              <a:t>Field Force</a:t>
            </a: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a:endParaRPr>
          </a:p>
        </p:txBody>
      </p:sp>
      <p:sp>
        <p:nvSpPr>
          <p:cNvPr id="106" name="Rectangle 105">
            <a:extLst>
              <a:ext uri="{FF2B5EF4-FFF2-40B4-BE49-F238E27FC236}">
                <a16:creationId xmlns:a16="http://schemas.microsoft.com/office/drawing/2014/main" id="{3B8C80B1-0476-4244-B5E6-73ADFA898493}"/>
              </a:ext>
            </a:extLst>
          </p:cNvPr>
          <p:cNvSpPr/>
          <p:nvPr/>
        </p:nvSpPr>
        <p:spPr>
          <a:xfrm>
            <a:off x="6049844" y="1538776"/>
            <a:ext cx="1192405" cy="457200"/>
          </a:xfrm>
          <a:prstGeom prst="rect">
            <a:avLst/>
          </a:prstGeom>
          <a:solidFill>
            <a:schemeClr val="bg1"/>
          </a:solidFill>
          <a:ln w="12700">
            <a:solidFill>
              <a:srgbClr val="0D46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148C"/>
                </a:solidFill>
                <a:effectLst/>
                <a:uLnTx/>
                <a:uFillTx/>
                <a:latin typeface="Arial" panose="020B0604020202020204"/>
                <a:ea typeface="+mn-ea"/>
                <a:cs typeface="Arial"/>
              </a:rPr>
              <a:t>BU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148C"/>
                </a:solidFill>
                <a:effectLst/>
                <a:uLnTx/>
                <a:uFillTx/>
                <a:latin typeface="Arial" panose="020B0604020202020204"/>
                <a:ea typeface="+mn-ea"/>
                <a:cs typeface="Arial"/>
              </a:rPr>
              <a:t>Transforma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148C"/>
                </a:solidFill>
                <a:effectLst/>
                <a:uLnTx/>
                <a:uFillTx/>
                <a:latin typeface="Arial" panose="020B0604020202020204"/>
                <a:ea typeface="+mn-ea"/>
                <a:cs typeface="Arial"/>
              </a:rPr>
              <a:t>Leader</a:t>
            </a:r>
          </a:p>
        </p:txBody>
      </p:sp>
      <p:sp>
        <p:nvSpPr>
          <p:cNvPr id="110" name="Rectangle 109">
            <a:extLst>
              <a:ext uri="{FF2B5EF4-FFF2-40B4-BE49-F238E27FC236}">
                <a16:creationId xmlns:a16="http://schemas.microsoft.com/office/drawing/2014/main" id="{92ABE286-AD52-CB40-A40D-82BE34FFC506}"/>
              </a:ext>
            </a:extLst>
          </p:cNvPr>
          <p:cNvSpPr/>
          <p:nvPr/>
        </p:nvSpPr>
        <p:spPr>
          <a:xfrm>
            <a:off x="5257880" y="1052557"/>
            <a:ext cx="1445805" cy="57069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a:ln>
                  <a:noFill/>
                </a:ln>
                <a:solidFill>
                  <a:srgbClr val="00148C"/>
                </a:solidFill>
                <a:effectLst/>
                <a:uLnTx/>
                <a:uFillTx/>
                <a:latin typeface="Arial" panose="020B0604020202020204" pitchFamily="34" charset="0"/>
                <a:ea typeface="+mn-ea"/>
                <a:cs typeface="Arial"/>
              </a:rPr>
              <a:t>Spoke leadership</a:t>
            </a:r>
          </a:p>
        </p:txBody>
      </p:sp>
      <p:cxnSp>
        <p:nvCxnSpPr>
          <p:cNvPr id="39" name="Straight Connector 38">
            <a:extLst>
              <a:ext uri="{FF2B5EF4-FFF2-40B4-BE49-F238E27FC236}">
                <a16:creationId xmlns:a16="http://schemas.microsoft.com/office/drawing/2014/main" id="{07877EAE-0A05-674D-B2F7-F1BA2447358F}"/>
              </a:ext>
            </a:extLst>
          </p:cNvPr>
          <p:cNvCxnSpPr/>
          <p:nvPr/>
        </p:nvCxnSpPr>
        <p:spPr>
          <a:xfrm>
            <a:off x="348994" y="2136163"/>
            <a:ext cx="11294365" cy="0"/>
          </a:xfrm>
          <a:prstGeom prst="line">
            <a:avLst/>
          </a:prstGeom>
          <a:ln w="952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1972FF6C-EC54-3C43-9AAE-CFCE2685587E}"/>
              </a:ext>
            </a:extLst>
          </p:cNvPr>
          <p:cNvSpPr/>
          <p:nvPr/>
        </p:nvSpPr>
        <p:spPr>
          <a:xfrm>
            <a:off x="6739069" y="2206279"/>
            <a:ext cx="5023180" cy="510384"/>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a:rPr>
              <a:t>Work planning</a:t>
            </a:r>
            <a:endParaRPr kumimoji="0" lang="en-US" sz="1067" b="1" i="0" u="none" strike="noStrike" kern="1200" cap="none" spc="0" normalizeH="0" baseline="0" noProof="0" dirty="0">
              <a:ln>
                <a:noFill/>
              </a:ln>
              <a:solidFill>
                <a:srgbClr val="FFFFFF"/>
              </a:solidFill>
              <a:effectLst/>
              <a:uLnTx/>
              <a:uFillTx/>
              <a:latin typeface="Arial" panose="020B0604020202020204" pitchFamily="34" charset="0"/>
              <a:ea typeface="+mn-ea"/>
              <a:cs typeface="Arial"/>
            </a:endParaRPr>
          </a:p>
        </p:txBody>
      </p:sp>
      <p:sp>
        <p:nvSpPr>
          <p:cNvPr id="114" name="Rectangle 113">
            <a:extLst>
              <a:ext uri="{FF2B5EF4-FFF2-40B4-BE49-F238E27FC236}">
                <a16:creationId xmlns:a16="http://schemas.microsoft.com/office/drawing/2014/main" id="{9E95C29E-877F-5946-B154-87BCA7361A3A}"/>
              </a:ext>
            </a:extLst>
          </p:cNvPr>
          <p:cNvSpPr/>
          <p:nvPr/>
        </p:nvSpPr>
        <p:spPr>
          <a:xfrm>
            <a:off x="5375840" y="4095902"/>
            <a:ext cx="1200968" cy="420364"/>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800" b="1" i="0" u="none" strike="noStrike" kern="1200" cap="none" spc="0" normalizeH="0" baseline="0" noProof="0" dirty="0">
                <a:ln>
                  <a:noFill/>
                </a:ln>
                <a:solidFill>
                  <a:srgbClr val="55555A"/>
                </a:solidFill>
                <a:effectLst/>
                <a:uLnTx/>
                <a:uFillTx/>
                <a:latin typeface="Arial" panose="020B0604020202020204" pitchFamily="34" charset="0"/>
                <a:ea typeface="+mn-ea"/>
                <a:cs typeface="Arial"/>
              </a:rPr>
              <a:t>Change</a:t>
            </a:r>
          </a:p>
        </p:txBody>
      </p:sp>
      <p:cxnSp>
        <p:nvCxnSpPr>
          <p:cNvPr id="117" name="Straight Connector 116">
            <a:extLst>
              <a:ext uri="{FF2B5EF4-FFF2-40B4-BE49-F238E27FC236}">
                <a16:creationId xmlns:a16="http://schemas.microsoft.com/office/drawing/2014/main" id="{B0BF5861-01A6-264C-8D2D-8F005E58F2F3}"/>
              </a:ext>
            </a:extLst>
          </p:cNvPr>
          <p:cNvCxnSpPr>
            <a:cxnSpLocks/>
          </p:cNvCxnSpPr>
          <p:nvPr/>
        </p:nvCxnSpPr>
        <p:spPr>
          <a:xfrm>
            <a:off x="5395957" y="2814636"/>
            <a:ext cx="1200968" cy="0"/>
          </a:xfrm>
          <a:prstGeom prst="line">
            <a:avLst/>
          </a:prstGeom>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B0C9E26-2CBB-C04C-A473-936DFCCBE186}"/>
              </a:ext>
            </a:extLst>
          </p:cNvPr>
          <p:cNvCxnSpPr>
            <a:cxnSpLocks/>
          </p:cNvCxnSpPr>
          <p:nvPr/>
        </p:nvCxnSpPr>
        <p:spPr>
          <a:xfrm>
            <a:off x="5395958" y="3387968"/>
            <a:ext cx="1149065" cy="0"/>
          </a:xfrm>
          <a:prstGeom prst="line">
            <a:avLst/>
          </a:prstGeom>
          <a:ln w="9525" cap="rnd">
            <a:solidFill>
              <a:schemeClr val="tx1">
                <a:lumMod val="5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803436E-D7E4-3A4D-BD07-7D49381DDDC9}"/>
              </a:ext>
            </a:extLst>
          </p:cNvPr>
          <p:cNvCxnSpPr>
            <a:cxnSpLocks/>
          </p:cNvCxnSpPr>
          <p:nvPr/>
        </p:nvCxnSpPr>
        <p:spPr>
          <a:xfrm>
            <a:off x="641162" y="5952068"/>
            <a:ext cx="3945255" cy="0"/>
          </a:xfrm>
          <a:prstGeom prst="line">
            <a:avLst/>
          </a:prstGeom>
          <a:ln w="9525" cap="rnd">
            <a:solidFill>
              <a:schemeClr val="tx1">
                <a:lumMod val="5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0FBDE67-B36D-A64E-93CD-B799A99875B9}"/>
              </a:ext>
            </a:extLst>
          </p:cNvPr>
          <p:cNvCxnSpPr>
            <a:cxnSpLocks/>
          </p:cNvCxnSpPr>
          <p:nvPr/>
        </p:nvCxnSpPr>
        <p:spPr>
          <a:xfrm>
            <a:off x="641162" y="6314207"/>
            <a:ext cx="3945255" cy="0"/>
          </a:xfrm>
          <a:prstGeom prst="line">
            <a:avLst/>
          </a:prstGeom>
          <a:ln w="9525" cap="rnd">
            <a:solidFill>
              <a:schemeClr val="tx1">
                <a:lumMod val="5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AF476406-FC7F-B44C-8C8D-98A50BF783B5}"/>
              </a:ext>
            </a:extLst>
          </p:cNvPr>
          <p:cNvCxnSpPr>
            <a:cxnSpLocks/>
          </p:cNvCxnSpPr>
          <p:nvPr/>
        </p:nvCxnSpPr>
        <p:spPr>
          <a:xfrm>
            <a:off x="7217439" y="5952068"/>
            <a:ext cx="4241028" cy="0"/>
          </a:xfrm>
          <a:prstGeom prst="line">
            <a:avLst/>
          </a:prstGeom>
          <a:ln w="9525" cap="rnd">
            <a:solidFill>
              <a:schemeClr val="tx1">
                <a:lumMod val="5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3532319-CDFB-A840-B150-58E016A961DA}"/>
              </a:ext>
            </a:extLst>
          </p:cNvPr>
          <p:cNvCxnSpPr>
            <a:cxnSpLocks/>
          </p:cNvCxnSpPr>
          <p:nvPr/>
        </p:nvCxnSpPr>
        <p:spPr>
          <a:xfrm>
            <a:off x="7217439" y="6314207"/>
            <a:ext cx="4241028" cy="0"/>
          </a:xfrm>
          <a:prstGeom prst="line">
            <a:avLst/>
          </a:prstGeom>
          <a:ln w="9525" cap="rnd">
            <a:solidFill>
              <a:schemeClr val="tx1">
                <a:lumMod val="5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2206F02-A2C3-1A4D-8E95-88A4E5009A7A}"/>
              </a:ext>
            </a:extLst>
          </p:cNvPr>
          <p:cNvCxnSpPr>
            <a:cxnSpLocks/>
          </p:cNvCxnSpPr>
          <p:nvPr/>
        </p:nvCxnSpPr>
        <p:spPr>
          <a:xfrm>
            <a:off x="5402222" y="4049488"/>
            <a:ext cx="1135345" cy="0"/>
          </a:xfrm>
          <a:prstGeom prst="line">
            <a:avLst/>
          </a:prstGeom>
          <a:ln w="9525" cap="rnd">
            <a:solidFill>
              <a:schemeClr val="tx1">
                <a:lumMod val="5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46" name="Right Arrow 145">
            <a:extLst>
              <a:ext uri="{FF2B5EF4-FFF2-40B4-BE49-F238E27FC236}">
                <a16:creationId xmlns:a16="http://schemas.microsoft.com/office/drawing/2014/main" id="{0B370B2B-35E2-4745-9193-EA12F5237FE0}"/>
              </a:ext>
            </a:extLst>
          </p:cNvPr>
          <p:cNvSpPr/>
          <p:nvPr/>
        </p:nvSpPr>
        <p:spPr>
          <a:xfrm rot="10800000">
            <a:off x="5031285" y="5926442"/>
            <a:ext cx="381823" cy="360687"/>
          </a:xfrm>
          <a:prstGeom prst="rightArrow">
            <a:avLst/>
          </a:prstGeom>
          <a:solidFill>
            <a:srgbClr val="38D42E"/>
          </a:solidFill>
          <a:ln w="9525"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48" name="Right Arrow 147">
            <a:extLst>
              <a:ext uri="{FF2B5EF4-FFF2-40B4-BE49-F238E27FC236}">
                <a16:creationId xmlns:a16="http://schemas.microsoft.com/office/drawing/2014/main" id="{D6847483-8CBE-C44A-A354-C9CAF9B198FB}"/>
              </a:ext>
            </a:extLst>
          </p:cNvPr>
          <p:cNvSpPr/>
          <p:nvPr/>
        </p:nvSpPr>
        <p:spPr>
          <a:xfrm>
            <a:off x="6514192" y="5914005"/>
            <a:ext cx="412872" cy="360687"/>
          </a:xfrm>
          <a:prstGeom prst="rightArrow">
            <a:avLst/>
          </a:prstGeom>
          <a:solidFill>
            <a:srgbClr val="38D42E"/>
          </a:solidFill>
          <a:ln w="9525"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57" name="TextBox 56">
            <a:extLst>
              <a:ext uri="{FF2B5EF4-FFF2-40B4-BE49-F238E27FC236}">
                <a16:creationId xmlns:a16="http://schemas.microsoft.com/office/drawing/2014/main" id="{90796664-1A70-1A40-BD63-D141BFE8D43A}"/>
              </a:ext>
            </a:extLst>
          </p:cNvPr>
          <p:cNvSpPr txBox="1"/>
          <p:nvPr/>
        </p:nvSpPr>
        <p:spPr>
          <a:xfrm>
            <a:off x="8210145" y="-47989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55555A"/>
              </a:solidFill>
              <a:effectLst/>
              <a:uLnTx/>
              <a:uFillTx/>
              <a:latin typeface="Arial" panose="020B0604020202020204"/>
              <a:ea typeface="+mn-ea"/>
              <a:cs typeface="Arial"/>
            </a:endParaRPr>
          </a:p>
        </p:txBody>
      </p:sp>
      <p:sp>
        <p:nvSpPr>
          <p:cNvPr id="195" name="Rectangle 194">
            <a:extLst>
              <a:ext uri="{FF2B5EF4-FFF2-40B4-BE49-F238E27FC236}">
                <a16:creationId xmlns:a16="http://schemas.microsoft.com/office/drawing/2014/main" id="{10D26AB9-BE81-994B-8D6C-A5FCA2F94745}"/>
              </a:ext>
            </a:extLst>
          </p:cNvPr>
          <p:cNvSpPr/>
          <p:nvPr/>
        </p:nvSpPr>
        <p:spPr>
          <a:xfrm>
            <a:off x="5413441" y="2913965"/>
            <a:ext cx="1200968" cy="420364"/>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buSzPct val="100000"/>
              <a:buFont typeface="Trebuchet MS" panose="020B0603020202020204" pitchFamily="34" charset="0"/>
              <a:buChar char="​"/>
              <a:defRPr/>
            </a:pPr>
            <a:r>
              <a:rPr lang="en-US" sz="800" b="1" dirty="0">
                <a:solidFill>
                  <a:srgbClr val="55555A"/>
                </a:solidFill>
                <a:latin typeface="Arial" panose="020B0604020202020204" pitchFamily="34" charset="0"/>
              </a:rPr>
              <a:t>Future of Electric</a:t>
            </a:r>
          </a:p>
        </p:txBody>
      </p:sp>
      <p:sp>
        <p:nvSpPr>
          <p:cNvPr id="135" name="Right Arrow 134">
            <a:extLst>
              <a:ext uri="{FF2B5EF4-FFF2-40B4-BE49-F238E27FC236}">
                <a16:creationId xmlns:a16="http://schemas.microsoft.com/office/drawing/2014/main" id="{FED8B2C8-2435-C345-9729-0DF4C7E7D91C}"/>
              </a:ext>
            </a:extLst>
          </p:cNvPr>
          <p:cNvSpPr/>
          <p:nvPr/>
        </p:nvSpPr>
        <p:spPr>
          <a:xfrm rot="10800000">
            <a:off x="5029631" y="3674656"/>
            <a:ext cx="366326" cy="360687"/>
          </a:xfrm>
          <a:prstGeom prst="rightArrow">
            <a:avLst/>
          </a:prstGeom>
          <a:solidFill>
            <a:srgbClr val="38D42E"/>
          </a:solidFill>
          <a:ln w="9525"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94" name="Rectangle 93">
            <a:extLst>
              <a:ext uri="{FF2B5EF4-FFF2-40B4-BE49-F238E27FC236}">
                <a16:creationId xmlns:a16="http://schemas.microsoft.com/office/drawing/2014/main" id="{E92A1CEA-B431-8140-8CBD-646913B66D22}"/>
              </a:ext>
            </a:extLst>
          </p:cNvPr>
          <p:cNvSpPr/>
          <p:nvPr/>
        </p:nvSpPr>
        <p:spPr>
          <a:xfrm>
            <a:off x="714237" y="5616713"/>
            <a:ext cx="4111869" cy="30175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55555A"/>
                </a:solidFill>
                <a:effectLst/>
                <a:uLnTx/>
                <a:uFillTx/>
                <a:latin typeface="Arial" panose="020B0604020202020204" pitchFamily="34" charset="0"/>
                <a:ea typeface="+mn-ea"/>
                <a:cs typeface="Arial"/>
              </a:rPr>
              <a:t>Data platforms</a:t>
            </a:r>
          </a:p>
        </p:txBody>
      </p:sp>
      <p:sp>
        <p:nvSpPr>
          <p:cNvPr id="95" name="Rectangle 94">
            <a:extLst>
              <a:ext uri="{FF2B5EF4-FFF2-40B4-BE49-F238E27FC236}">
                <a16:creationId xmlns:a16="http://schemas.microsoft.com/office/drawing/2014/main" id="{536867AB-D335-3445-8914-F8DCF8014D57}"/>
              </a:ext>
            </a:extLst>
          </p:cNvPr>
          <p:cNvSpPr/>
          <p:nvPr/>
        </p:nvSpPr>
        <p:spPr>
          <a:xfrm>
            <a:off x="749072" y="5971524"/>
            <a:ext cx="4111869" cy="30175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a:ln>
                  <a:noFill/>
                </a:ln>
                <a:solidFill>
                  <a:srgbClr val="55555A"/>
                </a:solidFill>
                <a:effectLst/>
                <a:uLnTx/>
                <a:uFillTx/>
                <a:latin typeface="Arial" panose="020B0604020202020204" pitchFamily="34" charset="0"/>
                <a:ea typeface="+mn-ea"/>
                <a:cs typeface="Arial"/>
              </a:rPr>
              <a:t>Enterprise core platforms</a:t>
            </a:r>
          </a:p>
        </p:txBody>
      </p:sp>
      <p:sp>
        <p:nvSpPr>
          <p:cNvPr id="96" name="Rectangle 95">
            <a:extLst>
              <a:ext uri="{FF2B5EF4-FFF2-40B4-BE49-F238E27FC236}">
                <a16:creationId xmlns:a16="http://schemas.microsoft.com/office/drawing/2014/main" id="{51966CE9-E0FE-D64B-9FB1-AFF4A8DA5F4E}"/>
              </a:ext>
            </a:extLst>
          </p:cNvPr>
          <p:cNvSpPr/>
          <p:nvPr/>
        </p:nvSpPr>
        <p:spPr>
          <a:xfrm>
            <a:off x="731109" y="6338568"/>
            <a:ext cx="4111869" cy="30175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a:ln>
                  <a:noFill/>
                </a:ln>
                <a:solidFill>
                  <a:srgbClr val="55555A"/>
                </a:solidFill>
                <a:effectLst/>
                <a:uLnTx/>
                <a:uFillTx/>
                <a:latin typeface="Arial" panose="020B0604020202020204" pitchFamily="34" charset="0"/>
                <a:ea typeface="+mn-ea"/>
                <a:cs typeface="Arial"/>
              </a:rPr>
              <a:t>Infrastructure, DevOps, Security</a:t>
            </a:r>
          </a:p>
        </p:txBody>
      </p:sp>
      <p:sp>
        <p:nvSpPr>
          <p:cNvPr id="97" name="Rectangle 96">
            <a:extLst>
              <a:ext uri="{FF2B5EF4-FFF2-40B4-BE49-F238E27FC236}">
                <a16:creationId xmlns:a16="http://schemas.microsoft.com/office/drawing/2014/main" id="{745CC603-1FB9-4749-8C76-56A50C6AA654}"/>
              </a:ext>
            </a:extLst>
          </p:cNvPr>
          <p:cNvSpPr/>
          <p:nvPr/>
        </p:nvSpPr>
        <p:spPr>
          <a:xfrm>
            <a:off x="7056370" y="5616713"/>
            <a:ext cx="4689640" cy="30175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55555A"/>
                </a:solidFill>
                <a:effectLst/>
                <a:uLnTx/>
                <a:uFillTx/>
                <a:latin typeface="Arial" panose="020B0604020202020204" pitchFamily="34" charset="0"/>
                <a:ea typeface="+mn-ea"/>
                <a:cs typeface="Arial"/>
              </a:rPr>
              <a:t>Data platforms</a:t>
            </a:r>
          </a:p>
        </p:txBody>
      </p:sp>
      <p:sp>
        <p:nvSpPr>
          <p:cNvPr id="98" name="Rectangle 97">
            <a:extLst>
              <a:ext uri="{FF2B5EF4-FFF2-40B4-BE49-F238E27FC236}">
                <a16:creationId xmlns:a16="http://schemas.microsoft.com/office/drawing/2014/main" id="{9815D974-CB91-CB48-A7E4-8B04752C0584}"/>
              </a:ext>
            </a:extLst>
          </p:cNvPr>
          <p:cNvSpPr/>
          <p:nvPr/>
        </p:nvSpPr>
        <p:spPr>
          <a:xfrm>
            <a:off x="7091205" y="5971524"/>
            <a:ext cx="4689640" cy="30175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55555A"/>
                </a:solidFill>
                <a:effectLst/>
                <a:uLnTx/>
                <a:uFillTx/>
                <a:latin typeface="Arial" panose="020B0604020202020204" pitchFamily="34" charset="0"/>
                <a:ea typeface="+mn-ea"/>
                <a:cs typeface="Arial"/>
              </a:rPr>
              <a:t>Enterprise core platforms</a:t>
            </a:r>
          </a:p>
        </p:txBody>
      </p:sp>
      <p:sp>
        <p:nvSpPr>
          <p:cNvPr id="99" name="Rectangle 98">
            <a:extLst>
              <a:ext uri="{FF2B5EF4-FFF2-40B4-BE49-F238E27FC236}">
                <a16:creationId xmlns:a16="http://schemas.microsoft.com/office/drawing/2014/main" id="{F4B6FCF4-B2C3-CA46-822E-154E355529B7}"/>
              </a:ext>
            </a:extLst>
          </p:cNvPr>
          <p:cNvSpPr/>
          <p:nvPr/>
        </p:nvSpPr>
        <p:spPr>
          <a:xfrm>
            <a:off x="7073242" y="6338568"/>
            <a:ext cx="4689640" cy="30175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a:ln>
                  <a:noFill/>
                </a:ln>
                <a:solidFill>
                  <a:srgbClr val="55555A"/>
                </a:solidFill>
                <a:effectLst/>
                <a:uLnTx/>
                <a:uFillTx/>
                <a:latin typeface="Arial" panose="020B0604020202020204" pitchFamily="34" charset="0"/>
                <a:ea typeface="+mn-ea"/>
                <a:cs typeface="Arial"/>
              </a:rPr>
              <a:t>Infrastructure, DevOps, Security</a:t>
            </a:r>
          </a:p>
        </p:txBody>
      </p:sp>
      <p:cxnSp>
        <p:nvCxnSpPr>
          <p:cNvPr id="100" name="Straight Connector 99">
            <a:extLst>
              <a:ext uri="{FF2B5EF4-FFF2-40B4-BE49-F238E27FC236}">
                <a16:creationId xmlns:a16="http://schemas.microsoft.com/office/drawing/2014/main" id="{F124989A-9AE6-1B4F-9F92-FC19BAF4AA8C}"/>
              </a:ext>
            </a:extLst>
          </p:cNvPr>
          <p:cNvCxnSpPr>
            <a:cxnSpLocks/>
          </p:cNvCxnSpPr>
          <p:nvPr/>
        </p:nvCxnSpPr>
        <p:spPr>
          <a:xfrm>
            <a:off x="5402222" y="4576824"/>
            <a:ext cx="1135345" cy="0"/>
          </a:xfrm>
          <a:prstGeom prst="line">
            <a:avLst/>
          </a:prstGeom>
          <a:ln w="9525" cap="rnd">
            <a:solidFill>
              <a:schemeClr val="tx1">
                <a:lumMod val="5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D94DF441-3427-4541-A63F-CD12DB7D40C6}"/>
              </a:ext>
            </a:extLst>
          </p:cNvPr>
          <p:cNvSpPr/>
          <p:nvPr/>
        </p:nvSpPr>
        <p:spPr>
          <a:xfrm>
            <a:off x="5362165" y="3530721"/>
            <a:ext cx="1200968" cy="38854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buSzPct val="100000"/>
              <a:buFont typeface="Trebuchet MS" panose="020B0603020202020204" pitchFamily="34" charset="0"/>
              <a:buChar char="​"/>
              <a:defRPr/>
            </a:pPr>
            <a:r>
              <a:rPr lang="en-US" sz="800" b="1" dirty="0">
                <a:solidFill>
                  <a:srgbClr val="55555A"/>
                </a:solidFill>
                <a:latin typeface="Arial" panose="020B0604020202020204" pitchFamily="34" charset="0"/>
              </a:rPr>
              <a:t>Process Performance &amp; Improvement</a:t>
            </a:r>
          </a:p>
        </p:txBody>
      </p:sp>
      <p:cxnSp>
        <p:nvCxnSpPr>
          <p:cNvPr id="112" name="Straight Connector 111">
            <a:extLst>
              <a:ext uri="{FF2B5EF4-FFF2-40B4-BE49-F238E27FC236}">
                <a16:creationId xmlns:a16="http://schemas.microsoft.com/office/drawing/2014/main" id="{978973E6-247E-F549-AC2B-E8297365B089}"/>
              </a:ext>
            </a:extLst>
          </p:cNvPr>
          <p:cNvCxnSpPr>
            <a:cxnSpLocks/>
          </p:cNvCxnSpPr>
          <p:nvPr/>
        </p:nvCxnSpPr>
        <p:spPr>
          <a:xfrm>
            <a:off x="5385275" y="5464896"/>
            <a:ext cx="1174421" cy="0"/>
          </a:xfrm>
          <a:prstGeom prst="line">
            <a:avLst/>
          </a:prstGeom>
          <a:ln w="9525" cap="rnd">
            <a:solidFill>
              <a:schemeClr val="tx1">
                <a:lumMod val="5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0427721D-62F1-C140-B012-F06EAB5C2BF8}"/>
              </a:ext>
            </a:extLst>
          </p:cNvPr>
          <p:cNvSpPr/>
          <p:nvPr/>
        </p:nvSpPr>
        <p:spPr>
          <a:xfrm>
            <a:off x="5381767" y="5533996"/>
            <a:ext cx="1200968" cy="38854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buSzPct val="100000"/>
              <a:buFont typeface="Trebuchet MS" panose="020B0603020202020204" pitchFamily="34" charset="0"/>
              <a:buChar char="​"/>
              <a:defRPr/>
            </a:pPr>
            <a:r>
              <a:rPr lang="en-US" sz="800" b="1" dirty="0">
                <a:solidFill>
                  <a:srgbClr val="55555A"/>
                </a:solidFill>
                <a:latin typeface="Arial" panose="020B0604020202020204" pitchFamily="34" charset="0"/>
              </a:rPr>
              <a:t>Foundational systems</a:t>
            </a:r>
          </a:p>
        </p:txBody>
      </p:sp>
      <p:cxnSp>
        <p:nvCxnSpPr>
          <p:cNvPr id="119" name="Straight Connector 118">
            <a:extLst>
              <a:ext uri="{FF2B5EF4-FFF2-40B4-BE49-F238E27FC236}">
                <a16:creationId xmlns:a16="http://schemas.microsoft.com/office/drawing/2014/main" id="{C589DBB6-0FDE-8C43-BC73-D1B5BEA83770}"/>
              </a:ext>
            </a:extLst>
          </p:cNvPr>
          <p:cNvCxnSpPr>
            <a:cxnSpLocks/>
          </p:cNvCxnSpPr>
          <p:nvPr/>
        </p:nvCxnSpPr>
        <p:spPr>
          <a:xfrm>
            <a:off x="5375615" y="5971524"/>
            <a:ext cx="1174421" cy="0"/>
          </a:xfrm>
          <a:prstGeom prst="line">
            <a:avLst/>
          </a:prstGeom>
          <a:ln w="9525" cap="rnd">
            <a:solidFill>
              <a:schemeClr val="tx1">
                <a:lumMod val="5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73B740E3-5F2E-CB4A-B989-18C88B03C5AF}"/>
              </a:ext>
            </a:extLst>
          </p:cNvPr>
          <p:cNvSpPr/>
          <p:nvPr/>
        </p:nvSpPr>
        <p:spPr>
          <a:xfrm>
            <a:off x="5381767" y="6077964"/>
            <a:ext cx="1200968" cy="38854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377">
              <a:buSzPct val="100000"/>
              <a:buFont typeface="Trebuchet MS" panose="020B0603020202020204" pitchFamily="34" charset="0"/>
              <a:buChar char="​"/>
              <a:defRPr/>
            </a:pPr>
            <a:r>
              <a:rPr lang="en-US" sz="800" b="1" dirty="0">
                <a:solidFill>
                  <a:srgbClr val="55555A"/>
                </a:solidFill>
                <a:latin typeface="Arial" panose="020B0604020202020204" pitchFamily="34" charset="0"/>
              </a:rPr>
              <a:t>Data architecture &amp; Strategy</a:t>
            </a:r>
          </a:p>
        </p:txBody>
      </p:sp>
      <p:sp>
        <p:nvSpPr>
          <p:cNvPr id="147" name="Right Arrow 146">
            <a:extLst>
              <a:ext uri="{FF2B5EF4-FFF2-40B4-BE49-F238E27FC236}">
                <a16:creationId xmlns:a16="http://schemas.microsoft.com/office/drawing/2014/main" id="{FACF6DFC-35DF-6F44-B3D7-151EAAFF0524}"/>
              </a:ext>
            </a:extLst>
          </p:cNvPr>
          <p:cNvSpPr/>
          <p:nvPr/>
        </p:nvSpPr>
        <p:spPr>
          <a:xfrm>
            <a:off x="6369071" y="3674657"/>
            <a:ext cx="387805" cy="360687"/>
          </a:xfrm>
          <a:prstGeom prst="rightArrow">
            <a:avLst/>
          </a:prstGeom>
          <a:solidFill>
            <a:srgbClr val="38D42E"/>
          </a:solidFill>
          <a:ln w="9525"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72" name="Right Arrow 171">
            <a:extLst>
              <a:ext uri="{FF2B5EF4-FFF2-40B4-BE49-F238E27FC236}">
                <a16:creationId xmlns:a16="http://schemas.microsoft.com/office/drawing/2014/main" id="{EC23146C-4369-614C-A1AB-C6CA72117082}"/>
              </a:ext>
            </a:extLst>
          </p:cNvPr>
          <p:cNvSpPr/>
          <p:nvPr/>
        </p:nvSpPr>
        <p:spPr>
          <a:xfrm rot="16200000">
            <a:off x="3965781" y="5219736"/>
            <a:ext cx="231854" cy="360687"/>
          </a:xfrm>
          <a:prstGeom prst="rightArrow">
            <a:avLst/>
          </a:prstGeom>
          <a:solidFill>
            <a:srgbClr val="38D42E"/>
          </a:solidFill>
          <a:ln w="9525"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73" name="Right Arrow 172">
            <a:extLst>
              <a:ext uri="{FF2B5EF4-FFF2-40B4-BE49-F238E27FC236}">
                <a16:creationId xmlns:a16="http://schemas.microsoft.com/office/drawing/2014/main" id="{8702411C-F0A4-1A4E-B7AA-52115E382981}"/>
              </a:ext>
            </a:extLst>
          </p:cNvPr>
          <p:cNvSpPr/>
          <p:nvPr/>
        </p:nvSpPr>
        <p:spPr>
          <a:xfrm rot="16200000">
            <a:off x="7750258" y="5219737"/>
            <a:ext cx="231854" cy="360687"/>
          </a:xfrm>
          <a:prstGeom prst="rightArrow">
            <a:avLst/>
          </a:prstGeom>
          <a:solidFill>
            <a:srgbClr val="38D42E"/>
          </a:solidFill>
          <a:ln w="9525"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74" name="Right Arrow 173">
            <a:extLst>
              <a:ext uri="{FF2B5EF4-FFF2-40B4-BE49-F238E27FC236}">
                <a16:creationId xmlns:a16="http://schemas.microsoft.com/office/drawing/2014/main" id="{04D138CA-EBD5-E242-B36B-CCF40E053DEC}"/>
              </a:ext>
            </a:extLst>
          </p:cNvPr>
          <p:cNvSpPr/>
          <p:nvPr/>
        </p:nvSpPr>
        <p:spPr>
          <a:xfrm rot="16200000">
            <a:off x="10806457" y="5227652"/>
            <a:ext cx="216055" cy="360687"/>
          </a:xfrm>
          <a:prstGeom prst="rightArrow">
            <a:avLst/>
          </a:prstGeom>
          <a:solidFill>
            <a:srgbClr val="38D42E"/>
          </a:solidFill>
          <a:ln w="9525"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75" name="Right Arrow 174">
            <a:extLst>
              <a:ext uri="{FF2B5EF4-FFF2-40B4-BE49-F238E27FC236}">
                <a16:creationId xmlns:a16="http://schemas.microsoft.com/office/drawing/2014/main" id="{75CD1391-40C0-0F40-AA79-B06F4A64EBEE}"/>
              </a:ext>
            </a:extLst>
          </p:cNvPr>
          <p:cNvSpPr/>
          <p:nvPr/>
        </p:nvSpPr>
        <p:spPr>
          <a:xfrm rot="16200000">
            <a:off x="1436159" y="5219735"/>
            <a:ext cx="231854" cy="360687"/>
          </a:xfrm>
          <a:prstGeom prst="rightArrow">
            <a:avLst/>
          </a:prstGeom>
          <a:solidFill>
            <a:srgbClr val="38D42E"/>
          </a:solidFill>
          <a:ln w="9525"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51" name="Rectangle 150">
            <a:extLst>
              <a:ext uri="{FF2B5EF4-FFF2-40B4-BE49-F238E27FC236}">
                <a16:creationId xmlns:a16="http://schemas.microsoft.com/office/drawing/2014/main" id="{4A359696-EADD-7E4B-97F6-B0FA6BD3034B}"/>
              </a:ext>
            </a:extLst>
          </p:cNvPr>
          <p:cNvSpPr/>
          <p:nvPr/>
        </p:nvSpPr>
        <p:spPr>
          <a:xfrm>
            <a:off x="192050" y="5578530"/>
            <a:ext cx="1428312" cy="399515"/>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a:ea typeface="+mn-ea"/>
                <a:cs typeface="Arial"/>
              </a:rPr>
              <a:t>Electric Operations Digital &amp; Data Platform </a:t>
            </a:r>
          </a:p>
        </p:txBody>
      </p:sp>
      <p:sp>
        <p:nvSpPr>
          <p:cNvPr id="90" name="Rectangle 89">
            <a:extLst>
              <a:ext uri="{FF2B5EF4-FFF2-40B4-BE49-F238E27FC236}">
                <a16:creationId xmlns:a16="http://schemas.microsoft.com/office/drawing/2014/main" id="{52B70054-9B61-466B-839E-EAC58A294FA9}"/>
              </a:ext>
            </a:extLst>
          </p:cNvPr>
          <p:cNvSpPr/>
          <p:nvPr/>
        </p:nvSpPr>
        <p:spPr>
          <a:xfrm>
            <a:off x="7399058" y="1533691"/>
            <a:ext cx="1195188" cy="457200"/>
          </a:xfrm>
          <a:prstGeom prst="rect">
            <a:avLst/>
          </a:prstGeom>
          <a:solidFill>
            <a:schemeClr val="bg1"/>
          </a:solidFill>
          <a:ln w="10795" cap="flat" cmpd="sng" algn="ctr">
            <a:solidFill>
              <a:srgbClr val="FFB4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rgbClr val="F7A941"/>
                </a:solidFill>
                <a:latin typeface="Arial"/>
                <a:cs typeface="Arial"/>
              </a:rPr>
              <a:t>Head of Engineering</a:t>
            </a:r>
          </a:p>
        </p:txBody>
      </p:sp>
      <p:sp>
        <p:nvSpPr>
          <p:cNvPr id="91" name="Rectangle 90">
            <a:extLst>
              <a:ext uri="{FF2B5EF4-FFF2-40B4-BE49-F238E27FC236}">
                <a16:creationId xmlns:a16="http://schemas.microsoft.com/office/drawing/2014/main" id="{34C9789F-D49B-49DA-8AED-F5108B1C1393}"/>
              </a:ext>
            </a:extLst>
          </p:cNvPr>
          <p:cNvSpPr/>
          <p:nvPr/>
        </p:nvSpPr>
        <p:spPr>
          <a:xfrm>
            <a:off x="3193838" y="1545067"/>
            <a:ext cx="1195188" cy="457200"/>
          </a:xfrm>
          <a:prstGeom prst="rect">
            <a:avLst/>
          </a:prstGeom>
          <a:solidFill>
            <a:schemeClr val="bg1"/>
          </a:solidFill>
          <a:ln w="10795" cap="flat" cmpd="sng" algn="ctr">
            <a:solidFill>
              <a:srgbClr val="F7A94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rgbClr val="F7A941"/>
                </a:solidFill>
                <a:latin typeface="Arial"/>
                <a:cs typeface="Arial"/>
              </a:rPr>
              <a:t>Head of Product</a:t>
            </a:r>
          </a:p>
        </p:txBody>
      </p:sp>
      <p:sp>
        <p:nvSpPr>
          <p:cNvPr id="93" name="Rectangle 92">
            <a:extLst>
              <a:ext uri="{FF2B5EF4-FFF2-40B4-BE49-F238E27FC236}">
                <a16:creationId xmlns:a16="http://schemas.microsoft.com/office/drawing/2014/main" id="{C09DB4E6-0B1A-4274-B9CD-E6170CBAA578}"/>
              </a:ext>
            </a:extLst>
          </p:cNvPr>
          <p:cNvSpPr/>
          <p:nvPr/>
        </p:nvSpPr>
        <p:spPr>
          <a:xfrm>
            <a:off x="6049845" y="1538776"/>
            <a:ext cx="1192405" cy="457200"/>
          </a:xfrm>
          <a:prstGeom prst="rect">
            <a:avLst/>
          </a:prstGeom>
          <a:solidFill>
            <a:schemeClr val="bg1"/>
          </a:solid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chemeClr val="tx2"/>
                </a:solidFill>
                <a:latin typeface="Arial" panose="020B0604020202020204"/>
                <a:cs typeface="Arial"/>
              </a:rPr>
              <a:t>David Smith</a:t>
            </a:r>
          </a:p>
        </p:txBody>
      </p:sp>
      <p:cxnSp>
        <p:nvCxnSpPr>
          <p:cNvPr id="101" name="Straight Connector 100">
            <a:extLst>
              <a:ext uri="{FF2B5EF4-FFF2-40B4-BE49-F238E27FC236}">
                <a16:creationId xmlns:a16="http://schemas.microsoft.com/office/drawing/2014/main" id="{12CE7F36-7E21-475D-B901-191B2FB07366}"/>
              </a:ext>
            </a:extLst>
          </p:cNvPr>
          <p:cNvCxnSpPr/>
          <p:nvPr/>
        </p:nvCxnSpPr>
        <p:spPr>
          <a:xfrm>
            <a:off x="348995" y="2136163"/>
            <a:ext cx="11294365" cy="0"/>
          </a:xfrm>
          <a:prstGeom prst="line">
            <a:avLst/>
          </a:prstGeom>
          <a:ln w="952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nvGrpSpPr>
          <p:cNvPr id="107" name="Google Shape;18115;p1604">
            <a:extLst>
              <a:ext uri="{FF2B5EF4-FFF2-40B4-BE49-F238E27FC236}">
                <a16:creationId xmlns:a16="http://schemas.microsoft.com/office/drawing/2014/main" id="{DCDE9EF9-2DB7-4503-8D03-1191A8294B4C}"/>
              </a:ext>
            </a:extLst>
          </p:cNvPr>
          <p:cNvGrpSpPr/>
          <p:nvPr/>
        </p:nvGrpSpPr>
        <p:grpSpPr>
          <a:xfrm>
            <a:off x="11199801" y="1326667"/>
            <a:ext cx="217843" cy="217845"/>
            <a:chOff x="1932810" y="1349835"/>
            <a:chExt cx="185335" cy="185337"/>
          </a:xfrm>
          <a:solidFill>
            <a:srgbClr val="FFE02B"/>
          </a:solidFill>
        </p:grpSpPr>
        <p:sp>
          <p:nvSpPr>
            <p:cNvPr id="108" name="Google Shape;18116;p1604">
              <a:extLst>
                <a:ext uri="{FF2B5EF4-FFF2-40B4-BE49-F238E27FC236}">
                  <a16:creationId xmlns:a16="http://schemas.microsoft.com/office/drawing/2014/main" id="{A3BC63FA-4EC4-4A1E-80F2-7A9091A3B67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09" name="Google Shape;18117;p1604">
              <a:extLst>
                <a:ext uri="{FF2B5EF4-FFF2-40B4-BE49-F238E27FC236}">
                  <a16:creationId xmlns:a16="http://schemas.microsoft.com/office/drawing/2014/main" id="{32D273E8-13FB-4F5E-B56D-B44B92F96F6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grpSp>
        <p:nvGrpSpPr>
          <p:cNvPr id="128" name="Google Shape;18115;p1604">
            <a:extLst>
              <a:ext uri="{FF2B5EF4-FFF2-40B4-BE49-F238E27FC236}">
                <a16:creationId xmlns:a16="http://schemas.microsoft.com/office/drawing/2014/main" id="{913C3A66-8646-4DEC-83FF-1DD299DE5C60}"/>
              </a:ext>
            </a:extLst>
          </p:cNvPr>
          <p:cNvGrpSpPr/>
          <p:nvPr/>
        </p:nvGrpSpPr>
        <p:grpSpPr>
          <a:xfrm>
            <a:off x="10372192" y="1323589"/>
            <a:ext cx="217843" cy="217845"/>
            <a:chOff x="1932810" y="1349835"/>
            <a:chExt cx="185335" cy="185337"/>
          </a:xfrm>
          <a:solidFill>
            <a:srgbClr val="FFE02B"/>
          </a:solidFill>
        </p:grpSpPr>
        <p:sp>
          <p:nvSpPr>
            <p:cNvPr id="129" name="Google Shape;18116;p1604">
              <a:extLst>
                <a:ext uri="{FF2B5EF4-FFF2-40B4-BE49-F238E27FC236}">
                  <a16:creationId xmlns:a16="http://schemas.microsoft.com/office/drawing/2014/main" id="{CCC4BAFE-805D-4074-BAAD-69C5A6C1238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32" name="Google Shape;18117;p1604">
              <a:extLst>
                <a:ext uri="{FF2B5EF4-FFF2-40B4-BE49-F238E27FC236}">
                  <a16:creationId xmlns:a16="http://schemas.microsoft.com/office/drawing/2014/main" id="{147009AC-66E3-4C54-B3D9-AF20F650AE2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sp>
        <p:nvSpPr>
          <p:cNvPr id="133" name="Google Shape;18108;p1604">
            <a:extLst>
              <a:ext uri="{FF2B5EF4-FFF2-40B4-BE49-F238E27FC236}">
                <a16:creationId xmlns:a16="http://schemas.microsoft.com/office/drawing/2014/main" id="{3BD6A9B5-6318-4947-8306-27437A05FE43}"/>
              </a:ext>
            </a:extLst>
          </p:cNvPr>
          <p:cNvSpPr txBox="1"/>
          <p:nvPr/>
        </p:nvSpPr>
        <p:spPr>
          <a:xfrm>
            <a:off x="11469004" y="1361440"/>
            <a:ext cx="391979" cy="202475"/>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r>
              <a:rPr lang="en-US" sz="900" dirty="0">
                <a:solidFill>
                  <a:srgbClr val="212121"/>
                </a:solidFill>
                <a:sym typeface="Century Gothic" panose="020B0502020202020204" pitchFamily="34" charset="0"/>
              </a:rPr>
              <a:t>Electric</a:t>
            </a:r>
          </a:p>
        </p:txBody>
      </p:sp>
      <p:sp>
        <p:nvSpPr>
          <p:cNvPr id="138" name="Google Shape;18108;p1604">
            <a:extLst>
              <a:ext uri="{FF2B5EF4-FFF2-40B4-BE49-F238E27FC236}">
                <a16:creationId xmlns:a16="http://schemas.microsoft.com/office/drawing/2014/main" id="{3CAD5957-3161-4BC3-BF87-DD1071A2C07C}"/>
              </a:ext>
            </a:extLst>
          </p:cNvPr>
          <p:cNvSpPr txBox="1"/>
          <p:nvPr/>
        </p:nvSpPr>
        <p:spPr>
          <a:xfrm>
            <a:off x="10629568" y="1358362"/>
            <a:ext cx="490328" cy="19546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ctr" anchorCtr="0">
            <a:noAutofit/>
          </a:bodyPr>
          <a:lstStyle/>
          <a:p>
            <a:r>
              <a:rPr lang="en-US" sz="900" dirty="0">
                <a:solidFill>
                  <a:srgbClr val="212121"/>
                </a:solidFill>
                <a:sym typeface="Century Gothic" panose="020B0502020202020204" pitchFamily="34" charset="0"/>
              </a:rPr>
              <a:t>IT</a:t>
            </a:r>
          </a:p>
        </p:txBody>
      </p:sp>
      <p:sp>
        <p:nvSpPr>
          <p:cNvPr id="139" name="Rectangle 138">
            <a:extLst>
              <a:ext uri="{FF2B5EF4-FFF2-40B4-BE49-F238E27FC236}">
                <a16:creationId xmlns:a16="http://schemas.microsoft.com/office/drawing/2014/main" id="{41413C8A-B360-47E2-ABC3-FB31C82C8417}"/>
              </a:ext>
            </a:extLst>
          </p:cNvPr>
          <p:cNvSpPr/>
          <p:nvPr/>
        </p:nvSpPr>
        <p:spPr>
          <a:xfrm>
            <a:off x="10231622" y="1248687"/>
            <a:ext cx="1672371" cy="379305"/>
          </a:xfrm>
          <a:prstGeom prst="rect">
            <a:avLst/>
          </a:prstGeom>
          <a:noFill/>
          <a:ln w="9525" cap="rnd" cmpd="sng" algn="ctr">
            <a:solidFill>
              <a:srgbClr val="A6A6A6"/>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0" name="Rectangle 139">
            <a:extLst>
              <a:ext uri="{FF2B5EF4-FFF2-40B4-BE49-F238E27FC236}">
                <a16:creationId xmlns:a16="http://schemas.microsoft.com/office/drawing/2014/main" id="{48ADEA6C-5D2D-4BD8-AB99-C82B6664B635}"/>
              </a:ext>
            </a:extLst>
          </p:cNvPr>
          <p:cNvSpPr/>
          <p:nvPr/>
        </p:nvSpPr>
        <p:spPr>
          <a:xfrm>
            <a:off x="4621841" y="1545067"/>
            <a:ext cx="1195188" cy="457200"/>
          </a:xfrm>
          <a:prstGeom prst="rect">
            <a:avLst/>
          </a:prstGeom>
          <a:solidFill>
            <a:schemeClr val="bg1"/>
          </a:solidFill>
          <a:ln w="10795" cap="flat" cmpd="sng" algn="ctr">
            <a:solidFill>
              <a:srgbClr val="FFB4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rgbClr val="FFB45A"/>
                </a:solidFill>
                <a:latin typeface="Arial"/>
                <a:cs typeface="Arial"/>
              </a:rPr>
              <a:t>Bob Lorkiewicz</a:t>
            </a:r>
          </a:p>
        </p:txBody>
      </p:sp>
      <p:sp>
        <p:nvSpPr>
          <p:cNvPr id="152" name="Rectangle 151">
            <a:extLst>
              <a:ext uri="{FF2B5EF4-FFF2-40B4-BE49-F238E27FC236}">
                <a16:creationId xmlns:a16="http://schemas.microsoft.com/office/drawing/2014/main" id="{17131D50-BB8B-4CE8-9A31-C9525CA01832}"/>
              </a:ext>
            </a:extLst>
          </p:cNvPr>
          <p:cNvSpPr/>
          <p:nvPr/>
        </p:nvSpPr>
        <p:spPr>
          <a:xfrm>
            <a:off x="8403861" y="2221192"/>
            <a:ext cx="965807" cy="306960"/>
          </a:xfrm>
          <a:prstGeom prst="rect">
            <a:avLst/>
          </a:prstGeom>
          <a:solidFill>
            <a:schemeClr val="bg1"/>
          </a:solidFill>
          <a:ln w="10795" cap="flat"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rgbClr val="00148C"/>
                </a:solidFill>
                <a:latin typeface="Arial"/>
                <a:cs typeface="Arial"/>
              </a:rPr>
              <a:t>Dig Biz Director</a:t>
            </a:r>
          </a:p>
          <a:p>
            <a:pPr algn="ctr" defTabSz="914354">
              <a:defRPr/>
            </a:pPr>
            <a:r>
              <a:rPr lang="en-US" sz="800" b="1" dirty="0">
                <a:solidFill>
                  <a:srgbClr val="00148C"/>
                </a:solidFill>
              </a:rPr>
              <a:t>(</a:t>
            </a:r>
            <a:r>
              <a:rPr lang="en-US" sz="800" b="1" dirty="0" err="1">
                <a:solidFill>
                  <a:srgbClr val="00148C"/>
                </a:solidFill>
              </a:rPr>
              <a:t>Mey</a:t>
            </a:r>
            <a:r>
              <a:rPr lang="en-US" sz="800" b="1" dirty="0">
                <a:solidFill>
                  <a:srgbClr val="00148C"/>
                </a:solidFill>
              </a:rPr>
              <a:t> </a:t>
            </a:r>
            <a:r>
              <a:rPr lang="en-US" sz="800" b="1" dirty="0" err="1">
                <a:solidFill>
                  <a:srgbClr val="00148C"/>
                </a:solidFill>
              </a:rPr>
              <a:t>Ngu</a:t>
            </a:r>
            <a:r>
              <a:rPr lang="en-US" sz="800" b="1" dirty="0">
                <a:solidFill>
                  <a:srgbClr val="00148C"/>
                </a:solidFill>
              </a:rPr>
              <a:t>)</a:t>
            </a:r>
          </a:p>
        </p:txBody>
      </p:sp>
      <p:grpSp>
        <p:nvGrpSpPr>
          <p:cNvPr id="154" name="Google Shape;18115;p1604">
            <a:extLst>
              <a:ext uri="{FF2B5EF4-FFF2-40B4-BE49-F238E27FC236}">
                <a16:creationId xmlns:a16="http://schemas.microsoft.com/office/drawing/2014/main" id="{07B4D6B7-1ACA-481F-83F3-876422377A69}"/>
              </a:ext>
            </a:extLst>
          </p:cNvPr>
          <p:cNvGrpSpPr/>
          <p:nvPr/>
        </p:nvGrpSpPr>
        <p:grpSpPr>
          <a:xfrm>
            <a:off x="8166734" y="2285770"/>
            <a:ext cx="217843" cy="217845"/>
            <a:chOff x="1932810" y="1349835"/>
            <a:chExt cx="185335" cy="185337"/>
          </a:xfrm>
          <a:solidFill>
            <a:srgbClr val="FFE02B"/>
          </a:solidFill>
        </p:grpSpPr>
        <p:sp>
          <p:nvSpPr>
            <p:cNvPr id="155" name="Google Shape;18116;p1604">
              <a:extLst>
                <a:ext uri="{FF2B5EF4-FFF2-40B4-BE49-F238E27FC236}">
                  <a16:creationId xmlns:a16="http://schemas.microsoft.com/office/drawing/2014/main" id="{3A712331-5C3A-4629-96DE-07E5C712550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56" name="Google Shape;18117;p1604">
              <a:extLst>
                <a:ext uri="{FF2B5EF4-FFF2-40B4-BE49-F238E27FC236}">
                  <a16:creationId xmlns:a16="http://schemas.microsoft.com/office/drawing/2014/main" id="{6ECC593B-65F2-4358-8C9B-E2E79A72FF1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grpSp>
        <p:nvGrpSpPr>
          <p:cNvPr id="157" name="Google Shape;18115;p1604">
            <a:extLst>
              <a:ext uri="{FF2B5EF4-FFF2-40B4-BE49-F238E27FC236}">
                <a16:creationId xmlns:a16="http://schemas.microsoft.com/office/drawing/2014/main" id="{506A3666-DC85-4E4F-9024-7EE1B51627A7}"/>
              </a:ext>
            </a:extLst>
          </p:cNvPr>
          <p:cNvGrpSpPr/>
          <p:nvPr/>
        </p:nvGrpSpPr>
        <p:grpSpPr>
          <a:xfrm>
            <a:off x="10795725" y="2285770"/>
            <a:ext cx="217843" cy="217845"/>
            <a:chOff x="1932810" y="1349835"/>
            <a:chExt cx="185335" cy="185337"/>
          </a:xfrm>
          <a:solidFill>
            <a:srgbClr val="FFE02B"/>
          </a:solidFill>
        </p:grpSpPr>
        <p:sp>
          <p:nvSpPr>
            <p:cNvPr id="158" name="Google Shape;18116;p1604">
              <a:extLst>
                <a:ext uri="{FF2B5EF4-FFF2-40B4-BE49-F238E27FC236}">
                  <a16:creationId xmlns:a16="http://schemas.microsoft.com/office/drawing/2014/main" id="{771AB83D-49E5-4CB2-90CB-D289FF44E19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59" name="Google Shape;18117;p1604">
              <a:extLst>
                <a:ext uri="{FF2B5EF4-FFF2-40B4-BE49-F238E27FC236}">
                  <a16:creationId xmlns:a16="http://schemas.microsoft.com/office/drawing/2014/main" id="{2B46A0E6-8390-4C1E-A836-C7DD811963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sp>
        <p:nvSpPr>
          <p:cNvPr id="160" name="Rectangle 159">
            <a:extLst>
              <a:ext uri="{FF2B5EF4-FFF2-40B4-BE49-F238E27FC236}">
                <a16:creationId xmlns:a16="http://schemas.microsoft.com/office/drawing/2014/main" id="{D5312B74-A23F-4650-AC5A-E06D484B2023}"/>
              </a:ext>
            </a:extLst>
          </p:cNvPr>
          <p:cNvSpPr/>
          <p:nvPr/>
        </p:nvSpPr>
        <p:spPr>
          <a:xfrm>
            <a:off x="749902" y="2228275"/>
            <a:ext cx="1207763" cy="313379"/>
          </a:xfrm>
          <a:prstGeom prst="rect">
            <a:avLst/>
          </a:prstGeom>
          <a:solidFill>
            <a:schemeClr val="bg1"/>
          </a:solidFill>
          <a:ln w="10795"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rgbClr val="F7A941"/>
                </a:solidFill>
                <a:latin typeface="Arial"/>
                <a:cs typeface="Arial"/>
              </a:rPr>
              <a:t>Dig Product Director</a:t>
            </a:r>
          </a:p>
          <a:p>
            <a:pPr algn="ctr" defTabSz="914354">
              <a:defRPr/>
            </a:pPr>
            <a:r>
              <a:rPr lang="en-US" sz="800" b="1" dirty="0">
                <a:solidFill>
                  <a:srgbClr val="F7A941"/>
                </a:solidFill>
                <a:latin typeface="Arial"/>
                <a:cs typeface="Arial"/>
              </a:rPr>
              <a:t>(…)</a:t>
            </a:r>
          </a:p>
        </p:txBody>
      </p:sp>
      <p:sp>
        <p:nvSpPr>
          <p:cNvPr id="168" name="Rectangle 167">
            <a:extLst>
              <a:ext uri="{FF2B5EF4-FFF2-40B4-BE49-F238E27FC236}">
                <a16:creationId xmlns:a16="http://schemas.microsoft.com/office/drawing/2014/main" id="{B7D48ACB-F3E9-47B3-9747-94DB0B4FB17C}"/>
              </a:ext>
            </a:extLst>
          </p:cNvPr>
          <p:cNvSpPr/>
          <p:nvPr/>
        </p:nvSpPr>
        <p:spPr>
          <a:xfrm>
            <a:off x="11067808" y="2214772"/>
            <a:ext cx="995192" cy="313379"/>
          </a:xfrm>
          <a:prstGeom prst="rect">
            <a:avLst/>
          </a:prstGeom>
          <a:solidFill>
            <a:schemeClr val="bg1"/>
          </a:solidFill>
          <a:ln w="10795" cap="flat"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rgbClr val="00148C"/>
                </a:solidFill>
                <a:latin typeface="Arial"/>
                <a:cs typeface="Arial"/>
              </a:rPr>
              <a:t>Dig Biz Director</a:t>
            </a:r>
          </a:p>
          <a:p>
            <a:pPr algn="ctr" defTabSz="914354">
              <a:defRPr/>
            </a:pPr>
            <a:r>
              <a:rPr lang="en-US" sz="800" b="1" dirty="0">
                <a:solidFill>
                  <a:srgbClr val="00148C"/>
                </a:solidFill>
              </a:rPr>
              <a:t>(Mey Ngu)</a:t>
            </a:r>
          </a:p>
        </p:txBody>
      </p:sp>
      <p:grpSp>
        <p:nvGrpSpPr>
          <p:cNvPr id="170" name="Google Shape;18115;p1604">
            <a:extLst>
              <a:ext uri="{FF2B5EF4-FFF2-40B4-BE49-F238E27FC236}">
                <a16:creationId xmlns:a16="http://schemas.microsoft.com/office/drawing/2014/main" id="{91D48710-EBD8-40F8-A181-F07234C21EC7}"/>
              </a:ext>
            </a:extLst>
          </p:cNvPr>
          <p:cNvGrpSpPr/>
          <p:nvPr/>
        </p:nvGrpSpPr>
        <p:grpSpPr>
          <a:xfrm>
            <a:off x="2244962" y="2276042"/>
            <a:ext cx="217843" cy="217845"/>
            <a:chOff x="1932810" y="1349835"/>
            <a:chExt cx="185335" cy="185337"/>
          </a:xfrm>
          <a:solidFill>
            <a:srgbClr val="FFE02B"/>
          </a:solidFill>
        </p:grpSpPr>
        <p:sp>
          <p:nvSpPr>
            <p:cNvPr id="171" name="Google Shape;18116;p1604">
              <a:extLst>
                <a:ext uri="{FF2B5EF4-FFF2-40B4-BE49-F238E27FC236}">
                  <a16:creationId xmlns:a16="http://schemas.microsoft.com/office/drawing/2014/main" id="{6AA54938-3BE9-4488-AB40-3C930250BE5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82" name="Google Shape;18117;p1604">
              <a:extLst>
                <a:ext uri="{FF2B5EF4-FFF2-40B4-BE49-F238E27FC236}">
                  <a16:creationId xmlns:a16="http://schemas.microsoft.com/office/drawing/2014/main" id="{CDCDE1C6-811E-4486-A09C-56CBFFB7C4C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sp>
        <p:nvSpPr>
          <p:cNvPr id="1223" name="Parallelogram 1222">
            <a:extLst>
              <a:ext uri="{FF2B5EF4-FFF2-40B4-BE49-F238E27FC236}">
                <a16:creationId xmlns:a16="http://schemas.microsoft.com/office/drawing/2014/main" id="{61A71D8A-6FC1-49DF-AAAF-99C460464F07}"/>
              </a:ext>
            </a:extLst>
          </p:cNvPr>
          <p:cNvSpPr/>
          <p:nvPr/>
        </p:nvSpPr>
        <p:spPr>
          <a:xfrm>
            <a:off x="292927" y="2681485"/>
            <a:ext cx="3738580" cy="239676"/>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Arial"/>
              </a:rPr>
              <a:t>Plan Product Line</a:t>
            </a:r>
          </a:p>
        </p:txBody>
      </p:sp>
      <p:sp>
        <p:nvSpPr>
          <p:cNvPr id="1229" name="Parallelogram 1228">
            <a:extLst>
              <a:ext uri="{FF2B5EF4-FFF2-40B4-BE49-F238E27FC236}">
                <a16:creationId xmlns:a16="http://schemas.microsoft.com/office/drawing/2014/main" id="{620E145A-C09F-49F8-BEA9-2AC3BACDF6C2}"/>
              </a:ext>
            </a:extLst>
          </p:cNvPr>
          <p:cNvSpPr/>
          <p:nvPr/>
        </p:nvSpPr>
        <p:spPr>
          <a:xfrm>
            <a:off x="6865059" y="2682917"/>
            <a:ext cx="2596994" cy="227855"/>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Arial"/>
              </a:rPr>
              <a:t>Network Ops Product Line</a:t>
            </a:r>
          </a:p>
        </p:txBody>
      </p:sp>
      <p:sp>
        <p:nvSpPr>
          <p:cNvPr id="1230" name="Parallelogram 1229">
            <a:extLst>
              <a:ext uri="{FF2B5EF4-FFF2-40B4-BE49-F238E27FC236}">
                <a16:creationId xmlns:a16="http://schemas.microsoft.com/office/drawing/2014/main" id="{CF396069-9EE3-4670-A062-9D3739093956}"/>
              </a:ext>
            </a:extLst>
          </p:cNvPr>
          <p:cNvSpPr/>
          <p:nvPr/>
        </p:nvSpPr>
        <p:spPr>
          <a:xfrm>
            <a:off x="9986350" y="2682918"/>
            <a:ext cx="2076649" cy="209956"/>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Arial"/>
              </a:rPr>
              <a:t>Work Execution Product Line</a:t>
            </a:r>
          </a:p>
        </p:txBody>
      </p:sp>
      <p:grpSp>
        <p:nvGrpSpPr>
          <p:cNvPr id="711" name="Google Shape;18115;p1604">
            <a:extLst>
              <a:ext uri="{FF2B5EF4-FFF2-40B4-BE49-F238E27FC236}">
                <a16:creationId xmlns:a16="http://schemas.microsoft.com/office/drawing/2014/main" id="{1F7A800D-BFAF-43ED-9371-62186D1474B3}"/>
              </a:ext>
            </a:extLst>
          </p:cNvPr>
          <p:cNvGrpSpPr/>
          <p:nvPr/>
        </p:nvGrpSpPr>
        <p:grpSpPr>
          <a:xfrm>
            <a:off x="482327" y="2276042"/>
            <a:ext cx="217843" cy="217845"/>
            <a:chOff x="1932810" y="1349835"/>
            <a:chExt cx="185335" cy="185337"/>
          </a:xfrm>
          <a:solidFill>
            <a:srgbClr val="FFE02B"/>
          </a:solidFill>
        </p:grpSpPr>
        <p:sp>
          <p:nvSpPr>
            <p:cNvPr id="712" name="Google Shape;18116;p1604">
              <a:extLst>
                <a:ext uri="{FF2B5EF4-FFF2-40B4-BE49-F238E27FC236}">
                  <a16:creationId xmlns:a16="http://schemas.microsoft.com/office/drawing/2014/main" id="{7B4449CA-EE75-4DE0-A2E0-B1754253684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713" name="Google Shape;18117;p1604">
              <a:extLst>
                <a:ext uri="{FF2B5EF4-FFF2-40B4-BE49-F238E27FC236}">
                  <a16:creationId xmlns:a16="http://schemas.microsoft.com/office/drawing/2014/main" id="{9E73234B-E834-4F0D-8CBF-8A1B550C36D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sp>
        <p:nvSpPr>
          <p:cNvPr id="714" name="Rectangle 713">
            <a:extLst>
              <a:ext uri="{FF2B5EF4-FFF2-40B4-BE49-F238E27FC236}">
                <a16:creationId xmlns:a16="http://schemas.microsoft.com/office/drawing/2014/main" id="{44A01C2D-1D6B-4135-A32D-32CEFBA8A595}"/>
              </a:ext>
            </a:extLst>
          </p:cNvPr>
          <p:cNvSpPr/>
          <p:nvPr/>
        </p:nvSpPr>
        <p:spPr>
          <a:xfrm>
            <a:off x="7295284" y="2228275"/>
            <a:ext cx="799672" cy="313379"/>
          </a:xfrm>
          <a:prstGeom prst="rect">
            <a:avLst/>
          </a:prstGeom>
          <a:solidFill>
            <a:schemeClr val="bg1"/>
          </a:solidFill>
          <a:ln w="10795"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rgbClr val="F7A941"/>
                </a:solidFill>
                <a:latin typeface="Arial"/>
                <a:cs typeface="Arial"/>
              </a:rPr>
              <a:t>Dig Product Director</a:t>
            </a:r>
          </a:p>
        </p:txBody>
      </p:sp>
      <p:grpSp>
        <p:nvGrpSpPr>
          <p:cNvPr id="715" name="Google Shape;18115;p1604">
            <a:extLst>
              <a:ext uri="{FF2B5EF4-FFF2-40B4-BE49-F238E27FC236}">
                <a16:creationId xmlns:a16="http://schemas.microsoft.com/office/drawing/2014/main" id="{F323EA40-8DCA-41D8-AF07-DDAB4BE50513}"/>
              </a:ext>
            </a:extLst>
          </p:cNvPr>
          <p:cNvGrpSpPr/>
          <p:nvPr/>
        </p:nvGrpSpPr>
        <p:grpSpPr>
          <a:xfrm>
            <a:off x="7027708" y="2276042"/>
            <a:ext cx="217843" cy="217845"/>
            <a:chOff x="1932810" y="1349835"/>
            <a:chExt cx="185335" cy="185337"/>
          </a:xfrm>
          <a:solidFill>
            <a:srgbClr val="FFE02B"/>
          </a:solidFill>
        </p:grpSpPr>
        <p:sp>
          <p:nvSpPr>
            <p:cNvPr id="716" name="Google Shape;18116;p1604">
              <a:extLst>
                <a:ext uri="{FF2B5EF4-FFF2-40B4-BE49-F238E27FC236}">
                  <a16:creationId xmlns:a16="http://schemas.microsoft.com/office/drawing/2014/main" id="{34323131-C39F-4DF9-88B4-F307EDDFAEC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717" name="Google Shape;18117;p1604">
              <a:extLst>
                <a:ext uri="{FF2B5EF4-FFF2-40B4-BE49-F238E27FC236}">
                  <a16:creationId xmlns:a16="http://schemas.microsoft.com/office/drawing/2014/main" id="{B323A31B-F256-4503-A5F6-FC83666B6E9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sp>
        <p:nvSpPr>
          <p:cNvPr id="718" name="Rectangle 717">
            <a:extLst>
              <a:ext uri="{FF2B5EF4-FFF2-40B4-BE49-F238E27FC236}">
                <a16:creationId xmlns:a16="http://schemas.microsoft.com/office/drawing/2014/main" id="{5B41D4D3-6639-4184-9149-60AA1245EC07}"/>
              </a:ext>
            </a:extLst>
          </p:cNvPr>
          <p:cNvSpPr/>
          <p:nvPr/>
        </p:nvSpPr>
        <p:spPr>
          <a:xfrm>
            <a:off x="9866245" y="2228275"/>
            <a:ext cx="799672" cy="313379"/>
          </a:xfrm>
          <a:prstGeom prst="rect">
            <a:avLst/>
          </a:prstGeom>
          <a:solidFill>
            <a:schemeClr val="bg1"/>
          </a:solidFill>
          <a:ln w="10795"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rgbClr val="F7A941"/>
                </a:solidFill>
                <a:latin typeface="Arial"/>
                <a:cs typeface="Arial"/>
              </a:rPr>
              <a:t>Dig Product Director</a:t>
            </a:r>
          </a:p>
        </p:txBody>
      </p:sp>
      <p:grpSp>
        <p:nvGrpSpPr>
          <p:cNvPr id="719" name="Google Shape;18115;p1604">
            <a:extLst>
              <a:ext uri="{FF2B5EF4-FFF2-40B4-BE49-F238E27FC236}">
                <a16:creationId xmlns:a16="http://schemas.microsoft.com/office/drawing/2014/main" id="{54F3BA00-56B3-4A9F-9ADB-D77597BDA4AD}"/>
              </a:ext>
            </a:extLst>
          </p:cNvPr>
          <p:cNvGrpSpPr/>
          <p:nvPr/>
        </p:nvGrpSpPr>
        <p:grpSpPr>
          <a:xfrm>
            <a:off x="9598669" y="2276042"/>
            <a:ext cx="217843" cy="217845"/>
            <a:chOff x="1932810" y="1349835"/>
            <a:chExt cx="185335" cy="185337"/>
          </a:xfrm>
          <a:solidFill>
            <a:srgbClr val="FFE02B"/>
          </a:solidFill>
        </p:grpSpPr>
        <p:sp>
          <p:nvSpPr>
            <p:cNvPr id="720" name="Google Shape;18116;p1604">
              <a:extLst>
                <a:ext uri="{FF2B5EF4-FFF2-40B4-BE49-F238E27FC236}">
                  <a16:creationId xmlns:a16="http://schemas.microsoft.com/office/drawing/2014/main" id="{85B8D914-B930-479F-AF89-A6832127903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721" name="Google Shape;18117;p1604">
              <a:extLst>
                <a:ext uri="{FF2B5EF4-FFF2-40B4-BE49-F238E27FC236}">
                  <a16:creationId xmlns:a16="http://schemas.microsoft.com/office/drawing/2014/main" id="{731859B5-A6C5-4B55-8EA0-46CA1F895DA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sp>
        <p:nvSpPr>
          <p:cNvPr id="722" name="Rectangle 721">
            <a:extLst>
              <a:ext uri="{FF2B5EF4-FFF2-40B4-BE49-F238E27FC236}">
                <a16:creationId xmlns:a16="http://schemas.microsoft.com/office/drawing/2014/main" id="{DBD58E91-F36C-4C92-BF4C-62753F7B2513}"/>
              </a:ext>
            </a:extLst>
          </p:cNvPr>
          <p:cNvSpPr/>
          <p:nvPr/>
        </p:nvSpPr>
        <p:spPr>
          <a:xfrm>
            <a:off x="2524890" y="2221192"/>
            <a:ext cx="1093109" cy="306960"/>
          </a:xfrm>
          <a:prstGeom prst="rect">
            <a:avLst/>
          </a:prstGeom>
          <a:solidFill>
            <a:schemeClr val="bg1"/>
          </a:solidFill>
          <a:ln w="10795" cap="flat"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US" sz="800" b="1" dirty="0">
                <a:solidFill>
                  <a:srgbClr val="00148C"/>
                </a:solidFill>
                <a:latin typeface="Arial"/>
                <a:cs typeface="Arial"/>
              </a:rPr>
              <a:t>Dig Biz Director</a:t>
            </a:r>
          </a:p>
          <a:p>
            <a:pPr algn="ctr" defTabSz="914354">
              <a:defRPr/>
            </a:pPr>
            <a:r>
              <a:rPr lang="en-US" sz="800" b="1" dirty="0">
                <a:solidFill>
                  <a:srgbClr val="00148C"/>
                </a:solidFill>
                <a:latin typeface="Arial"/>
                <a:cs typeface="Arial"/>
              </a:rPr>
              <a:t>(Dave Cardoza)</a:t>
            </a:r>
          </a:p>
        </p:txBody>
      </p:sp>
      <p:sp>
        <p:nvSpPr>
          <p:cNvPr id="724" name="Parallelogram 723">
            <a:extLst>
              <a:ext uri="{FF2B5EF4-FFF2-40B4-BE49-F238E27FC236}">
                <a16:creationId xmlns:a16="http://schemas.microsoft.com/office/drawing/2014/main" id="{EF5BE3FB-E671-4EAE-B271-7E2B3972AD07}"/>
              </a:ext>
            </a:extLst>
          </p:cNvPr>
          <p:cNvSpPr/>
          <p:nvPr/>
        </p:nvSpPr>
        <p:spPr>
          <a:xfrm>
            <a:off x="4151977" y="2666419"/>
            <a:ext cx="1221965" cy="246592"/>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Arial"/>
              </a:rPr>
              <a:t>Connect Product Line</a:t>
            </a:r>
          </a:p>
        </p:txBody>
      </p:sp>
      <p:sp>
        <p:nvSpPr>
          <p:cNvPr id="733" name="Rectangle 732">
            <a:extLst>
              <a:ext uri="{FF2B5EF4-FFF2-40B4-BE49-F238E27FC236}">
                <a16:creationId xmlns:a16="http://schemas.microsoft.com/office/drawing/2014/main" id="{5A96957D-CBF0-4FF1-BBEE-5EAD4FAED26A}"/>
              </a:ext>
            </a:extLst>
          </p:cNvPr>
          <p:cNvSpPr/>
          <p:nvPr/>
        </p:nvSpPr>
        <p:spPr>
          <a:xfrm>
            <a:off x="8224859" y="3096169"/>
            <a:ext cx="1344786" cy="2080421"/>
          </a:xfrm>
          <a:prstGeom prst="rect">
            <a:avLst/>
          </a:prstGeom>
          <a:solidFill>
            <a:srgbClr val="F2F2F2"/>
          </a:solidFill>
          <a:ln w="9906"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t" anchorCtr="0" forceAA="0" compatLnSpc="1">
            <a:prstTxWarp prst="textNoShape">
              <a:avLst/>
            </a:prstTxWarp>
            <a:noAutofit/>
          </a:bodyPr>
          <a:lstStyle/>
          <a:p>
            <a:pPr algn="ctr"/>
            <a:r>
              <a:rPr lang="en-US" sz="1144" b="1" dirty="0">
                <a:solidFill>
                  <a:srgbClr val="55555A"/>
                </a:solidFill>
              </a:rPr>
              <a:t>ICU Out</a:t>
            </a:r>
          </a:p>
        </p:txBody>
      </p:sp>
      <p:grpSp>
        <p:nvGrpSpPr>
          <p:cNvPr id="735" name="Google Shape;18115;p1604">
            <a:extLst>
              <a:ext uri="{FF2B5EF4-FFF2-40B4-BE49-F238E27FC236}">
                <a16:creationId xmlns:a16="http://schemas.microsoft.com/office/drawing/2014/main" id="{693A4C71-2624-4E02-8FB6-6D70EC64CF78}"/>
              </a:ext>
            </a:extLst>
          </p:cNvPr>
          <p:cNvGrpSpPr/>
          <p:nvPr/>
        </p:nvGrpSpPr>
        <p:grpSpPr>
          <a:xfrm>
            <a:off x="8600548" y="3906341"/>
            <a:ext cx="201160" cy="201164"/>
            <a:chOff x="1932810" y="1349835"/>
            <a:chExt cx="185335" cy="185339"/>
          </a:xfrm>
          <a:solidFill>
            <a:schemeClr val="tx2"/>
          </a:solidFill>
        </p:grpSpPr>
        <p:sp>
          <p:nvSpPr>
            <p:cNvPr id="741" name="Google Shape;18116;p1604">
              <a:extLst>
                <a:ext uri="{FF2B5EF4-FFF2-40B4-BE49-F238E27FC236}">
                  <a16:creationId xmlns:a16="http://schemas.microsoft.com/office/drawing/2014/main" id="{A2AE9364-360F-4273-8C9F-161D946A4A3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5082" tIns="47528" rIns="95082" bIns="4752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742" name="Google Shape;18117;p1604">
              <a:extLst>
                <a:ext uri="{FF2B5EF4-FFF2-40B4-BE49-F238E27FC236}">
                  <a16:creationId xmlns:a16="http://schemas.microsoft.com/office/drawing/2014/main" id="{C826EB6A-2F13-49A6-A939-6BA76E1CEF5C}"/>
                </a:ext>
              </a:extLst>
            </p:cNvPr>
            <p:cNvSpPr/>
            <p:nvPr/>
          </p:nvSpPr>
          <p:spPr>
            <a:xfrm>
              <a:off x="1932810" y="1455745"/>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5082" tIns="47528" rIns="95082" bIns="4752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736" name="Google Shape;18115;p1604">
            <a:extLst>
              <a:ext uri="{FF2B5EF4-FFF2-40B4-BE49-F238E27FC236}">
                <a16:creationId xmlns:a16="http://schemas.microsoft.com/office/drawing/2014/main" id="{903963E5-DBCF-4EBF-A371-38EFA6AE7297}"/>
              </a:ext>
            </a:extLst>
          </p:cNvPr>
          <p:cNvGrpSpPr/>
          <p:nvPr/>
        </p:nvGrpSpPr>
        <p:grpSpPr>
          <a:xfrm>
            <a:off x="9196655" y="3906341"/>
            <a:ext cx="201160" cy="201164"/>
            <a:chOff x="1932810" y="1349835"/>
            <a:chExt cx="185335" cy="185339"/>
          </a:xfrm>
          <a:solidFill>
            <a:schemeClr val="tx2"/>
          </a:solidFill>
        </p:grpSpPr>
        <p:sp>
          <p:nvSpPr>
            <p:cNvPr id="739" name="Google Shape;18116;p1604">
              <a:extLst>
                <a:ext uri="{FF2B5EF4-FFF2-40B4-BE49-F238E27FC236}">
                  <a16:creationId xmlns:a16="http://schemas.microsoft.com/office/drawing/2014/main" id="{C3C781CB-36F3-4684-BC26-50974EA0316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5082" tIns="47528" rIns="95082" bIns="4752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740" name="Google Shape;18117;p1604">
              <a:extLst>
                <a:ext uri="{FF2B5EF4-FFF2-40B4-BE49-F238E27FC236}">
                  <a16:creationId xmlns:a16="http://schemas.microsoft.com/office/drawing/2014/main" id="{B54038FB-BF7A-4283-9B9D-88C748CACE4D}"/>
                </a:ext>
              </a:extLst>
            </p:cNvPr>
            <p:cNvSpPr/>
            <p:nvPr/>
          </p:nvSpPr>
          <p:spPr>
            <a:xfrm>
              <a:off x="1932810" y="1455745"/>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5082" tIns="47528" rIns="95082" bIns="4752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738" name="Rectangle 737">
            <a:extLst>
              <a:ext uri="{FF2B5EF4-FFF2-40B4-BE49-F238E27FC236}">
                <a16:creationId xmlns:a16="http://schemas.microsoft.com/office/drawing/2014/main" id="{0DE5B9C1-4CFD-4B9B-A43A-625BC2A43052}"/>
              </a:ext>
            </a:extLst>
          </p:cNvPr>
          <p:cNvSpPr/>
          <p:nvPr/>
        </p:nvSpPr>
        <p:spPr>
          <a:xfrm>
            <a:off x="8188959" y="3548860"/>
            <a:ext cx="901862" cy="31554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endParaRPr kumimoji="0" lang="en-US" sz="700" i="0" u="none" strike="noStrike" kern="1200" cap="none" spc="0" normalizeH="0" baseline="0" noProof="0" dirty="0">
              <a:ln>
                <a:noFill/>
              </a:ln>
              <a:solidFill>
                <a:srgbClr val="00148C"/>
              </a:solidFill>
              <a:effectLst/>
              <a:uLnTx/>
              <a:uFillTx/>
              <a:latin typeface="Arial"/>
              <a:ea typeface="+mn-ea"/>
              <a:cs typeface="Arial"/>
            </a:endParaRPr>
          </a:p>
        </p:txBody>
      </p:sp>
      <p:grpSp>
        <p:nvGrpSpPr>
          <p:cNvPr id="6" name="Group 5">
            <a:extLst>
              <a:ext uri="{FF2B5EF4-FFF2-40B4-BE49-F238E27FC236}">
                <a16:creationId xmlns:a16="http://schemas.microsoft.com/office/drawing/2014/main" id="{7CE6EA0A-A858-4F83-B661-E2A2DD17C1C5}"/>
              </a:ext>
            </a:extLst>
          </p:cNvPr>
          <p:cNvGrpSpPr/>
          <p:nvPr/>
        </p:nvGrpSpPr>
        <p:grpSpPr>
          <a:xfrm>
            <a:off x="8537585" y="4331877"/>
            <a:ext cx="862801" cy="730864"/>
            <a:chOff x="8632251" y="4776557"/>
            <a:chExt cx="862801" cy="730864"/>
          </a:xfrm>
        </p:grpSpPr>
        <p:grpSp>
          <p:nvGrpSpPr>
            <p:cNvPr id="1072" name="Group 1071">
              <a:extLst>
                <a:ext uri="{FF2B5EF4-FFF2-40B4-BE49-F238E27FC236}">
                  <a16:creationId xmlns:a16="http://schemas.microsoft.com/office/drawing/2014/main" id="{C178F1EC-C0E1-401C-8B96-909204FE800B}"/>
                </a:ext>
              </a:extLst>
            </p:cNvPr>
            <p:cNvGrpSpPr>
              <a:grpSpLocks/>
            </p:cNvGrpSpPr>
            <p:nvPr/>
          </p:nvGrpSpPr>
          <p:grpSpPr>
            <a:xfrm>
              <a:off x="8632251" y="4776557"/>
              <a:ext cx="454031" cy="436509"/>
              <a:chOff x="2511970" y="2806214"/>
              <a:chExt cx="2598626" cy="2498332"/>
            </a:xfrm>
          </p:grpSpPr>
          <p:grpSp>
            <p:nvGrpSpPr>
              <p:cNvPr id="1107" name="Google Shape;18115;p1604">
                <a:extLst>
                  <a:ext uri="{FF2B5EF4-FFF2-40B4-BE49-F238E27FC236}">
                    <a16:creationId xmlns:a16="http://schemas.microsoft.com/office/drawing/2014/main" id="{EDE71CD8-B8F5-43E7-A63E-728DB40C8D32}"/>
                  </a:ext>
                </a:extLst>
              </p:cNvPr>
              <p:cNvGrpSpPr/>
              <p:nvPr/>
            </p:nvGrpSpPr>
            <p:grpSpPr>
              <a:xfrm>
                <a:off x="4214405" y="2806214"/>
                <a:ext cx="346511" cy="346515"/>
                <a:chOff x="1932810" y="1349835"/>
                <a:chExt cx="185335" cy="185337"/>
              </a:xfrm>
              <a:solidFill>
                <a:schemeClr val="tx2"/>
              </a:solidFill>
            </p:grpSpPr>
            <p:sp>
              <p:nvSpPr>
                <p:cNvPr id="1130" name="Google Shape;18116;p1604">
                  <a:extLst>
                    <a:ext uri="{FF2B5EF4-FFF2-40B4-BE49-F238E27FC236}">
                      <a16:creationId xmlns:a16="http://schemas.microsoft.com/office/drawing/2014/main" id="{22842A09-EFA3-433E-81DD-E730AD02DD3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31" name="Google Shape;18117;p1604">
                  <a:extLst>
                    <a:ext uri="{FF2B5EF4-FFF2-40B4-BE49-F238E27FC236}">
                      <a16:creationId xmlns:a16="http://schemas.microsoft.com/office/drawing/2014/main" id="{B0AEBC38-3DC0-483A-9B4F-BC4DCC64725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108" name="Oval 1107">
                <a:extLst>
                  <a:ext uri="{FF2B5EF4-FFF2-40B4-BE49-F238E27FC236}">
                    <a16:creationId xmlns:a16="http://schemas.microsoft.com/office/drawing/2014/main" id="{30479499-B180-4727-98D0-8B0A78354712}"/>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109" name="Google Shape;18115;p1604">
                <a:extLst>
                  <a:ext uri="{FF2B5EF4-FFF2-40B4-BE49-F238E27FC236}">
                    <a16:creationId xmlns:a16="http://schemas.microsoft.com/office/drawing/2014/main" id="{004EBCD1-283B-4D8A-A2C7-5E8D77DBA780}"/>
                  </a:ext>
                </a:extLst>
              </p:cNvPr>
              <p:cNvGrpSpPr/>
              <p:nvPr/>
            </p:nvGrpSpPr>
            <p:grpSpPr>
              <a:xfrm>
                <a:off x="4402332" y="4548551"/>
                <a:ext cx="346511" cy="346515"/>
                <a:chOff x="1932810" y="1349835"/>
                <a:chExt cx="185335" cy="185337"/>
              </a:xfrm>
              <a:solidFill>
                <a:schemeClr val="tx2"/>
              </a:solidFill>
            </p:grpSpPr>
            <p:sp>
              <p:nvSpPr>
                <p:cNvPr id="1128" name="Google Shape;18116;p1604">
                  <a:extLst>
                    <a:ext uri="{FF2B5EF4-FFF2-40B4-BE49-F238E27FC236}">
                      <a16:creationId xmlns:a16="http://schemas.microsoft.com/office/drawing/2014/main" id="{D8054513-C0B3-462F-B82B-F3850120A99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29" name="Google Shape;18117;p1604">
                  <a:extLst>
                    <a:ext uri="{FF2B5EF4-FFF2-40B4-BE49-F238E27FC236}">
                      <a16:creationId xmlns:a16="http://schemas.microsoft.com/office/drawing/2014/main" id="{C9A113E2-A44A-4000-B3BE-D84A908B13B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10" name="Google Shape;18115;p1604">
                <a:extLst>
                  <a:ext uri="{FF2B5EF4-FFF2-40B4-BE49-F238E27FC236}">
                    <a16:creationId xmlns:a16="http://schemas.microsoft.com/office/drawing/2014/main" id="{F3D246AA-C9F3-41CB-B590-4ED86E461FE4}"/>
                  </a:ext>
                </a:extLst>
              </p:cNvPr>
              <p:cNvGrpSpPr/>
              <p:nvPr/>
            </p:nvGrpSpPr>
            <p:grpSpPr>
              <a:xfrm>
                <a:off x="3578880" y="4958031"/>
                <a:ext cx="346511" cy="346515"/>
                <a:chOff x="1932810" y="1349835"/>
                <a:chExt cx="185335" cy="185337"/>
              </a:xfrm>
              <a:solidFill>
                <a:schemeClr val="tx2"/>
              </a:solidFill>
            </p:grpSpPr>
            <p:sp>
              <p:nvSpPr>
                <p:cNvPr id="1126" name="Google Shape;18116;p1604">
                  <a:extLst>
                    <a:ext uri="{FF2B5EF4-FFF2-40B4-BE49-F238E27FC236}">
                      <a16:creationId xmlns:a16="http://schemas.microsoft.com/office/drawing/2014/main" id="{A4D6BB22-452B-4A0C-AD77-F093AF58372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27" name="Google Shape;18117;p1604">
                  <a:extLst>
                    <a:ext uri="{FF2B5EF4-FFF2-40B4-BE49-F238E27FC236}">
                      <a16:creationId xmlns:a16="http://schemas.microsoft.com/office/drawing/2014/main" id="{88A7FBFE-89FF-48AC-843F-C5F1D363473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11" name="Google Shape;18115;p1604">
                <a:extLst>
                  <a:ext uri="{FF2B5EF4-FFF2-40B4-BE49-F238E27FC236}">
                    <a16:creationId xmlns:a16="http://schemas.microsoft.com/office/drawing/2014/main" id="{016BCA22-45F4-469D-91F3-D109B2F36107}"/>
                  </a:ext>
                </a:extLst>
              </p:cNvPr>
              <p:cNvGrpSpPr/>
              <p:nvPr/>
            </p:nvGrpSpPr>
            <p:grpSpPr>
              <a:xfrm>
                <a:off x="2511970" y="3644968"/>
                <a:ext cx="346511" cy="346515"/>
                <a:chOff x="1932810" y="1349835"/>
                <a:chExt cx="185335" cy="185337"/>
              </a:xfrm>
              <a:solidFill>
                <a:schemeClr val="tx2"/>
              </a:solidFill>
            </p:grpSpPr>
            <p:sp>
              <p:nvSpPr>
                <p:cNvPr id="1124" name="Google Shape;18116;p1604">
                  <a:extLst>
                    <a:ext uri="{FF2B5EF4-FFF2-40B4-BE49-F238E27FC236}">
                      <a16:creationId xmlns:a16="http://schemas.microsoft.com/office/drawing/2014/main" id="{617E51E6-D336-45FE-A51B-4CF77D5BA4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25" name="Google Shape;18117;p1604">
                  <a:extLst>
                    <a:ext uri="{FF2B5EF4-FFF2-40B4-BE49-F238E27FC236}">
                      <a16:creationId xmlns:a16="http://schemas.microsoft.com/office/drawing/2014/main" id="{C81D3D8F-3E9A-4BA4-A5D2-679789F01CA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12" name="Google Shape;18115;p1604">
                <a:extLst>
                  <a:ext uri="{FF2B5EF4-FFF2-40B4-BE49-F238E27FC236}">
                    <a16:creationId xmlns:a16="http://schemas.microsoft.com/office/drawing/2014/main" id="{0D48826E-7DEF-44CE-8BB9-66A397DD63D2}"/>
                  </a:ext>
                </a:extLst>
              </p:cNvPr>
              <p:cNvGrpSpPr/>
              <p:nvPr/>
            </p:nvGrpSpPr>
            <p:grpSpPr>
              <a:xfrm>
                <a:off x="4754363" y="4548551"/>
                <a:ext cx="346511" cy="346515"/>
                <a:chOff x="1932810" y="1349835"/>
                <a:chExt cx="185335" cy="185337"/>
              </a:xfrm>
              <a:solidFill>
                <a:schemeClr val="tx2"/>
              </a:solidFill>
            </p:grpSpPr>
            <p:sp>
              <p:nvSpPr>
                <p:cNvPr id="1122" name="Google Shape;18116;p1604">
                  <a:extLst>
                    <a:ext uri="{FF2B5EF4-FFF2-40B4-BE49-F238E27FC236}">
                      <a16:creationId xmlns:a16="http://schemas.microsoft.com/office/drawing/2014/main" id="{683DFC0A-CCA1-4B74-AFDD-BD9E6F5D95C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23" name="Google Shape;18117;p1604">
                  <a:extLst>
                    <a:ext uri="{FF2B5EF4-FFF2-40B4-BE49-F238E27FC236}">
                      <a16:creationId xmlns:a16="http://schemas.microsoft.com/office/drawing/2014/main" id="{C48040E3-EFFC-44B9-A29D-6192BF3DBF0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13" name="Google Shape;18115;p1604">
                <a:extLst>
                  <a:ext uri="{FF2B5EF4-FFF2-40B4-BE49-F238E27FC236}">
                    <a16:creationId xmlns:a16="http://schemas.microsoft.com/office/drawing/2014/main" id="{2B01DD89-07FB-4298-A249-E1A027096FD1}"/>
                  </a:ext>
                </a:extLst>
              </p:cNvPr>
              <p:cNvGrpSpPr/>
              <p:nvPr/>
            </p:nvGrpSpPr>
            <p:grpSpPr>
              <a:xfrm>
                <a:off x="2644688" y="4493428"/>
                <a:ext cx="346511" cy="346515"/>
                <a:chOff x="1932810" y="1349835"/>
                <a:chExt cx="185335" cy="185337"/>
              </a:xfrm>
              <a:solidFill>
                <a:schemeClr val="tx2"/>
              </a:solidFill>
            </p:grpSpPr>
            <p:sp>
              <p:nvSpPr>
                <p:cNvPr id="1120" name="Google Shape;18116;p1604">
                  <a:extLst>
                    <a:ext uri="{FF2B5EF4-FFF2-40B4-BE49-F238E27FC236}">
                      <a16:creationId xmlns:a16="http://schemas.microsoft.com/office/drawing/2014/main" id="{DF97D04E-4B02-45CA-93B9-A06B9C07B96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21" name="Google Shape;18117;p1604">
                  <a:extLst>
                    <a:ext uri="{FF2B5EF4-FFF2-40B4-BE49-F238E27FC236}">
                      <a16:creationId xmlns:a16="http://schemas.microsoft.com/office/drawing/2014/main" id="{D195C7A1-658E-4777-A4FD-72D14442917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14" name="Google Shape;18115;p1604">
                <a:extLst>
                  <a:ext uri="{FF2B5EF4-FFF2-40B4-BE49-F238E27FC236}">
                    <a16:creationId xmlns:a16="http://schemas.microsoft.com/office/drawing/2014/main" id="{24D5AD03-9261-4C63-9E2E-12A1D20488E9}"/>
                  </a:ext>
                </a:extLst>
              </p:cNvPr>
              <p:cNvGrpSpPr/>
              <p:nvPr/>
            </p:nvGrpSpPr>
            <p:grpSpPr>
              <a:xfrm>
                <a:off x="4764085" y="3612568"/>
                <a:ext cx="346511" cy="346515"/>
                <a:chOff x="1932810" y="1349835"/>
                <a:chExt cx="185335" cy="185337"/>
              </a:xfrm>
              <a:solidFill>
                <a:schemeClr val="tx2"/>
              </a:solidFill>
            </p:grpSpPr>
            <p:sp>
              <p:nvSpPr>
                <p:cNvPr id="1118" name="Google Shape;18116;p1604">
                  <a:extLst>
                    <a:ext uri="{FF2B5EF4-FFF2-40B4-BE49-F238E27FC236}">
                      <a16:creationId xmlns:a16="http://schemas.microsoft.com/office/drawing/2014/main" id="{C6B29C6E-6CDF-481E-A1FE-030BCEDEAE5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19" name="Google Shape;18117;p1604">
                  <a:extLst>
                    <a:ext uri="{FF2B5EF4-FFF2-40B4-BE49-F238E27FC236}">
                      <a16:creationId xmlns:a16="http://schemas.microsoft.com/office/drawing/2014/main" id="{91DCAEF8-6E50-4AE8-B4A1-A0FFF104EE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15" name="Google Shape;18115;p1604">
                <a:extLst>
                  <a:ext uri="{FF2B5EF4-FFF2-40B4-BE49-F238E27FC236}">
                    <a16:creationId xmlns:a16="http://schemas.microsoft.com/office/drawing/2014/main" id="{F838DF62-A763-4D5A-A124-E375F1A302A9}"/>
                  </a:ext>
                </a:extLst>
              </p:cNvPr>
              <p:cNvGrpSpPr/>
              <p:nvPr/>
            </p:nvGrpSpPr>
            <p:grpSpPr>
              <a:xfrm>
                <a:off x="3091300" y="2809102"/>
                <a:ext cx="346511" cy="346515"/>
                <a:chOff x="1932810" y="1349835"/>
                <a:chExt cx="185335" cy="185337"/>
              </a:xfrm>
              <a:solidFill>
                <a:schemeClr val="tx2"/>
              </a:solidFill>
            </p:grpSpPr>
            <p:sp>
              <p:nvSpPr>
                <p:cNvPr id="1116" name="Google Shape;18116;p1604">
                  <a:extLst>
                    <a:ext uri="{FF2B5EF4-FFF2-40B4-BE49-F238E27FC236}">
                      <a16:creationId xmlns:a16="http://schemas.microsoft.com/office/drawing/2014/main" id="{F20DFFD9-62FE-444F-9653-594A7DB33A4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17" name="Google Shape;18117;p1604">
                  <a:extLst>
                    <a:ext uri="{FF2B5EF4-FFF2-40B4-BE49-F238E27FC236}">
                      <a16:creationId xmlns:a16="http://schemas.microsoft.com/office/drawing/2014/main" id="{3E3DDBF7-2C55-4F24-BF42-0C7CE49E53C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075" name="Group 1074">
              <a:extLst>
                <a:ext uri="{FF2B5EF4-FFF2-40B4-BE49-F238E27FC236}">
                  <a16:creationId xmlns:a16="http://schemas.microsoft.com/office/drawing/2014/main" id="{AF04C832-134B-4A95-8E50-3015A14C8AAF}"/>
                </a:ext>
              </a:extLst>
            </p:cNvPr>
            <p:cNvGrpSpPr>
              <a:grpSpLocks/>
            </p:cNvGrpSpPr>
            <p:nvPr/>
          </p:nvGrpSpPr>
          <p:grpSpPr>
            <a:xfrm>
              <a:off x="9041021" y="5070912"/>
              <a:ext cx="454031" cy="436509"/>
              <a:chOff x="2511970" y="2806214"/>
              <a:chExt cx="2598626" cy="2498332"/>
            </a:xfrm>
          </p:grpSpPr>
          <p:grpSp>
            <p:nvGrpSpPr>
              <p:cNvPr id="1078" name="Google Shape;18115;p1604">
                <a:extLst>
                  <a:ext uri="{FF2B5EF4-FFF2-40B4-BE49-F238E27FC236}">
                    <a16:creationId xmlns:a16="http://schemas.microsoft.com/office/drawing/2014/main" id="{E16F61AA-DFE1-43FD-B967-52A1ABE92F06}"/>
                  </a:ext>
                </a:extLst>
              </p:cNvPr>
              <p:cNvGrpSpPr/>
              <p:nvPr/>
            </p:nvGrpSpPr>
            <p:grpSpPr>
              <a:xfrm>
                <a:off x="4214405" y="2806214"/>
                <a:ext cx="346511" cy="346515"/>
                <a:chOff x="1932810" y="1349835"/>
                <a:chExt cx="185335" cy="185337"/>
              </a:xfrm>
              <a:solidFill>
                <a:schemeClr val="tx2"/>
              </a:solidFill>
            </p:grpSpPr>
            <p:sp>
              <p:nvSpPr>
                <p:cNvPr id="1101" name="Google Shape;18116;p1604">
                  <a:extLst>
                    <a:ext uri="{FF2B5EF4-FFF2-40B4-BE49-F238E27FC236}">
                      <a16:creationId xmlns:a16="http://schemas.microsoft.com/office/drawing/2014/main" id="{5C129470-5142-44EC-84F3-17E8991CFFC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02" name="Google Shape;18117;p1604">
                  <a:extLst>
                    <a:ext uri="{FF2B5EF4-FFF2-40B4-BE49-F238E27FC236}">
                      <a16:creationId xmlns:a16="http://schemas.microsoft.com/office/drawing/2014/main" id="{264F82B1-C10D-4892-82E8-E0186F2BBC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079" name="Oval 1078">
                <a:extLst>
                  <a:ext uri="{FF2B5EF4-FFF2-40B4-BE49-F238E27FC236}">
                    <a16:creationId xmlns:a16="http://schemas.microsoft.com/office/drawing/2014/main" id="{80DF4FF5-CA70-456C-8759-5C33D825C3F6}"/>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080" name="Google Shape;18115;p1604">
                <a:extLst>
                  <a:ext uri="{FF2B5EF4-FFF2-40B4-BE49-F238E27FC236}">
                    <a16:creationId xmlns:a16="http://schemas.microsoft.com/office/drawing/2014/main" id="{0D36ED23-B7A3-45A5-B92D-DA470A5F9F49}"/>
                  </a:ext>
                </a:extLst>
              </p:cNvPr>
              <p:cNvGrpSpPr/>
              <p:nvPr/>
            </p:nvGrpSpPr>
            <p:grpSpPr>
              <a:xfrm>
                <a:off x="4402332" y="4548551"/>
                <a:ext cx="346511" cy="346515"/>
                <a:chOff x="1932810" y="1349835"/>
                <a:chExt cx="185335" cy="185337"/>
              </a:xfrm>
              <a:solidFill>
                <a:schemeClr val="tx2"/>
              </a:solidFill>
            </p:grpSpPr>
            <p:sp>
              <p:nvSpPr>
                <p:cNvPr id="1099" name="Google Shape;18116;p1604">
                  <a:extLst>
                    <a:ext uri="{FF2B5EF4-FFF2-40B4-BE49-F238E27FC236}">
                      <a16:creationId xmlns:a16="http://schemas.microsoft.com/office/drawing/2014/main" id="{FF0ADBE4-7C78-4F13-9543-BB6C03CC350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00" name="Google Shape;18117;p1604">
                  <a:extLst>
                    <a:ext uri="{FF2B5EF4-FFF2-40B4-BE49-F238E27FC236}">
                      <a16:creationId xmlns:a16="http://schemas.microsoft.com/office/drawing/2014/main" id="{726568B4-B6B6-4DB8-9B83-4F149C78B70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81" name="Google Shape;18115;p1604">
                <a:extLst>
                  <a:ext uri="{FF2B5EF4-FFF2-40B4-BE49-F238E27FC236}">
                    <a16:creationId xmlns:a16="http://schemas.microsoft.com/office/drawing/2014/main" id="{BCA927E5-769F-4A19-9823-460A565B0655}"/>
                  </a:ext>
                </a:extLst>
              </p:cNvPr>
              <p:cNvGrpSpPr/>
              <p:nvPr/>
            </p:nvGrpSpPr>
            <p:grpSpPr>
              <a:xfrm>
                <a:off x="3578880" y="4958031"/>
                <a:ext cx="346511" cy="346515"/>
                <a:chOff x="1932810" y="1349835"/>
                <a:chExt cx="185335" cy="185337"/>
              </a:xfrm>
              <a:solidFill>
                <a:schemeClr val="tx2"/>
              </a:solidFill>
            </p:grpSpPr>
            <p:sp>
              <p:nvSpPr>
                <p:cNvPr id="1097" name="Google Shape;18116;p1604">
                  <a:extLst>
                    <a:ext uri="{FF2B5EF4-FFF2-40B4-BE49-F238E27FC236}">
                      <a16:creationId xmlns:a16="http://schemas.microsoft.com/office/drawing/2014/main" id="{CAFEED86-7CD8-4315-891B-FB3EF1E3E8C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98" name="Google Shape;18117;p1604">
                  <a:extLst>
                    <a:ext uri="{FF2B5EF4-FFF2-40B4-BE49-F238E27FC236}">
                      <a16:creationId xmlns:a16="http://schemas.microsoft.com/office/drawing/2014/main" id="{10D73B7B-A056-4E7E-B87D-D1E7E5A5126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82" name="Google Shape;18115;p1604">
                <a:extLst>
                  <a:ext uri="{FF2B5EF4-FFF2-40B4-BE49-F238E27FC236}">
                    <a16:creationId xmlns:a16="http://schemas.microsoft.com/office/drawing/2014/main" id="{8EFE7739-0998-4016-909F-52B509B4B346}"/>
                  </a:ext>
                </a:extLst>
              </p:cNvPr>
              <p:cNvGrpSpPr/>
              <p:nvPr/>
            </p:nvGrpSpPr>
            <p:grpSpPr>
              <a:xfrm>
                <a:off x="2511970" y="3644968"/>
                <a:ext cx="346511" cy="346515"/>
                <a:chOff x="1932810" y="1349835"/>
                <a:chExt cx="185335" cy="185337"/>
              </a:xfrm>
              <a:solidFill>
                <a:schemeClr val="tx2"/>
              </a:solidFill>
            </p:grpSpPr>
            <p:sp>
              <p:nvSpPr>
                <p:cNvPr id="1095" name="Google Shape;18116;p1604">
                  <a:extLst>
                    <a:ext uri="{FF2B5EF4-FFF2-40B4-BE49-F238E27FC236}">
                      <a16:creationId xmlns:a16="http://schemas.microsoft.com/office/drawing/2014/main" id="{46BE7064-4755-4690-A25A-C4C83E5E3FD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96" name="Google Shape;18117;p1604">
                  <a:extLst>
                    <a:ext uri="{FF2B5EF4-FFF2-40B4-BE49-F238E27FC236}">
                      <a16:creationId xmlns:a16="http://schemas.microsoft.com/office/drawing/2014/main" id="{FB4A1208-A9BC-44A3-B4AF-164469B01A3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83" name="Google Shape;18115;p1604">
                <a:extLst>
                  <a:ext uri="{FF2B5EF4-FFF2-40B4-BE49-F238E27FC236}">
                    <a16:creationId xmlns:a16="http://schemas.microsoft.com/office/drawing/2014/main" id="{35300926-8B37-4321-95CA-DACEAFB1E25D}"/>
                  </a:ext>
                </a:extLst>
              </p:cNvPr>
              <p:cNvGrpSpPr/>
              <p:nvPr/>
            </p:nvGrpSpPr>
            <p:grpSpPr>
              <a:xfrm>
                <a:off x="4754363" y="4548551"/>
                <a:ext cx="346511" cy="346515"/>
                <a:chOff x="1932810" y="1349835"/>
                <a:chExt cx="185335" cy="185337"/>
              </a:xfrm>
              <a:solidFill>
                <a:schemeClr val="tx2"/>
              </a:solidFill>
            </p:grpSpPr>
            <p:sp>
              <p:nvSpPr>
                <p:cNvPr id="1093" name="Google Shape;18116;p1604">
                  <a:extLst>
                    <a:ext uri="{FF2B5EF4-FFF2-40B4-BE49-F238E27FC236}">
                      <a16:creationId xmlns:a16="http://schemas.microsoft.com/office/drawing/2014/main" id="{7D34EFD4-C3E0-466C-BEDE-066AB929CC8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94" name="Google Shape;18117;p1604">
                  <a:extLst>
                    <a:ext uri="{FF2B5EF4-FFF2-40B4-BE49-F238E27FC236}">
                      <a16:creationId xmlns:a16="http://schemas.microsoft.com/office/drawing/2014/main" id="{3610EB8D-91C5-48E1-B23E-0397DF86B2E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84" name="Google Shape;18115;p1604">
                <a:extLst>
                  <a:ext uri="{FF2B5EF4-FFF2-40B4-BE49-F238E27FC236}">
                    <a16:creationId xmlns:a16="http://schemas.microsoft.com/office/drawing/2014/main" id="{A3210AD7-00D1-4A81-A8F9-59D87D8322DF}"/>
                  </a:ext>
                </a:extLst>
              </p:cNvPr>
              <p:cNvGrpSpPr/>
              <p:nvPr/>
            </p:nvGrpSpPr>
            <p:grpSpPr>
              <a:xfrm>
                <a:off x="2644688" y="4493428"/>
                <a:ext cx="346511" cy="346515"/>
                <a:chOff x="1932810" y="1349835"/>
                <a:chExt cx="185335" cy="185337"/>
              </a:xfrm>
              <a:solidFill>
                <a:schemeClr val="tx2"/>
              </a:solidFill>
            </p:grpSpPr>
            <p:sp>
              <p:nvSpPr>
                <p:cNvPr id="1091" name="Google Shape;18116;p1604">
                  <a:extLst>
                    <a:ext uri="{FF2B5EF4-FFF2-40B4-BE49-F238E27FC236}">
                      <a16:creationId xmlns:a16="http://schemas.microsoft.com/office/drawing/2014/main" id="{9A4A9AE5-B684-4475-9ECB-860554B170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92" name="Google Shape;18117;p1604">
                  <a:extLst>
                    <a:ext uri="{FF2B5EF4-FFF2-40B4-BE49-F238E27FC236}">
                      <a16:creationId xmlns:a16="http://schemas.microsoft.com/office/drawing/2014/main" id="{CDAED952-094D-4602-ABD8-C3EDAA06A4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85" name="Google Shape;18115;p1604">
                <a:extLst>
                  <a:ext uri="{FF2B5EF4-FFF2-40B4-BE49-F238E27FC236}">
                    <a16:creationId xmlns:a16="http://schemas.microsoft.com/office/drawing/2014/main" id="{04DC08E9-B0A4-4C34-934F-8301F7FA011E}"/>
                  </a:ext>
                </a:extLst>
              </p:cNvPr>
              <p:cNvGrpSpPr/>
              <p:nvPr/>
            </p:nvGrpSpPr>
            <p:grpSpPr>
              <a:xfrm>
                <a:off x="4764085" y="3612568"/>
                <a:ext cx="346511" cy="346515"/>
                <a:chOff x="1932810" y="1349835"/>
                <a:chExt cx="185335" cy="185337"/>
              </a:xfrm>
              <a:solidFill>
                <a:schemeClr val="tx2"/>
              </a:solidFill>
            </p:grpSpPr>
            <p:sp>
              <p:nvSpPr>
                <p:cNvPr id="1089" name="Google Shape;18116;p1604">
                  <a:extLst>
                    <a:ext uri="{FF2B5EF4-FFF2-40B4-BE49-F238E27FC236}">
                      <a16:creationId xmlns:a16="http://schemas.microsoft.com/office/drawing/2014/main" id="{217785CD-CF90-442E-8D80-79D323A5B2A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90" name="Google Shape;18117;p1604">
                  <a:extLst>
                    <a:ext uri="{FF2B5EF4-FFF2-40B4-BE49-F238E27FC236}">
                      <a16:creationId xmlns:a16="http://schemas.microsoft.com/office/drawing/2014/main" id="{064E90CB-AF78-4D53-9EB4-3DB61C2BA46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086" name="Google Shape;18115;p1604">
                <a:extLst>
                  <a:ext uri="{FF2B5EF4-FFF2-40B4-BE49-F238E27FC236}">
                    <a16:creationId xmlns:a16="http://schemas.microsoft.com/office/drawing/2014/main" id="{2979F5ED-B551-4B4F-BF5E-E890718510E6}"/>
                  </a:ext>
                </a:extLst>
              </p:cNvPr>
              <p:cNvGrpSpPr/>
              <p:nvPr/>
            </p:nvGrpSpPr>
            <p:grpSpPr>
              <a:xfrm>
                <a:off x="3091300" y="2809102"/>
                <a:ext cx="346511" cy="346515"/>
                <a:chOff x="1932810" y="1349835"/>
                <a:chExt cx="185335" cy="185337"/>
              </a:xfrm>
              <a:solidFill>
                <a:schemeClr val="tx2"/>
              </a:solidFill>
            </p:grpSpPr>
            <p:sp>
              <p:nvSpPr>
                <p:cNvPr id="1087" name="Google Shape;18116;p1604">
                  <a:extLst>
                    <a:ext uri="{FF2B5EF4-FFF2-40B4-BE49-F238E27FC236}">
                      <a16:creationId xmlns:a16="http://schemas.microsoft.com/office/drawing/2014/main" id="{1F2211B0-7834-48F8-B4DA-E6614B07138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088" name="Google Shape;18117;p1604">
                  <a:extLst>
                    <a:ext uri="{FF2B5EF4-FFF2-40B4-BE49-F238E27FC236}">
                      <a16:creationId xmlns:a16="http://schemas.microsoft.com/office/drawing/2014/main" id="{F21622B2-91D3-41F1-8955-50CD19AEB4D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sp>
        <p:nvSpPr>
          <p:cNvPr id="822" name="Rectangle 821">
            <a:extLst>
              <a:ext uri="{FF2B5EF4-FFF2-40B4-BE49-F238E27FC236}">
                <a16:creationId xmlns:a16="http://schemas.microsoft.com/office/drawing/2014/main" id="{051C854A-6E9A-49A3-881E-713BF28B203F}"/>
              </a:ext>
            </a:extLst>
          </p:cNvPr>
          <p:cNvSpPr/>
          <p:nvPr/>
        </p:nvSpPr>
        <p:spPr>
          <a:xfrm>
            <a:off x="8956284" y="3548860"/>
            <a:ext cx="681900" cy="31554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 PM</a:t>
            </a:r>
            <a:endParaRPr kumimoji="0" lang="en-US" sz="700" i="0" u="none" strike="noStrike" kern="1200" cap="none" spc="0" normalizeH="0" baseline="0" noProof="0" dirty="0">
              <a:ln>
                <a:noFill/>
              </a:ln>
              <a:solidFill>
                <a:srgbClr val="00148C"/>
              </a:solidFill>
              <a:effectLst/>
              <a:uLnTx/>
              <a:uFillTx/>
              <a:latin typeface="Arial"/>
              <a:ea typeface="+mn-ea"/>
              <a:cs typeface="Arial"/>
            </a:endParaRPr>
          </a:p>
        </p:txBody>
      </p:sp>
      <p:sp>
        <p:nvSpPr>
          <p:cNvPr id="825" name="Rectangle 824">
            <a:extLst>
              <a:ext uri="{FF2B5EF4-FFF2-40B4-BE49-F238E27FC236}">
                <a16:creationId xmlns:a16="http://schemas.microsoft.com/office/drawing/2014/main" id="{DA6BF3FE-CFE8-4057-BF0F-F7403A0C1D43}"/>
              </a:ext>
            </a:extLst>
          </p:cNvPr>
          <p:cNvSpPr/>
          <p:nvPr/>
        </p:nvSpPr>
        <p:spPr>
          <a:xfrm>
            <a:off x="6807412" y="3096169"/>
            <a:ext cx="1357641" cy="2080421"/>
          </a:xfrm>
          <a:prstGeom prst="rect">
            <a:avLst/>
          </a:prstGeom>
          <a:solidFill>
            <a:srgbClr val="F2F2F2"/>
          </a:solidFill>
          <a:ln w="9906"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t" anchorCtr="0" forceAA="0" compatLnSpc="1">
            <a:prstTxWarp prst="textNoShape">
              <a:avLst/>
            </a:prstTxWarp>
            <a:noAutofit/>
          </a:bodyPr>
          <a:lstStyle/>
          <a:p>
            <a:pPr algn="ctr"/>
            <a:r>
              <a:rPr lang="en-US" sz="1144" b="1" dirty="0">
                <a:solidFill>
                  <a:srgbClr val="55555A"/>
                </a:solidFill>
              </a:rPr>
              <a:t>ARI</a:t>
            </a:r>
          </a:p>
        </p:txBody>
      </p:sp>
      <p:grpSp>
        <p:nvGrpSpPr>
          <p:cNvPr id="826" name="Google Shape;18115;p1604">
            <a:extLst>
              <a:ext uri="{FF2B5EF4-FFF2-40B4-BE49-F238E27FC236}">
                <a16:creationId xmlns:a16="http://schemas.microsoft.com/office/drawing/2014/main" id="{DE7FD16B-C13C-4BDC-B7FF-CB9BAB1867D9}"/>
              </a:ext>
            </a:extLst>
          </p:cNvPr>
          <p:cNvGrpSpPr/>
          <p:nvPr/>
        </p:nvGrpSpPr>
        <p:grpSpPr>
          <a:xfrm>
            <a:off x="7183101" y="3906341"/>
            <a:ext cx="201160" cy="201164"/>
            <a:chOff x="1932810" y="1349835"/>
            <a:chExt cx="185335" cy="185339"/>
          </a:xfrm>
          <a:solidFill>
            <a:schemeClr val="tx2"/>
          </a:solidFill>
        </p:grpSpPr>
        <p:sp>
          <p:nvSpPr>
            <p:cNvPr id="885" name="Google Shape;18116;p1604">
              <a:extLst>
                <a:ext uri="{FF2B5EF4-FFF2-40B4-BE49-F238E27FC236}">
                  <a16:creationId xmlns:a16="http://schemas.microsoft.com/office/drawing/2014/main" id="{9ADBCD82-01EC-4C5B-88CA-92ED8CD29DF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5082" tIns="47528" rIns="95082" bIns="4752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6" name="Google Shape;18117;p1604">
              <a:extLst>
                <a:ext uri="{FF2B5EF4-FFF2-40B4-BE49-F238E27FC236}">
                  <a16:creationId xmlns:a16="http://schemas.microsoft.com/office/drawing/2014/main" id="{4C5FBEE9-CDF8-45CE-B41F-E582788C5234}"/>
                </a:ext>
              </a:extLst>
            </p:cNvPr>
            <p:cNvSpPr/>
            <p:nvPr/>
          </p:nvSpPr>
          <p:spPr>
            <a:xfrm>
              <a:off x="1932810" y="1455745"/>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5082" tIns="47528" rIns="95082" bIns="4752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27" name="Google Shape;18115;p1604">
            <a:extLst>
              <a:ext uri="{FF2B5EF4-FFF2-40B4-BE49-F238E27FC236}">
                <a16:creationId xmlns:a16="http://schemas.microsoft.com/office/drawing/2014/main" id="{B77F3B62-9C40-4502-8661-63F07EA9B791}"/>
              </a:ext>
            </a:extLst>
          </p:cNvPr>
          <p:cNvGrpSpPr/>
          <p:nvPr/>
        </p:nvGrpSpPr>
        <p:grpSpPr>
          <a:xfrm>
            <a:off x="7770330" y="3906341"/>
            <a:ext cx="201160" cy="201164"/>
            <a:chOff x="1932810" y="1349835"/>
            <a:chExt cx="185335" cy="185339"/>
          </a:xfrm>
          <a:solidFill>
            <a:schemeClr val="tx2"/>
          </a:solidFill>
        </p:grpSpPr>
        <p:sp>
          <p:nvSpPr>
            <p:cNvPr id="883" name="Google Shape;18116;p1604">
              <a:extLst>
                <a:ext uri="{FF2B5EF4-FFF2-40B4-BE49-F238E27FC236}">
                  <a16:creationId xmlns:a16="http://schemas.microsoft.com/office/drawing/2014/main" id="{C6BC6A04-4CE5-49F3-AFF7-ABF44DFEC05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5082" tIns="47528" rIns="95082" bIns="4752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4" name="Google Shape;18117;p1604">
              <a:extLst>
                <a:ext uri="{FF2B5EF4-FFF2-40B4-BE49-F238E27FC236}">
                  <a16:creationId xmlns:a16="http://schemas.microsoft.com/office/drawing/2014/main" id="{373AF613-5332-4F38-B9AF-1E8C623DF713}"/>
                </a:ext>
              </a:extLst>
            </p:cNvPr>
            <p:cNvSpPr/>
            <p:nvPr/>
          </p:nvSpPr>
          <p:spPr>
            <a:xfrm>
              <a:off x="1932810" y="1455745"/>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5082" tIns="47528" rIns="95082" bIns="47528"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28" name="Rectangle 827">
            <a:extLst>
              <a:ext uri="{FF2B5EF4-FFF2-40B4-BE49-F238E27FC236}">
                <a16:creationId xmlns:a16="http://schemas.microsoft.com/office/drawing/2014/main" id="{8E714FFB-D690-467B-8563-851FE3099B9D}"/>
              </a:ext>
            </a:extLst>
          </p:cNvPr>
          <p:cNvSpPr/>
          <p:nvPr/>
        </p:nvSpPr>
        <p:spPr>
          <a:xfrm>
            <a:off x="6771512" y="3548860"/>
            <a:ext cx="901862" cy="31554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endParaRPr kumimoji="0" lang="en-US" sz="700" i="0" u="none" strike="noStrike" kern="1200" cap="none" spc="0" normalizeH="0" baseline="0" noProof="0" dirty="0">
              <a:ln>
                <a:noFill/>
              </a:ln>
              <a:solidFill>
                <a:srgbClr val="00148C"/>
              </a:solidFill>
              <a:effectLst/>
              <a:uLnTx/>
              <a:uFillTx/>
              <a:latin typeface="Arial"/>
              <a:ea typeface="+mn-ea"/>
              <a:cs typeface="Arial"/>
            </a:endParaRPr>
          </a:p>
        </p:txBody>
      </p:sp>
      <p:grpSp>
        <p:nvGrpSpPr>
          <p:cNvPr id="829" name="Group 828">
            <a:extLst>
              <a:ext uri="{FF2B5EF4-FFF2-40B4-BE49-F238E27FC236}">
                <a16:creationId xmlns:a16="http://schemas.microsoft.com/office/drawing/2014/main" id="{600F6D21-63EC-4CA9-9B29-2F12C891179C}"/>
              </a:ext>
            </a:extLst>
          </p:cNvPr>
          <p:cNvGrpSpPr/>
          <p:nvPr/>
        </p:nvGrpSpPr>
        <p:grpSpPr>
          <a:xfrm>
            <a:off x="7120138" y="4331877"/>
            <a:ext cx="862801" cy="730864"/>
            <a:chOff x="8632251" y="4776557"/>
            <a:chExt cx="862801" cy="730864"/>
          </a:xfrm>
        </p:grpSpPr>
        <p:grpSp>
          <p:nvGrpSpPr>
            <p:cNvPr id="831" name="Group 830">
              <a:extLst>
                <a:ext uri="{FF2B5EF4-FFF2-40B4-BE49-F238E27FC236}">
                  <a16:creationId xmlns:a16="http://schemas.microsoft.com/office/drawing/2014/main" id="{797E5225-78BF-4019-BAAC-56CDDFB50F2C}"/>
                </a:ext>
              </a:extLst>
            </p:cNvPr>
            <p:cNvGrpSpPr>
              <a:grpSpLocks/>
            </p:cNvGrpSpPr>
            <p:nvPr/>
          </p:nvGrpSpPr>
          <p:grpSpPr>
            <a:xfrm>
              <a:off x="8632251" y="4776557"/>
              <a:ext cx="454031" cy="436509"/>
              <a:chOff x="2511970" y="2806214"/>
              <a:chExt cx="2598626" cy="2498332"/>
            </a:xfrm>
          </p:grpSpPr>
          <p:grpSp>
            <p:nvGrpSpPr>
              <p:cNvPr id="858" name="Google Shape;18115;p1604">
                <a:extLst>
                  <a:ext uri="{FF2B5EF4-FFF2-40B4-BE49-F238E27FC236}">
                    <a16:creationId xmlns:a16="http://schemas.microsoft.com/office/drawing/2014/main" id="{798037A8-18C8-44B3-9CC9-612F839B4E10}"/>
                  </a:ext>
                </a:extLst>
              </p:cNvPr>
              <p:cNvGrpSpPr/>
              <p:nvPr/>
            </p:nvGrpSpPr>
            <p:grpSpPr>
              <a:xfrm>
                <a:off x="4214405" y="2806214"/>
                <a:ext cx="346511" cy="346515"/>
                <a:chOff x="1932810" y="1349835"/>
                <a:chExt cx="185335" cy="185337"/>
              </a:xfrm>
              <a:solidFill>
                <a:schemeClr val="tx2"/>
              </a:solidFill>
            </p:grpSpPr>
            <p:sp>
              <p:nvSpPr>
                <p:cNvPr id="881" name="Google Shape;18116;p1604">
                  <a:extLst>
                    <a:ext uri="{FF2B5EF4-FFF2-40B4-BE49-F238E27FC236}">
                      <a16:creationId xmlns:a16="http://schemas.microsoft.com/office/drawing/2014/main" id="{C4B636BE-E197-4344-8138-66A6EB6939B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2" name="Google Shape;18117;p1604">
                  <a:extLst>
                    <a:ext uri="{FF2B5EF4-FFF2-40B4-BE49-F238E27FC236}">
                      <a16:creationId xmlns:a16="http://schemas.microsoft.com/office/drawing/2014/main" id="{1B6FC0BD-BC6D-4F50-A924-B9AE59893AD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59" name="Oval 858">
                <a:extLst>
                  <a:ext uri="{FF2B5EF4-FFF2-40B4-BE49-F238E27FC236}">
                    <a16:creationId xmlns:a16="http://schemas.microsoft.com/office/drawing/2014/main" id="{E9EA53E1-0660-49F8-8D5E-ACB460A9FF95}"/>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860" name="Google Shape;18115;p1604">
                <a:extLst>
                  <a:ext uri="{FF2B5EF4-FFF2-40B4-BE49-F238E27FC236}">
                    <a16:creationId xmlns:a16="http://schemas.microsoft.com/office/drawing/2014/main" id="{9A777932-3672-4C14-8717-D9FE161A8BC9}"/>
                  </a:ext>
                </a:extLst>
              </p:cNvPr>
              <p:cNvGrpSpPr/>
              <p:nvPr/>
            </p:nvGrpSpPr>
            <p:grpSpPr>
              <a:xfrm>
                <a:off x="4402332" y="4548551"/>
                <a:ext cx="346511" cy="346515"/>
                <a:chOff x="1932810" y="1349835"/>
                <a:chExt cx="185335" cy="185337"/>
              </a:xfrm>
              <a:solidFill>
                <a:schemeClr val="tx2"/>
              </a:solidFill>
            </p:grpSpPr>
            <p:sp>
              <p:nvSpPr>
                <p:cNvPr id="879" name="Google Shape;18116;p1604">
                  <a:extLst>
                    <a:ext uri="{FF2B5EF4-FFF2-40B4-BE49-F238E27FC236}">
                      <a16:creationId xmlns:a16="http://schemas.microsoft.com/office/drawing/2014/main" id="{1AE4653D-9574-4F2A-812D-BA47C705EBF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80" name="Google Shape;18117;p1604">
                  <a:extLst>
                    <a:ext uri="{FF2B5EF4-FFF2-40B4-BE49-F238E27FC236}">
                      <a16:creationId xmlns:a16="http://schemas.microsoft.com/office/drawing/2014/main" id="{8BBBD00A-B291-4BA1-B3A9-CA77218FA4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1" name="Google Shape;18115;p1604">
                <a:extLst>
                  <a:ext uri="{FF2B5EF4-FFF2-40B4-BE49-F238E27FC236}">
                    <a16:creationId xmlns:a16="http://schemas.microsoft.com/office/drawing/2014/main" id="{EFC0C884-398C-45DB-9C10-025124E12F08}"/>
                  </a:ext>
                </a:extLst>
              </p:cNvPr>
              <p:cNvGrpSpPr/>
              <p:nvPr/>
            </p:nvGrpSpPr>
            <p:grpSpPr>
              <a:xfrm>
                <a:off x="3578880" y="4958031"/>
                <a:ext cx="346511" cy="346515"/>
                <a:chOff x="1932810" y="1349835"/>
                <a:chExt cx="185335" cy="185337"/>
              </a:xfrm>
              <a:solidFill>
                <a:schemeClr val="tx2"/>
              </a:solidFill>
            </p:grpSpPr>
            <p:sp>
              <p:nvSpPr>
                <p:cNvPr id="877" name="Google Shape;18116;p1604">
                  <a:extLst>
                    <a:ext uri="{FF2B5EF4-FFF2-40B4-BE49-F238E27FC236}">
                      <a16:creationId xmlns:a16="http://schemas.microsoft.com/office/drawing/2014/main" id="{DC1D31E2-AF11-44B5-BE7C-43A2FD2D747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8" name="Google Shape;18117;p1604">
                  <a:extLst>
                    <a:ext uri="{FF2B5EF4-FFF2-40B4-BE49-F238E27FC236}">
                      <a16:creationId xmlns:a16="http://schemas.microsoft.com/office/drawing/2014/main" id="{6E7F5729-5C5F-4926-B8F2-C01158DC69E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2" name="Google Shape;18115;p1604">
                <a:extLst>
                  <a:ext uri="{FF2B5EF4-FFF2-40B4-BE49-F238E27FC236}">
                    <a16:creationId xmlns:a16="http://schemas.microsoft.com/office/drawing/2014/main" id="{6BC74583-FA47-411F-8FD5-28679D81A678}"/>
                  </a:ext>
                </a:extLst>
              </p:cNvPr>
              <p:cNvGrpSpPr/>
              <p:nvPr/>
            </p:nvGrpSpPr>
            <p:grpSpPr>
              <a:xfrm>
                <a:off x="2511970" y="3644968"/>
                <a:ext cx="346511" cy="346515"/>
                <a:chOff x="1932810" y="1349835"/>
                <a:chExt cx="185335" cy="185337"/>
              </a:xfrm>
              <a:solidFill>
                <a:schemeClr val="tx2"/>
              </a:solidFill>
            </p:grpSpPr>
            <p:sp>
              <p:nvSpPr>
                <p:cNvPr id="875" name="Google Shape;18116;p1604">
                  <a:extLst>
                    <a:ext uri="{FF2B5EF4-FFF2-40B4-BE49-F238E27FC236}">
                      <a16:creationId xmlns:a16="http://schemas.microsoft.com/office/drawing/2014/main" id="{EC10E485-0C4F-4EE4-9A3E-1B04C1F7266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6" name="Google Shape;18117;p1604">
                  <a:extLst>
                    <a:ext uri="{FF2B5EF4-FFF2-40B4-BE49-F238E27FC236}">
                      <a16:creationId xmlns:a16="http://schemas.microsoft.com/office/drawing/2014/main" id="{F2A007FE-9C55-4253-93F9-CE982E2571B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3" name="Google Shape;18115;p1604">
                <a:extLst>
                  <a:ext uri="{FF2B5EF4-FFF2-40B4-BE49-F238E27FC236}">
                    <a16:creationId xmlns:a16="http://schemas.microsoft.com/office/drawing/2014/main" id="{F27DCC53-4018-4C49-AD59-CED4DC85C38D}"/>
                  </a:ext>
                </a:extLst>
              </p:cNvPr>
              <p:cNvGrpSpPr/>
              <p:nvPr/>
            </p:nvGrpSpPr>
            <p:grpSpPr>
              <a:xfrm>
                <a:off x="4754363" y="4548551"/>
                <a:ext cx="346511" cy="346515"/>
                <a:chOff x="1932810" y="1349835"/>
                <a:chExt cx="185335" cy="185337"/>
              </a:xfrm>
              <a:solidFill>
                <a:schemeClr val="tx2"/>
              </a:solidFill>
            </p:grpSpPr>
            <p:sp>
              <p:nvSpPr>
                <p:cNvPr id="873" name="Google Shape;18116;p1604">
                  <a:extLst>
                    <a:ext uri="{FF2B5EF4-FFF2-40B4-BE49-F238E27FC236}">
                      <a16:creationId xmlns:a16="http://schemas.microsoft.com/office/drawing/2014/main" id="{5CFBF01D-33EF-4C72-A43E-CC4BF4743C9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4" name="Google Shape;18117;p1604">
                  <a:extLst>
                    <a:ext uri="{FF2B5EF4-FFF2-40B4-BE49-F238E27FC236}">
                      <a16:creationId xmlns:a16="http://schemas.microsoft.com/office/drawing/2014/main" id="{AE875CF7-45A2-417C-A41E-9F15BD9948C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4" name="Google Shape;18115;p1604">
                <a:extLst>
                  <a:ext uri="{FF2B5EF4-FFF2-40B4-BE49-F238E27FC236}">
                    <a16:creationId xmlns:a16="http://schemas.microsoft.com/office/drawing/2014/main" id="{9AB5AE69-9B10-4B60-91EA-900584C7DD0C}"/>
                  </a:ext>
                </a:extLst>
              </p:cNvPr>
              <p:cNvGrpSpPr/>
              <p:nvPr/>
            </p:nvGrpSpPr>
            <p:grpSpPr>
              <a:xfrm>
                <a:off x="2644688" y="4493428"/>
                <a:ext cx="346511" cy="346515"/>
                <a:chOff x="1932810" y="1349835"/>
                <a:chExt cx="185335" cy="185337"/>
              </a:xfrm>
              <a:solidFill>
                <a:schemeClr val="tx2"/>
              </a:solidFill>
            </p:grpSpPr>
            <p:sp>
              <p:nvSpPr>
                <p:cNvPr id="871" name="Google Shape;18116;p1604">
                  <a:extLst>
                    <a:ext uri="{FF2B5EF4-FFF2-40B4-BE49-F238E27FC236}">
                      <a16:creationId xmlns:a16="http://schemas.microsoft.com/office/drawing/2014/main" id="{FDD13C62-CEFA-4FDC-AF33-84DE11F43EC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2" name="Google Shape;18117;p1604">
                  <a:extLst>
                    <a:ext uri="{FF2B5EF4-FFF2-40B4-BE49-F238E27FC236}">
                      <a16:creationId xmlns:a16="http://schemas.microsoft.com/office/drawing/2014/main" id="{F1AFAB16-6AFC-4195-8B97-CFEB40A15B8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5" name="Google Shape;18115;p1604">
                <a:extLst>
                  <a:ext uri="{FF2B5EF4-FFF2-40B4-BE49-F238E27FC236}">
                    <a16:creationId xmlns:a16="http://schemas.microsoft.com/office/drawing/2014/main" id="{C516C2C5-A3DA-4DEB-B1A7-F276DA897E73}"/>
                  </a:ext>
                </a:extLst>
              </p:cNvPr>
              <p:cNvGrpSpPr/>
              <p:nvPr/>
            </p:nvGrpSpPr>
            <p:grpSpPr>
              <a:xfrm>
                <a:off x="4764085" y="3612568"/>
                <a:ext cx="346511" cy="346515"/>
                <a:chOff x="1932810" y="1349835"/>
                <a:chExt cx="185335" cy="185337"/>
              </a:xfrm>
              <a:solidFill>
                <a:schemeClr val="tx2"/>
              </a:solidFill>
            </p:grpSpPr>
            <p:sp>
              <p:nvSpPr>
                <p:cNvPr id="869" name="Google Shape;18116;p1604">
                  <a:extLst>
                    <a:ext uri="{FF2B5EF4-FFF2-40B4-BE49-F238E27FC236}">
                      <a16:creationId xmlns:a16="http://schemas.microsoft.com/office/drawing/2014/main" id="{019A035E-E429-419A-83DA-1B8A83B886B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70" name="Google Shape;18117;p1604">
                  <a:extLst>
                    <a:ext uri="{FF2B5EF4-FFF2-40B4-BE49-F238E27FC236}">
                      <a16:creationId xmlns:a16="http://schemas.microsoft.com/office/drawing/2014/main" id="{CCA14B56-478D-49D4-8559-BCDE77D1CBB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66" name="Google Shape;18115;p1604">
                <a:extLst>
                  <a:ext uri="{FF2B5EF4-FFF2-40B4-BE49-F238E27FC236}">
                    <a16:creationId xmlns:a16="http://schemas.microsoft.com/office/drawing/2014/main" id="{7D6AC3D9-75B6-46C3-AE28-442844B5BD92}"/>
                  </a:ext>
                </a:extLst>
              </p:cNvPr>
              <p:cNvGrpSpPr/>
              <p:nvPr/>
            </p:nvGrpSpPr>
            <p:grpSpPr>
              <a:xfrm>
                <a:off x="3091300" y="2809102"/>
                <a:ext cx="346511" cy="346515"/>
                <a:chOff x="1932810" y="1349835"/>
                <a:chExt cx="185335" cy="185337"/>
              </a:xfrm>
              <a:solidFill>
                <a:schemeClr val="tx2"/>
              </a:solidFill>
            </p:grpSpPr>
            <p:sp>
              <p:nvSpPr>
                <p:cNvPr id="867" name="Google Shape;18116;p1604">
                  <a:extLst>
                    <a:ext uri="{FF2B5EF4-FFF2-40B4-BE49-F238E27FC236}">
                      <a16:creationId xmlns:a16="http://schemas.microsoft.com/office/drawing/2014/main" id="{D97728D1-9F56-444A-8F46-36F78CAE573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68" name="Google Shape;18117;p1604">
                  <a:extLst>
                    <a:ext uri="{FF2B5EF4-FFF2-40B4-BE49-F238E27FC236}">
                      <a16:creationId xmlns:a16="http://schemas.microsoft.com/office/drawing/2014/main" id="{1DA067F4-E770-472A-AB23-8F307ED736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832" name="Group 831">
              <a:extLst>
                <a:ext uri="{FF2B5EF4-FFF2-40B4-BE49-F238E27FC236}">
                  <a16:creationId xmlns:a16="http://schemas.microsoft.com/office/drawing/2014/main" id="{3D7CACA3-425D-469D-8360-7345745085F8}"/>
                </a:ext>
              </a:extLst>
            </p:cNvPr>
            <p:cNvGrpSpPr>
              <a:grpSpLocks/>
            </p:cNvGrpSpPr>
            <p:nvPr/>
          </p:nvGrpSpPr>
          <p:grpSpPr>
            <a:xfrm>
              <a:off x="9041021" y="5070912"/>
              <a:ext cx="454031" cy="436509"/>
              <a:chOff x="2511970" y="2806214"/>
              <a:chExt cx="2598626" cy="2498332"/>
            </a:xfrm>
          </p:grpSpPr>
          <p:grpSp>
            <p:nvGrpSpPr>
              <p:cNvPr id="833" name="Google Shape;18115;p1604">
                <a:extLst>
                  <a:ext uri="{FF2B5EF4-FFF2-40B4-BE49-F238E27FC236}">
                    <a16:creationId xmlns:a16="http://schemas.microsoft.com/office/drawing/2014/main" id="{9F7F7EE6-B46A-4E15-90D4-29D4CCC81A98}"/>
                  </a:ext>
                </a:extLst>
              </p:cNvPr>
              <p:cNvGrpSpPr/>
              <p:nvPr/>
            </p:nvGrpSpPr>
            <p:grpSpPr>
              <a:xfrm>
                <a:off x="4214405" y="2806214"/>
                <a:ext cx="346511" cy="346515"/>
                <a:chOff x="1932810" y="1349835"/>
                <a:chExt cx="185335" cy="185337"/>
              </a:xfrm>
              <a:solidFill>
                <a:schemeClr val="tx2"/>
              </a:solidFill>
            </p:grpSpPr>
            <p:sp>
              <p:nvSpPr>
                <p:cNvPr id="856" name="Google Shape;18116;p1604">
                  <a:extLst>
                    <a:ext uri="{FF2B5EF4-FFF2-40B4-BE49-F238E27FC236}">
                      <a16:creationId xmlns:a16="http://schemas.microsoft.com/office/drawing/2014/main" id="{A8A90F10-6D51-4717-A4CC-3FDEDB1F677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7" name="Google Shape;18117;p1604">
                  <a:extLst>
                    <a:ext uri="{FF2B5EF4-FFF2-40B4-BE49-F238E27FC236}">
                      <a16:creationId xmlns:a16="http://schemas.microsoft.com/office/drawing/2014/main" id="{55EED0C9-AB40-4AF4-9E31-0010F7C0E3A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834" name="Oval 833">
                <a:extLst>
                  <a:ext uri="{FF2B5EF4-FFF2-40B4-BE49-F238E27FC236}">
                    <a16:creationId xmlns:a16="http://schemas.microsoft.com/office/drawing/2014/main" id="{69538FE3-AAD5-4BA6-A028-A247E1D46AB1}"/>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835" name="Google Shape;18115;p1604">
                <a:extLst>
                  <a:ext uri="{FF2B5EF4-FFF2-40B4-BE49-F238E27FC236}">
                    <a16:creationId xmlns:a16="http://schemas.microsoft.com/office/drawing/2014/main" id="{192E7D21-3BF6-4C94-9042-B13BA8824A0E}"/>
                  </a:ext>
                </a:extLst>
              </p:cNvPr>
              <p:cNvGrpSpPr/>
              <p:nvPr/>
            </p:nvGrpSpPr>
            <p:grpSpPr>
              <a:xfrm>
                <a:off x="4402332" y="4548551"/>
                <a:ext cx="346511" cy="346515"/>
                <a:chOff x="1932810" y="1349835"/>
                <a:chExt cx="185335" cy="185337"/>
              </a:xfrm>
              <a:solidFill>
                <a:schemeClr val="tx2"/>
              </a:solidFill>
            </p:grpSpPr>
            <p:sp>
              <p:nvSpPr>
                <p:cNvPr id="854" name="Google Shape;18116;p1604">
                  <a:extLst>
                    <a:ext uri="{FF2B5EF4-FFF2-40B4-BE49-F238E27FC236}">
                      <a16:creationId xmlns:a16="http://schemas.microsoft.com/office/drawing/2014/main" id="{D8E32473-1836-4BCB-98AE-4030620523A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5" name="Google Shape;18117;p1604">
                  <a:extLst>
                    <a:ext uri="{FF2B5EF4-FFF2-40B4-BE49-F238E27FC236}">
                      <a16:creationId xmlns:a16="http://schemas.microsoft.com/office/drawing/2014/main" id="{0E42CC1E-F507-4252-A776-73592651BA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36" name="Google Shape;18115;p1604">
                <a:extLst>
                  <a:ext uri="{FF2B5EF4-FFF2-40B4-BE49-F238E27FC236}">
                    <a16:creationId xmlns:a16="http://schemas.microsoft.com/office/drawing/2014/main" id="{B03C6CD4-63E9-41C9-9EE3-285C338DE818}"/>
                  </a:ext>
                </a:extLst>
              </p:cNvPr>
              <p:cNvGrpSpPr/>
              <p:nvPr/>
            </p:nvGrpSpPr>
            <p:grpSpPr>
              <a:xfrm>
                <a:off x="3578880" y="4958031"/>
                <a:ext cx="346511" cy="346515"/>
                <a:chOff x="1932810" y="1349835"/>
                <a:chExt cx="185335" cy="185337"/>
              </a:xfrm>
              <a:solidFill>
                <a:schemeClr val="tx2"/>
              </a:solidFill>
            </p:grpSpPr>
            <p:sp>
              <p:nvSpPr>
                <p:cNvPr id="852" name="Google Shape;18116;p1604">
                  <a:extLst>
                    <a:ext uri="{FF2B5EF4-FFF2-40B4-BE49-F238E27FC236}">
                      <a16:creationId xmlns:a16="http://schemas.microsoft.com/office/drawing/2014/main" id="{9C1E9E86-1FEB-458F-B62F-216C26AB458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3" name="Google Shape;18117;p1604">
                  <a:extLst>
                    <a:ext uri="{FF2B5EF4-FFF2-40B4-BE49-F238E27FC236}">
                      <a16:creationId xmlns:a16="http://schemas.microsoft.com/office/drawing/2014/main" id="{DD53C3CF-EE66-4E9B-BA29-BDE60B39A80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37" name="Google Shape;18115;p1604">
                <a:extLst>
                  <a:ext uri="{FF2B5EF4-FFF2-40B4-BE49-F238E27FC236}">
                    <a16:creationId xmlns:a16="http://schemas.microsoft.com/office/drawing/2014/main" id="{5D0A7C03-AEE5-495B-8262-CBD86BFAF815}"/>
                  </a:ext>
                </a:extLst>
              </p:cNvPr>
              <p:cNvGrpSpPr/>
              <p:nvPr/>
            </p:nvGrpSpPr>
            <p:grpSpPr>
              <a:xfrm>
                <a:off x="2511970" y="3644968"/>
                <a:ext cx="346511" cy="346515"/>
                <a:chOff x="1932810" y="1349835"/>
                <a:chExt cx="185335" cy="185337"/>
              </a:xfrm>
              <a:solidFill>
                <a:schemeClr val="tx2"/>
              </a:solidFill>
            </p:grpSpPr>
            <p:sp>
              <p:nvSpPr>
                <p:cNvPr id="850" name="Google Shape;18116;p1604">
                  <a:extLst>
                    <a:ext uri="{FF2B5EF4-FFF2-40B4-BE49-F238E27FC236}">
                      <a16:creationId xmlns:a16="http://schemas.microsoft.com/office/drawing/2014/main" id="{EB47A8CE-8118-4847-BBD7-12089C54025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51" name="Google Shape;18117;p1604">
                  <a:extLst>
                    <a:ext uri="{FF2B5EF4-FFF2-40B4-BE49-F238E27FC236}">
                      <a16:creationId xmlns:a16="http://schemas.microsoft.com/office/drawing/2014/main" id="{6DC72939-C043-4A50-8C3E-A8CC622AFC1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38" name="Google Shape;18115;p1604">
                <a:extLst>
                  <a:ext uri="{FF2B5EF4-FFF2-40B4-BE49-F238E27FC236}">
                    <a16:creationId xmlns:a16="http://schemas.microsoft.com/office/drawing/2014/main" id="{CE50698B-3C89-419A-B28F-A1AEF139C820}"/>
                  </a:ext>
                </a:extLst>
              </p:cNvPr>
              <p:cNvGrpSpPr/>
              <p:nvPr/>
            </p:nvGrpSpPr>
            <p:grpSpPr>
              <a:xfrm>
                <a:off x="4754363" y="4548551"/>
                <a:ext cx="346511" cy="346515"/>
                <a:chOff x="1932810" y="1349835"/>
                <a:chExt cx="185335" cy="185337"/>
              </a:xfrm>
              <a:solidFill>
                <a:schemeClr val="tx2"/>
              </a:solidFill>
            </p:grpSpPr>
            <p:sp>
              <p:nvSpPr>
                <p:cNvPr id="848" name="Google Shape;18116;p1604">
                  <a:extLst>
                    <a:ext uri="{FF2B5EF4-FFF2-40B4-BE49-F238E27FC236}">
                      <a16:creationId xmlns:a16="http://schemas.microsoft.com/office/drawing/2014/main" id="{EB4ADA48-C3AA-4A2D-8B8A-167447AB28D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9" name="Google Shape;18117;p1604">
                  <a:extLst>
                    <a:ext uri="{FF2B5EF4-FFF2-40B4-BE49-F238E27FC236}">
                      <a16:creationId xmlns:a16="http://schemas.microsoft.com/office/drawing/2014/main" id="{9883F331-7807-4D9F-A74B-7983AABDE11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39" name="Google Shape;18115;p1604">
                <a:extLst>
                  <a:ext uri="{FF2B5EF4-FFF2-40B4-BE49-F238E27FC236}">
                    <a16:creationId xmlns:a16="http://schemas.microsoft.com/office/drawing/2014/main" id="{EC22D32B-82B4-4649-A5C9-05902A5346F6}"/>
                  </a:ext>
                </a:extLst>
              </p:cNvPr>
              <p:cNvGrpSpPr/>
              <p:nvPr/>
            </p:nvGrpSpPr>
            <p:grpSpPr>
              <a:xfrm>
                <a:off x="2644688" y="4493428"/>
                <a:ext cx="346511" cy="346515"/>
                <a:chOff x="1932810" y="1349835"/>
                <a:chExt cx="185335" cy="185337"/>
              </a:xfrm>
              <a:solidFill>
                <a:schemeClr val="tx2"/>
              </a:solidFill>
            </p:grpSpPr>
            <p:sp>
              <p:nvSpPr>
                <p:cNvPr id="846" name="Google Shape;18116;p1604">
                  <a:extLst>
                    <a:ext uri="{FF2B5EF4-FFF2-40B4-BE49-F238E27FC236}">
                      <a16:creationId xmlns:a16="http://schemas.microsoft.com/office/drawing/2014/main" id="{CD147802-10CF-4039-9313-9CFD86B0CA1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7" name="Google Shape;18117;p1604">
                  <a:extLst>
                    <a:ext uri="{FF2B5EF4-FFF2-40B4-BE49-F238E27FC236}">
                      <a16:creationId xmlns:a16="http://schemas.microsoft.com/office/drawing/2014/main" id="{F9E5D235-70F6-49E4-80FE-AC34C89821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0" name="Google Shape;18115;p1604">
                <a:extLst>
                  <a:ext uri="{FF2B5EF4-FFF2-40B4-BE49-F238E27FC236}">
                    <a16:creationId xmlns:a16="http://schemas.microsoft.com/office/drawing/2014/main" id="{11202DB5-DB83-4B3C-81B1-EBEF03E32B91}"/>
                  </a:ext>
                </a:extLst>
              </p:cNvPr>
              <p:cNvGrpSpPr/>
              <p:nvPr/>
            </p:nvGrpSpPr>
            <p:grpSpPr>
              <a:xfrm>
                <a:off x="4764085" y="3612568"/>
                <a:ext cx="346511" cy="346515"/>
                <a:chOff x="1932810" y="1349835"/>
                <a:chExt cx="185335" cy="185337"/>
              </a:xfrm>
              <a:solidFill>
                <a:schemeClr val="tx2"/>
              </a:solidFill>
            </p:grpSpPr>
            <p:sp>
              <p:nvSpPr>
                <p:cNvPr id="844" name="Google Shape;18116;p1604">
                  <a:extLst>
                    <a:ext uri="{FF2B5EF4-FFF2-40B4-BE49-F238E27FC236}">
                      <a16:creationId xmlns:a16="http://schemas.microsoft.com/office/drawing/2014/main" id="{7DA422E8-7E38-48B9-A8BF-8E027AB0998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5" name="Google Shape;18117;p1604">
                  <a:extLst>
                    <a:ext uri="{FF2B5EF4-FFF2-40B4-BE49-F238E27FC236}">
                      <a16:creationId xmlns:a16="http://schemas.microsoft.com/office/drawing/2014/main" id="{E60CEE0F-123F-43CE-AD67-6E1BD22285F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841" name="Google Shape;18115;p1604">
                <a:extLst>
                  <a:ext uri="{FF2B5EF4-FFF2-40B4-BE49-F238E27FC236}">
                    <a16:creationId xmlns:a16="http://schemas.microsoft.com/office/drawing/2014/main" id="{3E517643-B2B3-4AE1-9B40-D4954B659465}"/>
                  </a:ext>
                </a:extLst>
              </p:cNvPr>
              <p:cNvGrpSpPr/>
              <p:nvPr/>
            </p:nvGrpSpPr>
            <p:grpSpPr>
              <a:xfrm>
                <a:off x="3091300" y="2809102"/>
                <a:ext cx="346511" cy="346515"/>
                <a:chOff x="1932810" y="1349835"/>
                <a:chExt cx="185335" cy="185337"/>
              </a:xfrm>
              <a:solidFill>
                <a:schemeClr val="tx2"/>
              </a:solidFill>
            </p:grpSpPr>
            <p:sp>
              <p:nvSpPr>
                <p:cNvPr id="842" name="Google Shape;18116;p1604">
                  <a:extLst>
                    <a:ext uri="{FF2B5EF4-FFF2-40B4-BE49-F238E27FC236}">
                      <a16:creationId xmlns:a16="http://schemas.microsoft.com/office/drawing/2014/main" id="{78D82A62-CC44-4B86-BDB4-3D18135C983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843" name="Google Shape;18117;p1604">
                  <a:extLst>
                    <a:ext uri="{FF2B5EF4-FFF2-40B4-BE49-F238E27FC236}">
                      <a16:creationId xmlns:a16="http://schemas.microsoft.com/office/drawing/2014/main" id="{EA9E49E8-E1B2-4C00-8F46-8ABF840CD29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sp>
        <p:nvSpPr>
          <p:cNvPr id="830" name="Rectangle 829">
            <a:extLst>
              <a:ext uri="{FF2B5EF4-FFF2-40B4-BE49-F238E27FC236}">
                <a16:creationId xmlns:a16="http://schemas.microsoft.com/office/drawing/2014/main" id="{B3587A87-1911-4823-BBD2-D84389885B04}"/>
              </a:ext>
            </a:extLst>
          </p:cNvPr>
          <p:cNvSpPr/>
          <p:nvPr/>
        </p:nvSpPr>
        <p:spPr>
          <a:xfrm>
            <a:off x="7529959" y="3548860"/>
            <a:ext cx="681900" cy="31554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 PM</a:t>
            </a:r>
            <a:endParaRPr kumimoji="0" lang="en-US" sz="700" i="0" u="none" strike="noStrike" kern="1200" cap="none" spc="0" normalizeH="0" baseline="0" noProof="0" dirty="0">
              <a:ln>
                <a:noFill/>
              </a:ln>
              <a:solidFill>
                <a:srgbClr val="00148C"/>
              </a:solidFill>
              <a:effectLst/>
              <a:uLnTx/>
              <a:uFillTx/>
              <a:latin typeface="Arial"/>
              <a:ea typeface="+mn-ea"/>
              <a:cs typeface="Arial"/>
            </a:endParaRPr>
          </a:p>
        </p:txBody>
      </p:sp>
      <p:grpSp>
        <p:nvGrpSpPr>
          <p:cNvPr id="12" name="Group 11">
            <a:extLst>
              <a:ext uri="{FF2B5EF4-FFF2-40B4-BE49-F238E27FC236}">
                <a16:creationId xmlns:a16="http://schemas.microsoft.com/office/drawing/2014/main" id="{A72438E6-10E9-4544-854B-AFD4102109FE}"/>
              </a:ext>
            </a:extLst>
          </p:cNvPr>
          <p:cNvGrpSpPr/>
          <p:nvPr/>
        </p:nvGrpSpPr>
        <p:grpSpPr>
          <a:xfrm>
            <a:off x="10407324" y="3096169"/>
            <a:ext cx="1391264" cy="2080421"/>
            <a:chOff x="10407324" y="3096169"/>
            <a:chExt cx="1391264" cy="2080421"/>
          </a:xfrm>
        </p:grpSpPr>
        <p:grpSp>
          <p:nvGrpSpPr>
            <p:cNvPr id="9" name="Group 8">
              <a:extLst>
                <a:ext uri="{FF2B5EF4-FFF2-40B4-BE49-F238E27FC236}">
                  <a16:creationId xmlns:a16="http://schemas.microsoft.com/office/drawing/2014/main" id="{DDA017D3-190D-4936-9AAA-859357A38AD3}"/>
                </a:ext>
              </a:extLst>
            </p:cNvPr>
            <p:cNvGrpSpPr/>
            <p:nvPr/>
          </p:nvGrpSpPr>
          <p:grpSpPr>
            <a:xfrm>
              <a:off x="10407324" y="3096169"/>
              <a:ext cx="1391264" cy="2080421"/>
              <a:chOff x="10329601" y="3096169"/>
              <a:chExt cx="1468989" cy="2080421"/>
            </a:xfrm>
          </p:grpSpPr>
          <p:sp>
            <p:nvSpPr>
              <p:cNvPr id="1134" name="Rectangle 1133">
                <a:extLst>
                  <a:ext uri="{FF2B5EF4-FFF2-40B4-BE49-F238E27FC236}">
                    <a16:creationId xmlns:a16="http://schemas.microsoft.com/office/drawing/2014/main" id="{701472DD-1F99-4C33-BFE7-AB58F8BE0477}"/>
                  </a:ext>
                </a:extLst>
              </p:cNvPr>
              <p:cNvSpPr/>
              <p:nvPr/>
            </p:nvSpPr>
            <p:spPr>
              <a:xfrm>
                <a:off x="10334381" y="3096169"/>
                <a:ext cx="1463938" cy="2080421"/>
              </a:xfrm>
              <a:prstGeom prst="rect">
                <a:avLst/>
              </a:prstGeom>
              <a:solidFill>
                <a:srgbClr val="F2F2F2"/>
              </a:solidFill>
              <a:ln w="9906"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t" anchorCtr="0" forceAA="0" compatLnSpc="1">
                <a:prstTxWarp prst="textNoShape">
                  <a:avLst/>
                </a:prstTxWarp>
                <a:noAutofit/>
              </a:bodyPr>
              <a:lstStyle/>
              <a:p>
                <a:pPr algn="ctr"/>
                <a:r>
                  <a:rPr lang="en-US" sz="1144" b="1" dirty="0" err="1">
                    <a:solidFill>
                      <a:srgbClr val="55555A"/>
                    </a:solidFill>
                  </a:rPr>
                  <a:t>OMW</a:t>
                </a:r>
                <a:endParaRPr lang="en-US" sz="1144" b="1" dirty="0">
                  <a:solidFill>
                    <a:srgbClr val="55555A"/>
                  </a:solidFill>
                </a:endParaRPr>
              </a:p>
            </p:txBody>
          </p:sp>
          <p:grpSp>
            <p:nvGrpSpPr>
              <p:cNvPr id="5" name="Group 4">
                <a:extLst>
                  <a:ext uri="{FF2B5EF4-FFF2-40B4-BE49-F238E27FC236}">
                    <a16:creationId xmlns:a16="http://schemas.microsoft.com/office/drawing/2014/main" id="{9C9079D6-21B4-4F88-9D5B-E039653317D8}"/>
                  </a:ext>
                </a:extLst>
              </p:cNvPr>
              <p:cNvGrpSpPr/>
              <p:nvPr/>
            </p:nvGrpSpPr>
            <p:grpSpPr>
              <a:xfrm>
                <a:off x="10655053" y="4243526"/>
                <a:ext cx="862802" cy="880836"/>
                <a:chOff x="10521915" y="4330888"/>
                <a:chExt cx="862802" cy="880836"/>
              </a:xfrm>
            </p:grpSpPr>
            <p:grpSp>
              <p:nvGrpSpPr>
                <p:cNvPr id="1135" name="Group 1134">
                  <a:extLst>
                    <a:ext uri="{FF2B5EF4-FFF2-40B4-BE49-F238E27FC236}">
                      <a16:creationId xmlns:a16="http://schemas.microsoft.com/office/drawing/2014/main" id="{CB4A4B8A-E033-46ED-8390-7DD48D09A5C9}"/>
                    </a:ext>
                  </a:extLst>
                </p:cNvPr>
                <p:cNvGrpSpPr>
                  <a:grpSpLocks/>
                </p:cNvGrpSpPr>
                <p:nvPr/>
              </p:nvGrpSpPr>
              <p:grpSpPr>
                <a:xfrm>
                  <a:off x="10521915" y="4586091"/>
                  <a:ext cx="454032" cy="436509"/>
                  <a:chOff x="2511970" y="2806214"/>
                  <a:chExt cx="2598626" cy="2498332"/>
                </a:xfrm>
              </p:grpSpPr>
              <p:grpSp>
                <p:nvGrpSpPr>
                  <p:cNvPr id="1196" name="Google Shape;18115;p1604">
                    <a:extLst>
                      <a:ext uri="{FF2B5EF4-FFF2-40B4-BE49-F238E27FC236}">
                        <a16:creationId xmlns:a16="http://schemas.microsoft.com/office/drawing/2014/main" id="{241E5D28-C73E-434C-A944-30C65E247B5D}"/>
                      </a:ext>
                    </a:extLst>
                  </p:cNvPr>
                  <p:cNvGrpSpPr/>
                  <p:nvPr/>
                </p:nvGrpSpPr>
                <p:grpSpPr>
                  <a:xfrm>
                    <a:off x="4214405" y="2806214"/>
                    <a:ext cx="346511" cy="346515"/>
                    <a:chOff x="1932810" y="1349835"/>
                    <a:chExt cx="185335" cy="185337"/>
                  </a:xfrm>
                  <a:solidFill>
                    <a:schemeClr val="tx2"/>
                  </a:solidFill>
                </p:grpSpPr>
                <p:sp>
                  <p:nvSpPr>
                    <p:cNvPr id="1219" name="Google Shape;18116;p1604">
                      <a:extLst>
                        <a:ext uri="{FF2B5EF4-FFF2-40B4-BE49-F238E27FC236}">
                          <a16:creationId xmlns:a16="http://schemas.microsoft.com/office/drawing/2014/main" id="{73777E7C-F336-4D73-8434-C375C948E24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20" name="Google Shape;18117;p1604">
                      <a:extLst>
                        <a:ext uri="{FF2B5EF4-FFF2-40B4-BE49-F238E27FC236}">
                          <a16:creationId xmlns:a16="http://schemas.microsoft.com/office/drawing/2014/main" id="{0F836D27-CADD-486E-994F-755993FFC3C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197" name="Oval 1196">
                    <a:extLst>
                      <a:ext uri="{FF2B5EF4-FFF2-40B4-BE49-F238E27FC236}">
                        <a16:creationId xmlns:a16="http://schemas.microsoft.com/office/drawing/2014/main" id="{E693EF98-CED5-4AF1-B449-EB4817981D61}"/>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198" name="Google Shape;18115;p1604">
                    <a:extLst>
                      <a:ext uri="{FF2B5EF4-FFF2-40B4-BE49-F238E27FC236}">
                        <a16:creationId xmlns:a16="http://schemas.microsoft.com/office/drawing/2014/main" id="{98D4AF8F-1A51-4A4F-9436-6125437061DE}"/>
                      </a:ext>
                    </a:extLst>
                  </p:cNvPr>
                  <p:cNvGrpSpPr/>
                  <p:nvPr/>
                </p:nvGrpSpPr>
                <p:grpSpPr>
                  <a:xfrm>
                    <a:off x="4402332" y="4548551"/>
                    <a:ext cx="346511" cy="346515"/>
                    <a:chOff x="1932810" y="1349835"/>
                    <a:chExt cx="185335" cy="185337"/>
                  </a:xfrm>
                  <a:solidFill>
                    <a:schemeClr val="tx2"/>
                  </a:solidFill>
                </p:grpSpPr>
                <p:sp>
                  <p:nvSpPr>
                    <p:cNvPr id="1217" name="Google Shape;18116;p1604">
                      <a:extLst>
                        <a:ext uri="{FF2B5EF4-FFF2-40B4-BE49-F238E27FC236}">
                          <a16:creationId xmlns:a16="http://schemas.microsoft.com/office/drawing/2014/main" id="{2F4E3D93-5A47-4826-A262-790C8A3CB94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18" name="Google Shape;18117;p1604">
                      <a:extLst>
                        <a:ext uri="{FF2B5EF4-FFF2-40B4-BE49-F238E27FC236}">
                          <a16:creationId xmlns:a16="http://schemas.microsoft.com/office/drawing/2014/main" id="{0A60FD2D-00A2-47C4-B067-D6F21B3EA6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99" name="Google Shape;18115;p1604">
                    <a:extLst>
                      <a:ext uri="{FF2B5EF4-FFF2-40B4-BE49-F238E27FC236}">
                        <a16:creationId xmlns:a16="http://schemas.microsoft.com/office/drawing/2014/main" id="{224BE2CB-F678-499E-86F3-301A8D22DACE}"/>
                      </a:ext>
                    </a:extLst>
                  </p:cNvPr>
                  <p:cNvGrpSpPr/>
                  <p:nvPr/>
                </p:nvGrpSpPr>
                <p:grpSpPr>
                  <a:xfrm>
                    <a:off x="3578880" y="4958031"/>
                    <a:ext cx="346511" cy="346515"/>
                    <a:chOff x="1932810" y="1349835"/>
                    <a:chExt cx="185335" cy="185337"/>
                  </a:xfrm>
                  <a:solidFill>
                    <a:schemeClr val="tx2"/>
                  </a:solidFill>
                </p:grpSpPr>
                <p:sp>
                  <p:nvSpPr>
                    <p:cNvPr id="1215" name="Google Shape;18116;p1604">
                      <a:extLst>
                        <a:ext uri="{FF2B5EF4-FFF2-40B4-BE49-F238E27FC236}">
                          <a16:creationId xmlns:a16="http://schemas.microsoft.com/office/drawing/2014/main" id="{0682F5E9-A35C-4170-880A-BDFF96F3D5F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16" name="Google Shape;18117;p1604">
                      <a:extLst>
                        <a:ext uri="{FF2B5EF4-FFF2-40B4-BE49-F238E27FC236}">
                          <a16:creationId xmlns:a16="http://schemas.microsoft.com/office/drawing/2014/main" id="{C990E19B-75A2-4D20-8676-AA890A352CB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200" name="Google Shape;18115;p1604">
                    <a:extLst>
                      <a:ext uri="{FF2B5EF4-FFF2-40B4-BE49-F238E27FC236}">
                        <a16:creationId xmlns:a16="http://schemas.microsoft.com/office/drawing/2014/main" id="{EE70A9AA-ECF6-4B4A-BBC8-4437AF399767}"/>
                      </a:ext>
                    </a:extLst>
                  </p:cNvPr>
                  <p:cNvGrpSpPr/>
                  <p:nvPr/>
                </p:nvGrpSpPr>
                <p:grpSpPr>
                  <a:xfrm>
                    <a:off x="2511970" y="3644968"/>
                    <a:ext cx="346511" cy="346515"/>
                    <a:chOff x="1932810" y="1349835"/>
                    <a:chExt cx="185335" cy="185337"/>
                  </a:xfrm>
                  <a:solidFill>
                    <a:schemeClr val="tx2"/>
                  </a:solidFill>
                </p:grpSpPr>
                <p:sp>
                  <p:nvSpPr>
                    <p:cNvPr id="1213" name="Google Shape;18116;p1604">
                      <a:extLst>
                        <a:ext uri="{FF2B5EF4-FFF2-40B4-BE49-F238E27FC236}">
                          <a16:creationId xmlns:a16="http://schemas.microsoft.com/office/drawing/2014/main" id="{AC3340DD-E8E4-4EEB-BF51-819306413D6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14" name="Google Shape;18117;p1604">
                      <a:extLst>
                        <a:ext uri="{FF2B5EF4-FFF2-40B4-BE49-F238E27FC236}">
                          <a16:creationId xmlns:a16="http://schemas.microsoft.com/office/drawing/2014/main" id="{66533621-D748-453F-92CD-9FD447F739E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201" name="Google Shape;18115;p1604">
                    <a:extLst>
                      <a:ext uri="{FF2B5EF4-FFF2-40B4-BE49-F238E27FC236}">
                        <a16:creationId xmlns:a16="http://schemas.microsoft.com/office/drawing/2014/main" id="{A1CC257F-5653-4449-B2B7-9D482DEE7A00}"/>
                      </a:ext>
                    </a:extLst>
                  </p:cNvPr>
                  <p:cNvGrpSpPr/>
                  <p:nvPr/>
                </p:nvGrpSpPr>
                <p:grpSpPr>
                  <a:xfrm>
                    <a:off x="4754363" y="4548551"/>
                    <a:ext cx="346511" cy="346515"/>
                    <a:chOff x="1932810" y="1349835"/>
                    <a:chExt cx="185335" cy="185337"/>
                  </a:xfrm>
                  <a:solidFill>
                    <a:schemeClr val="tx2"/>
                  </a:solidFill>
                </p:grpSpPr>
                <p:sp>
                  <p:nvSpPr>
                    <p:cNvPr id="1211" name="Google Shape;18116;p1604">
                      <a:extLst>
                        <a:ext uri="{FF2B5EF4-FFF2-40B4-BE49-F238E27FC236}">
                          <a16:creationId xmlns:a16="http://schemas.microsoft.com/office/drawing/2014/main" id="{0432B28E-E744-4FEF-B046-BC37A4C79DA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12" name="Google Shape;18117;p1604">
                      <a:extLst>
                        <a:ext uri="{FF2B5EF4-FFF2-40B4-BE49-F238E27FC236}">
                          <a16:creationId xmlns:a16="http://schemas.microsoft.com/office/drawing/2014/main" id="{93222A31-4F5D-4F93-B525-22F78F6739F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202" name="Google Shape;18115;p1604">
                    <a:extLst>
                      <a:ext uri="{FF2B5EF4-FFF2-40B4-BE49-F238E27FC236}">
                        <a16:creationId xmlns:a16="http://schemas.microsoft.com/office/drawing/2014/main" id="{2E205898-34E6-4E59-9E62-73AF54A4354E}"/>
                      </a:ext>
                    </a:extLst>
                  </p:cNvPr>
                  <p:cNvGrpSpPr/>
                  <p:nvPr/>
                </p:nvGrpSpPr>
                <p:grpSpPr>
                  <a:xfrm>
                    <a:off x="2644688" y="4493428"/>
                    <a:ext cx="346511" cy="346515"/>
                    <a:chOff x="1932810" y="1349835"/>
                    <a:chExt cx="185335" cy="185337"/>
                  </a:xfrm>
                  <a:solidFill>
                    <a:schemeClr val="tx2"/>
                  </a:solidFill>
                </p:grpSpPr>
                <p:sp>
                  <p:nvSpPr>
                    <p:cNvPr id="1209" name="Google Shape;18116;p1604">
                      <a:extLst>
                        <a:ext uri="{FF2B5EF4-FFF2-40B4-BE49-F238E27FC236}">
                          <a16:creationId xmlns:a16="http://schemas.microsoft.com/office/drawing/2014/main" id="{4F7B3E5A-70E4-48BD-B4A3-1B63BC16EE2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10" name="Google Shape;18117;p1604">
                      <a:extLst>
                        <a:ext uri="{FF2B5EF4-FFF2-40B4-BE49-F238E27FC236}">
                          <a16:creationId xmlns:a16="http://schemas.microsoft.com/office/drawing/2014/main" id="{701930C8-8CDB-48DB-96B0-B04825AF8E7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203" name="Google Shape;18115;p1604">
                    <a:extLst>
                      <a:ext uri="{FF2B5EF4-FFF2-40B4-BE49-F238E27FC236}">
                        <a16:creationId xmlns:a16="http://schemas.microsoft.com/office/drawing/2014/main" id="{23CD47A9-FC1C-44EA-8BCC-EE4A4907AD9D}"/>
                      </a:ext>
                    </a:extLst>
                  </p:cNvPr>
                  <p:cNvGrpSpPr/>
                  <p:nvPr/>
                </p:nvGrpSpPr>
                <p:grpSpPr>
                  <a:xfrm>
                    <a:off x="4764085" y="3612568"/>
                    <a:ext cx="346511" cy="346515"/>
                    <a:chOff x="1932810" y="1349835"/>
                    <a:chExt cx="185335" cy="185337"/>
                  </a:xfrm>
                  <a:solidFill>
                    <a:schemeClr val="tx2"/>
                  </a:solidFill>
                </p:grpSpPr>
                <p:sp>
                  <p:nvSpPr>
                    <p:cNvPr id="1207" name="Google Shape;18116;p1604">
                      <a:extLst>
                        <a:ext uri="{FF2B5EF4-FFF2-40B4-BE49-F238E27FC236}">
                          <a16:creationId xmlns:a16="http://schemas.microsoft.com/office/drawing/2014/main" id="{C962E106-7807-4020-96F4-8D2D2238CA0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08" name="Google Shape;18117;p1604">
                      <a:extLst>
                        <a:ext uri="{FF2B5EF4-FFF2-40B4-BE49-F238E27FC236}">
                          <a16:creationId xmlns:a16="http://schemas.microsoft.com/office/drawing/2014/main" id="{10A1DECD-791B-4D4D-A653-52B72F4D1B9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204" name="Google Shape;18115;p1604">
                    <a:extLst>
                      <a:ext uri="{FF2B5EF4-FFF2-40B4-BE49-F238E27FC236}">
                        <a16:creationId xmlns:a16="http://schemas.microsoft.com/office/drawing/2014/main" id="{B6E2B134-B0FE-4EFB-81F3-85523D7A3B83}"/>
                      </a:ext>
                    </a:extLst>
                  </p:cNvPr>
                  <p:cNvGrpSpPr/>
                  <p:nvPr/>
                </p:nvGrpSpPr>
                <p:grpSpPr>
                  <a:xfrm>
                    <a:off x="3091300" y="2809102"/>
                    <a:ext cx="346511" cy="346515"/>
                    <a:chOff x="1932810" y="1349835"/>
                    <a:chExt cx="185335" cy="185337"/>
                  </a:xfrm>
                  <a:solidFill>
                    <a:schemeClr val="tx2"/>
                  </a:solidFill>
                </p:grpSpPr>
                <p:sp>
                  <p:nvSpPr>
                    <p:cNvPr id="1205" name="Google Shape;18116;p1604">
                      <a:extLst>
                        <a:ext uri="{FF2B5EF4-FFF2-40B4-BE49-F238E27FC236}">
                          <a16:creationId xmlns:a16="http://schemas.microsoft.com/office/drawing/2014/main" id="{D3662753-9E80-4FA8-87AF-35B06A8F345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206" name="Google Shape;18117;p1604">
                      <a:extLst>
                        <a:ext uri="{FF2B5EF4-FFF2-40B4-BE49-F238E27FC236}">
                          <a16:creationId xmlns:a16="http://schemas.microsoft.com/office/drawing/2014/main" id="{FC3397DD-7A64-46F0-91BE-A824CE9101B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136" name="Group 1135">
                  <a:extLst>
                    <a:ext uri="{FF2B5EF4-FFF2-40B4-BE49-F238E27FC236}">
                      <a16:creationId xmlns:a16="http://schemas.microsoft.com/office/drawing/2014/main" id="{1DFF1711-6EA6-4BC5-9815-FB250CB47E6F}"/>
                    </a:ext>
                  </a:extLst>
                </p:cNvPr>
                <p:cNvGrpSpPr>
                  <a:grpSpLocks/>
                </p:cNvGrpSpPr>
                <p:nvPr/>
              </p:nvGrpSpPr>
              <p:grpSpPr>
                <a:xfrm>
                  <a:off x="10930685" y="4330888"/>
                  <a:ext cx="454032" cy="436509"/>
                  <a:chOff x="2511970" y="2806214"/>
                  <a:chExt cx="2598626" cy="2498332"/>
                </a:xfrm>
              </p:grpSpPr>
              <p:grpSp>
                <p:nvGrpSpPr>
                  <p:cNvPr id="1171" name="Google Shape;18115;p1604">
                    <a:extLst>
                      <a:ext uri="{FF2B5EF4-FFF2-40B4-BE49-F238E27FC236}">
                        <a16:creationId xmlns:a16="http://schemas.microsoft.com/office/drawing/2014/main" id="{31C89B16-0C14-4160-A66D-23CAAD4CA25A}"/>
                      </a:ext>
                    </a:extLst>
                  </p:cNvPr>
                  <p:cNvGrpSpPr/>
                  <p:nvPr/>
                </p:nvGrpSpPr>
                <p:grpSpPr>
                  <a:xfrm>
                    <a:off x="4214405" y="2806214"/>
                    <a:ext cx="346511" cy="346515"/>
                    <a:chOff x="1932810" y="1349835"/>
                    <a:chExt cx="185335" cy="185337"/>
                  </a:xfrm>
                  <a:solidFill>
                    <a:schemeClr val="tx2"/>
                  </a:solidFill>
                </p:grpSpPr>
                <p:sp>
                  <p:nvSpPr>
                    <p:cNvPr id="1194" name="Google Shape;18116;p1604">
                      <a:extLst>
                        <a:ext uri="{FF2B5EF4-FFF2-40B4-BE49-F238E27FC236}">
                          <a16:creationId xmlns:a16="http://schemas.microsoft.com/office/drawing/2014/main" id="{C510E182-EB89-4D78-AAAB-EB7FE4E4EF1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95" name="Google Shape;18117;p1604">
                      <a:extLst>
                        <a:ext uri="{FF2B5EF4-FFF2-40B4-BE49-F238E27FC236}">
                          <a16:creationId xmlns:a16="http://schemas.microsoft.com/office/drawing/2014/main" id="{ECE60895-FAA2-457C-9A67-71016E09700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172" name="Oval 1171">
                    <a:extLst>
                      <a:ext uri="{FF2B5EF4-FFF2-40B4-BE49-F238E27FC236}">
                        <a16:creationId xmlns:a16="http://schemas.microsoft.com/office/drawing/2014/main" id="{9F8BBB57-ECB6-4708-95B6-A46504FE853F}"/>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173" name="Google Shape;18115;p1604">
                    <a:extLst>
                      <a:ext uri="{FF2B5EF4-FFF2-40B4-BE49-F238E27FC236}">
                        <a16:creationId xmlns:a16="http://schemas.microsoft.com/office/drawing/2014/main" id="{6C1DDED5-9950-4A3B-B219-96B509F7AD43}"/>
                      </a:ext>
                    </a:extLst>
                  </p:cNvPr>
                  <p:cNvGrpSpPr/>
                  <p:nvPr/>
                </p:nvGrpSpPr>
                <p:grpSpPr>
                  <a:xfrm>
                    <a:off x="4402332" y="4548551"/>
                    <a:ext cx="346511" cy="346515"/>
                    <a:chOff x="1932810" y="1349835"/>
                    <a:chExt cx="185335" cy="185337"/>
                  </a:xfrm>
                  <a:solidFill>
                    <a:schemeClr val="tx2"/>
                  </a:solidFill>
                </p:grpSpPr>
                <p:sp>
                  <p:nvSpPr>
                    <p:cNvPr id="1192" name="Google Shape;18116;p1604">
                      <a:extLst>
                        <a:ext uri="{FF2B5EF4-FFF2-40B4-BE49-F238E27FC236}">
                          <a16:creationId xmlns:a16="http://schemas.microsoft.com/office/drawing/2014/main" id="{F12D732D-85D1-4ED8-AA77-0379636331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93" name="Google Shape;18117;p1604">
                      <a:extLst>
                        <a:ext uri="{FF2B5EF4-FFF2-40B4-BE49-F238E27FC236}">
                          <a16:creationId xmlns:a16="http://schemas.microsoft.com/office/drawing/2014/main" id="{38645E66-68DD-4253-ACDC-B7E4E5C1D8C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74" name="Google Shape;18115;p1604">
                    <a:extLst>
                      <a:ext uri="{FF2B5EF4-FFF2-40B4-BE49-F238E27FC236}">
                        <a16:creationId xmlns:a16="http://schemas.microsoft.com/office/drawing/2014/main" id="{3EF4233D-EF17-492D-86F2-87F5CB02BD89}"/>
                      </a:ext>
                    </a:extLst>
                  </p:cNvPr>
                  <p:cNvGrpSpPr/>
                  <p:nvPr/>
                </p:nvGrpSpPr>
                <p:grpSpPr>
                  <a:xfrm>
                    <a:off x="3578880" y="4958031"/>
                    <a:ext cx="346511" cy="346515"/>
                    <a:chOff x="1932810" y="1349835"/>
                    <a:chExt cx="185335" cy="185337"/>
                  </a:xfrm>
                  <a:solidFill>
                    <a:schemeClr val="tx2"/>
                  </a:solidFill>
                </p:grpSpPr>
                <p:sp>
                  <p:nvSpPr>
                    <p:cNvPr id="1190" name="Google Shape;18116;p1604">
                      <a:extLst>
                        <a:ext uri="{FF2B5EF4-FFF2-40B4-BE49-F238E27FC236}">
                          <a16:creationId xmlns:a16="http://schemas.microsoft.com/office/drawing/2014/main" id="{AF1571FB-11E6-4164-A1D5-BB1CC637CA1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91" name="Google Shape;18117;p1604">
                      <a:extLst>
                        <a:ext uri="{FF2B5EF4-FFF2-40B4-BE49-F238E27FC236}">
                          <a16:creationId xmlns:a16="http://schemas.microsoft.com/office/drawing/2014/main" id="{811EC554-50C4-4CAF-B7CA-3E002BC7B7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75" name="Google Shape;18115;p1604">
                    <a:extLst>
                      <a:ext uri="{FF2B5EF4-FFF2-40B4-BE49-F238E27FC236}">
                        <a16:creationId xmlns:a16="http://schemas.microsoft.com/office/drawing/2014/main" id="{92D54AC9-2BF5-48CB-ABBB-68B2E7BF4EF2}"/>
                      </a:ext>
                    </a:extLst>
                  </p:cNvPr>
                  <p:cNvGrpSpPr/>
                  <p:nvPr/>
                </p:nvGrpSpPr>
                <p:grpSpPr>
                  <a:xfrm>
                    <a:off x="2511970" y="3644968"/>
                    <a:ext cx="346511" cy="346515"/>
                    <a:chOff x="1932810" y="1349835"/>
                    <a:chExt cx="185335" cy="185337"/>
                  </a:xfrm>
                  <a:solidFill>
                    <a:schemeClr val="tx2"/>
                  </a:solidFill>
                </p:grpSpPr>
                <p:sp>
                  <p:nvSpPr>
                    <p:cNvPr id="1188" name="Google Shape;18116;p1604">
                      <a:extLst>
                        <a:ext uri="{FF2B5EF4-FFF2-40B4-BE49-F238E27FC236}">
                          <a16:creationId xmlns:a16="http://schemas.microsoft.com/office/drawing/2014/main" id="{D362D38E-DFF5-4F38-B8E4-10FF9EC3469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89" name="Google Shape;18117;p1604">
                      <a:extLst>
                        <a:ext uri="{FF2B5EF4-FFF2-40B4-BE49-F238E27FC236}">
                          <a16:creationId xmlns:a16="http://schemas.microsoft.com/office/drawing/2014/main" id="{B36C498B-C301-49CB-AAE1-5A37A340E6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76" name="Google Shape;18115;p1604">
                    <a:extLst>
                      <a:ext uri="{FF2B5EF4-FFF2-40B4-BE49-F238E27FC236}">
                        <a16:creationId xmlns:a16="http://schemas.microsoft.com/office/drawing/2014/main" id="{37057723-F194-4913-AFE3-B2CB89335BCB}"/>
                      </a:ext>
                    </a:extLst>
                  </p:cNvPr>
                  <p:cNvGrpSpPr/>
                  <p:nvPr/>
                </p:nvGrpSpPr>
                <p:grpSpPr>
                  <a:xfrm>
                    <a:off x="4754363" y="4548551"/>
                    <a:ext cx="346511" cy="346515"/>
                    <a:chOff x="1932810" y="1349835"/>
                    <a:chExt cx="185335" cy="185337"/>
                  </a:xfrm>
                  <a:solidFill>
                    <a:schemeClr val="tx2"/>
                  </a:solidFill>
                </p:grpSpPr>
                <p:sp>
                  <p:nvSpPr>
                    <p:cNvPr id="1186" name="Google Shape;18116;p1604">
                      <a:extLst>
                        <a:ext uri="{FF2B5EF4-FFF2-40B4-BE49-F238E27FC236}">
                          <a16:creationId xmlns:a16="http://schemas.microsoft.com/office/drawing/2014/main" id="{4C7C0579-5CBE-4E0F-B8CE-4C19CB4C3B8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87" name="Google Shape;18117;p1604">
                      <a:extLst>
                        <a:ext uri="{FF2B5EF4-FFF2-40B4-BE49-F238E27FC236}">
                          <a16:creationId xmlns:a16="http://schemas.microsoft.com/office/drawing/2014/main" id="{E6B540D2-C060-4468-B01C-DDB85B0073F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77" name="Google Shape;18115;p1604">
                    <a:extLst>
                      <a:ext uri="{FF2B5EF4-FFF2-40B4-BE49-F238E27FC236}">
                        <a16:creationId xmlns:a16="http://schemas.microsoft.com/office/drawing/2014/main" id="{B110F001-493F-45D8-84A4-63D89DA371A5}"/>
                      </a:ext>
                    </a:extLst>
                  </p:cNvPr>
                  <p:cNvGrpSpPr/>
                  <p:nvPr/>
                </p:nvGrpSpPr>
                <p:grpSpPr>
                  <a:xfrm>
                    <a:off x="2644688" y="4493428"/>
                    <a:ext cx="346511" cy="346515"/>
                    <a:chOff x="1932810" y="1349835"/>
                    <a:chExt cx="185335" cy="185337"/>
                  </a:xfrm>
                  <a:solidFill>
                    <a:schemeClr val="tx2"/>
                  </a:solidFill>
                </p:grpSpPr>
                <p:sp>
                  <p:nvSpPr>
                    <p:cNvPr id="1184" name="Google Shape;18116;p1604">
                      <a:extLst>
                        <a:ext uri="{FF2B5EF4-FFF2-40B4-BE49-F238E27FC236}">
                          <a16:creationId xmlns:a16="http://schemas.microsoft.com/office/drawing/2014/main" id="{523821B9-842C-4EAC-8E3A-B90C4189D20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85" name="Google Shape;18117;p1604">
                      <a:extLst>
                        <a:ext uri="{FF2B5EF4-FFF2-40B4-BE49-F238E27FC236}">
                          <a16:creationId xmlns:a16="http://schemas.microsoft.com/office/drawing/2014/main" id="{FA6B2D19-28F1-473D-A562-006B529DC87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78" name="Google Shape;18115;p1604">
                    <a:extLst>
                      <a:ext uri="{FF2B5EF4-FFF2-40B4-BE49-F238E27FC236}">
                        <a16:creationId xmlns:a16="http://schemas.microsoft.com/office/drawing/2014/main" id="{E796B5D2-4694-411C-8EC6-ADAC6FED1775}"/>
                      </a:ext>
                    </a:extLst>
                  </p:cNvPr>
                  <p:cNvGrpSpPr/>
                  <p:nvPr/>
                </p:nvGrpSpPr>
                <p:grpSpPr>
                  <a:xfrm>
                    <a:off x="4764085" y="3612568"/>
                    <a:ext cx="346511" cy="346515"/>
                    <a:chOff x="1932810" y="1349835"/>
                    <a:chExt cx="185335" cy="185337"/>
                  </a:xfrm>
                  <a:solidFill>
                    <a:schemeClr val="tx2"/>
                  </a:solidFill>
                </p:grpSpPr>
                <p:sp>
                  <p:nvSpPr>
                    <p:cNvPr id="1182" name="Google Shape;18116;p1604">
                      <a:extLst>
                        <a:ext uri="{FF2B5EF4-FFF2-40B4-BE49-F238E27FC236}">
                          <a16:creationId xmlns:a16="http://schemas.microsoft.com/office/drawing/2014/main" id="{C5648E6E-C3FD-4825-90FF-8AD19A949EE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83" name="Google Shape;18117;p1604">
                      <a:extLst>
                        <a:ext uri="{FF2B5EF4-FFF2-40B4-BE49-F238E27FC236}">
                          <a16:creationId xmlns:a16="http://schemas.microsoft.com/office/drawing/2014/main" id="{C1AB342D-BE05-4DE9-A20C-4B0A153725D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79" name="Google Shape;18115;p1604">
                    <a:extLst>
                      <a:ext uri="{FF2B5EF4-FFF2-40B4-BE49-F238E27FC236}">
                        <a16:creationId xmlns:a16="http://schemas.microsoft.com/office/drawing/2014/main" id="{7DC97D59-19FA-410F-869F-CF5DFA4BF321}"/>
                      </a:ext>
                    </a:extLst>
                  </p:cNvPr>
                  <p:cNvGrpSpPr/>
                  <p:nvPr/>
                </p:nvGrpSpPr>
                <p:grpSpPr>
                  <a:xfrm>
                    <a:off x="3091300" y="2809102"/>
                    <a:ext cx="346511" cy="346515"/>
                    <a:chOff x="1932810" y="1349835"/>
                    <a:chExt cx="185335" cy="185337"/>
                  </a:xfrm>
                  <a:solidFill>
                    <a:schemeClr val="tx2"/>
                  </a:solidFill>
                </p:grpSpPr>
                <p:sp>
                  <p:nvSpPr>
                    <p:cNvPr id="1180" name="Google Shape;18116;p1604">
                      <a:extLst>
                        <a:ext uri="{FF2B5EF4-FFF2-40B4-BE49-F238E27FC236}">
                          <a16:creationId xmlns:a16="http://schemas.microsoft.com/office/drawing/2014/main" id="{26A0CC7F-3331-4103-B791-153E44DD6E0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81" name="Google Shape;18117;p1604">
                      <a:extLst>
                        <a:ext uri="{FF2B5EF4-FFF2-40B4-BE49-F238E27FC236}">
                          <a16:creationId xmlns:a16="http://schemas.microsoft.com/office/drawing/2014/main" id="{3F5CE820-4956-4163-951E-56ABC994DDA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137" name="Group 1136">
                  <a:extLst>
                    <a:ext uri="{FF2B5EF4-FFF2-40B4-BE49-F238E27FC236}">
                      <a16:creationId xmlns:a16="http://schemas.microsoft.com/office/drawing/2014/main" id="{8E7B08C4-084E-4F79-A801-82D32D51567D}"/>
                    </a:ext>
                  </a:extLst>
                </p:cNvPr>
                <p:cNvGrpSpPr>
                  <a:grpSpLocks/>
                </p:cNvGrpSpPr>
                <p:nvPr/>
              </p:nvGrpSpPr>
              <p:grpSpPr>
                <a:xfrm>
                  <a:off x="10930685" y="4775215"/>
                  <a:ext cx="454032" cy="436509"/>
                  <a:chOff x="2511970" y="2806214"/>
                  <a:chExt cx="2598626" cy="2498332"/>
                </a:xfrm>
              </p:grpSpPr>
              <p:grpSp>
                <p:nvGrpSpPr>
                  <p:cNvPr id="1146" name="Google Shape;18115;p1604">
                    <a:extLst>
                      <a:ext uri="{FF2B5EF4-FFF2-40B4-BE49-F238E27FC236}">
                        <a16:creationId xmlns:a16="http://schemas.microsoft.com/office/drawing/2014/main" id="{A4B67217-960A-4018-8A2D-D07B494D569A}"/>
                      </a:ext>
                    </a:extLst>
                  </p:cNvPr>
                  <p:cNvGrpSpPr/>
                  <p:nvPr/>
                </p:nvGrpSpPr>
                <p:grpSpPr>
                  <a:xfrm>
                    <a:off x="4214405" y="2806214"/>
                    <a:ext cx="346511" cy="346515"/>
                    <a:chOff x="1932810" y="1349835"/>
                    <a:chExt cx="185335" cy="185337"/>
                  </a:xfrm>
                  <a:solidFill>
                    <a:schemeClr val="tx2"/>
                  </a:solidFill>
                </p:grpSpPr>
                <p:sp>
                  <p:nvSpPr>
                    <p:cNvPr id="1169" name="Google Shape;18116;p1604">
                      <a:extLst>
                        <a:ext uri="{FF2B5EF4-FFF2-40B4-BE49-F238E27FC236}">
                          <a16:creationId xmlns:a16="http://schemas.microsoft.com/office/drawing/2014/main" id="{32C875BE-637C-42C6-84D1-849337D0DF8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70" name="Google Shape;18117;p1604">
                      <a:extLst>
                        <a:ext uri="{FF2B5EF4-FFF2-40B4-BE49-F238E27FC236}">
                          <a16:creationId xmlns:a16="http://schemas.microsoft.com/office/drawing/2014/main" id="{1FD48E01-A54C-4C59-A163-84798436873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147" name="Oval 1146">
                    <a:extLst>
                      <a:ext uri="{FF2B5EF4-FFF2-40B4-BE49-F238E27FC236}">
                        <a16:creationId xmlns:a16="http://schemas.microsoft.com/office/drawing/2014/main" id="{ACE3644A-5C6F-4423-ACCD-2C481539D534}"/>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148" name="Google Shape;18115;p1604">
                    <a:extLst>
                      <a:ext uri="{FF2B5EF4-FFF2-40B4-BE49-F238E27FC236}">
                        <a16:creationId xmlns:a16="http://schemas.microsoft.com/office/drawing/2014/main" id="{5652344A-C205-4591-BA6A-2B7B94FB9827}"/>
                      </a:ext>
                    </a:extLst>
                  </p:cNvPr>
                  <p:cNvGrpSpPr/>
                  <p:nvPr/>
                </p:nvGrpSpPr>
                <p:grpSpPr>
                  <a:xfrm>
                    <a:off x="4402332" y="4548551"/>
                    <a:ext cx="346511" cy="346515"/>
                    <a:chOff x="1932810" y="1349835"/>
                    <a:chExt cx="185335" cy="185337"/>
                  </a:xfrm>
                  <a:solidFill>
                    <a:schemeClr val="tx2"/>
                  </a:solidFill>
                </p:grpSpPr>
                <p:sp>
                  <p:nvSpPr>
                    <p:cNvPr id="1167" name="Google Shape;18116;p1604">
                      <a:extLst>
                        <a:ext uri="{FF2B5EF4-FFF2-40B4-BE49-F238E27FC236}">
                          <a16:creationId xmlns:a16="http://schemas.microsoft.com/office/drawing/2014/main" id="{DB8FB089-C394-4CD5-9906-A61C6202A4A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8" name="Google Shape;18117;p1604">
                      <a:extLst>
                        <a:ext uri="{FF2B5EF4-FFF2-40B4-BE49-F238E27FC236}">
                          <a16:creationId xmlns:a16="http://schemas.microsoft.com/office/drawing/2014/main" id="{7E1F47B8-9269-47F7-BCCD-9C67D89B63B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49" name="Google Shape;18115;p1604">
                    <a:extLst>
                      <a:ext uri="{FF2B5EF4-FFF2-40B4-BE49-F238E27FC236}">
                        <a16:creationId xmlns:a16="http://schemas.microsoft.com/office/drawing/2014/main" id="{E2C5726D-2730-478F-BCB8-C7757BFBB966}"/>
                      </a:ext>
                    </a:extLst>
                  </p:cNvPr>
                  <p:cNvGrpSpPr/>
                  <p:nvPr/>
                </p:nvGrpSpPr>
                <p:grpSpPr>
                  <a:xfrm>
                    <a:off x="3578880" y="4958031"/>
                    <a:ext cx="346511" cy="346515"/>
                    <a:chOff x="1932810" y="1349835"/>
                    <a:chExt cx="185335" cy="185337"/>
                  </a:xfrm>
                  <a:solidFill>
                    <a:schemeClr val="tx2"/>
                  </a:solidFill>
                </p:grpSpPr>
                <p:sp>
                  <p:nvSpPr>
                    <p:cNvPr id="1165" name="Google Shape;18116;p1604">
                      <a:extLst>
                        <a:ext uri="{FF2B5EF4-FFF2-40B4-BE49-F238E27FC236}">
                          <a16:creationId xmlns:a16="http://schemas.microsoft.com/office/drawing/2014/main" id="{90D64526-BAE0-4A75-B423-C1585CB7520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6" name="Google Shape;18117;p1604">
                      <a:extLst>
                        <a:ext uri="{FF2B5EF4-FFF2-40B4-BE49-F238E27FC236}">
                          <a16:creationId xmlns:a16="http://schemas.microsoft.com/office/drawing/2014/main" id="{9837C9D9-3F27-474D-8D4D-CEE665F79B5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0" name="Google Shape;18115;p1604">
                    <a:extLst>
                      <a:ext uri="{FF2B5EF4-FFF2-40B4-BE49-F238E27FC236}">
                        <a16:creationId xmlns:a16="http://schemas.microsoft.com/office/drawing/2014/main" id="{CDCFB75B-B50D-4AD1-841B-B3308EAFF9BE}"/>
                      </a:ext>
                    </a:extLst>
                  </p:cNvPr>
                  <p:cNvGrpSpPr/>
                  <p:nvPr/>
                </p:nvGrpSpPr>
                <p:grpSpPr>
                  <a:xfrm>
                    <a:off x="2511970" y="3644968"/>
                    <a:ext cx="346511" cy="346515"/>
                    <a:chOff x="1932810" y="1349835"/>
                    <a:chExt cx="185335" cy="185337"/>
                  </a:xfrm>
                  <a:solidFill>
                    <a:schemeClr val="tx2"/>
                  </a:solidFill>
                </p:grpSpPr>
                <p:sp>
                  <p:nvSpPr>
                    <p:cNvPr id="1163" name="Google Shape;18116;p1604">
                      <a:extLst>
                        <a:ext uri="{FF2B5EF4-FFF2-40B4-BE49-F238E27FC236}">
                          <a16:creationId xmlns:a16="http://schemas.microsoft.com/office/drawing/2014/main" id="{D7167276-E870-4218-8470-6808070FA61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4" name="Google Shape;18117;p1604">
                      <a:extLst>
                        <a:ext uri="{FF2B5EF4-FFF2-40B4-BE49-F238E27FC236}">
                          <a16:creationId xmlns:a16="http://schemas.microsoft.com/office/drawing/2014/main" id="{0E76DCC0-B571-481F-941C-2A914D15EE4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1" name="Google Shape;18115;p1604">
                    <a:extLst>
                      <a:ext uri="{FF2B5EF4-FFF2-40B4-BE49-F238E27FC236}">
                        <a16:creationId xmlns:a16="http://schemas.microsoft.com/office/drawing/2014/main" id="{0843836C-FE8E-40A8-AD2C-8D389E08CA54}"/>
                      </a:ext>
                    </a:extLst>
                  </p:cNvPr>
                  <p:cNvGrpSpPr/>
                  <p:nvPr/>
                </p:nvGrpSpPr>
                <p:grpSpPr>
                  <a:xfrm>
                    <a:off x="4754363" y="4548551"/>
                    <a:ext cx="346511" cy="346515"/>
                    <a:chOff x="1932810" y="1349835"/>
                    <a:chExt cx="185335" cy="185337"/>
                  </a:xfrm>
                  <a:solidFill>
                    <a:schemeClr val="tx2"/>
                  </a:solidFill>
                </p:grpSpPr>
                <p:sp>
                  <p:nvSpPr>
                    <p:cNvPr id="1161" name="Google Shape;18116;p1604">
                      <a:extLst>
                        <a:ext uri="{FF2B5EF4-FFF2-40B4-BE49-F238E27FC236}">
                          <a16:creationId xmlns:a16="http://schemas.microsoft.com/office/drawing/2014/main" id="{F37BECF1-59CB-4625-B4BD-87A4C24125B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2" name="Google Shape;18117;p1604">
                      <a:extLst>
                        <a:ext uri="{FF2B5EF4-FFF2-40B4-BE49-F238E27FC236}">
                          <a16:creationId xmlns:a16="http://schemas.microsoft.com/office/drawing/2014/main" id="{BBFCFF6B-2CA5-497E-93E9-22DDD043375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2" name="Google Shape;18115;p1604">
                    <a:extLst>
                      <a:ext uri="{FF2B5EF4-FFF2-40B4-BE49-F238E27FC236}">
                        <a16:creationId xmlns:a16="http://schemas.microsoft.com/office/drawing/2014/main" id="{948C8FD0-4B1C-4DF4-92B3-0FE84955E061}"/>
                      </a:ext>
                    </a:extLst>
                  </p:cNvPr>
                  <p:cNvGrpSpPr/>
                  <p:nvPr/>
                </p:nvGrpSpPr>
                <p:grpSpPr>
                  <a:xfrm>
                    <a:off x="2644688" y="4493428"/>
                    <a:ext cx="346511" cy="346515"/>
                    <a:chOff x="1932810" y="1349835"/>
                    <a:chExt cx="185335" cy="185337"/>
                  </a:xfrm>
                  <a:solidFill>
                    <a:schemeClr val="tx2"/>
                  </a:solidFill>
                </p:grpSpPr>
                <p:sp>
                  <p:nvSpPr>
                    <p:cNvPr id="1159" name="Google Shape;18116;p1604">
                      <a:extLst>
                        <a:ext uri="{FF2B5EF4-FFF2-40B4-BE49-F238E27FC236}">
                          <a16:creationId xmlns:a16="http://schemas.microsoft.com/office/drawing/2014/main" id="{8569A754-2FFD-44E1-8F7A-B35C189A1EE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60" name="Google Shape;18117;p1604">
                      <a:extLst>
                        <a:ext uri="{FF2B5EF4-FFF2-40B4-BE49-F238E27FC236}">
                          <a16:creationId xmlns:a16="http://schemas.microsoft.com/office/drawing/2014/main" id="{C12D69BD-438D-4ADA-9E1E-B3E6FC590A8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3" name="Google Shape;18115;p1604">
                    <a:extLst>
                      <a:ext uri="{FF2B5EF4-FFF2-40B4-BE49-F238E27FC236}">
                        <a16:creationId xmlns:a16="http://schemas.microsoft.com/office/drawing/2014/main" id="{D6BD4E65-CBA1-487C-BE6E-49AB0298E9A1}"/>
                      </a:ext>
                    </a:extLst>
                  </p:cNvPr>
                  <p:cNvGrpSpPr/>
                  <p:nvPr/>
                </p:nvGrpSpPr>
                <p:grpSpPr>
                  <a:xfrm>
                    <a:off x="4764085" y="3612568"/>
                    <a:ext cx="346511" cy="346515"/>
                    <a:chOff x="1932810" y="1349835"/>
                    <a:chExt cx="185335" cy="185337"/>
                  </a:xfrm>
                  <a:solidFill>
                    <a:schemeClr val="tx2"/>
                  </a:solidFill>
                </p:grpSpPr>
                <p:sp>
                  <p:nvSpPr>
                    <p:cNvPr id="1157" name="Google Shape;18116;p1604">
                      <a:extLst>
                        <a:ext uri="{FF2B5EF4-FFF2-40B4-BE49-F238E27FC236}">
                          <a16:creationId xmlns:a16="http://schemas.microsoft.com/office/drawing/2014/main" id="{EDF655A7-C5CD-42F1-B2C3-F7D932D5EFF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58" name="Google Shape;18117;p1604">
                      <a:extLst>
                        <a:ext uri="{FF2B5EF4-FFF2-40B4-BE49-F238E27FC236}">
                          <a16:creationId xmlns:a16="http://schemas.microsoft.com/office/drawing/2014/main" id="{4AE963DE-02C5-4B10-B67A-2278FE47ACE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154" name="Google Shape;18115;p1604">
                    <a:extLst>
                      <a:ext uri="{FF2B5EF4-FFF2-40B4-BE49-F238E27FC236}">
                        <a16:creationId xmlns:a16="http://schemas.microsoft.com/office/drawing/2014/main" id="{BBCD7193-B54C-4B01-ADB1-79CB627F939D}"/>
                      </a:ext>
                    </a:extLst>
                  </p:cNvPr>
                  <p:cNvGrpSpPr/>
                  <p:nvPr/>
                </p:nvGrpSpPr>
                <p:grpSpPr>
                  <a:xfrm>
                    <a:off x="3091300" y="2809102"/>
                    <a:ext cx="346511" cy="346515"/>
                    <a:chOff x="1932810" y="1349835"/>
                    <a:chExt cx="185335" cy="185337"/>
                  </a:xfrm>
                  <a:solidFill>
                    <a:schemeClr val="tx2"/>
                  </a:solidFill>
                </p:grpSpPr>
                <p:sp>
                  <p:nvSpPr>
                    <p:cNvPr id="1155" name="Google Shape;18116;p1604">
                      <a:extLst>
                        <a:ext uri="{FF2B5EF4-FFF2-40B4-BE49-F238E27FC236}">
                          <a16:creationId xmlns:a16="http://schemas.microsoft.com/office/drawing/2014/main" id="{B7AE9CD8-E075-413C-82DF-317CBEEB5E7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156" name="Google Shape;18117;p1604">
                      <a:extLst>
                        <a:ext uri="{FF2B5EF4-FFF2-40B4-BE49-F238E27FC236}">
                          <a16:creationId xmlns:a16="http://schemas.microsoft.com/office/drawing/2014/main" id="{A2974741-3580-4E74-94E2-EBB517BA37E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sp>
            <p:nvSpPr>
              <p:cNvPr id="1140" name="Rectangle 1139">
                <a:extLst>
                  <a:ext uri="{FF2B5EF4-FFF2-40B4-BE49-F238E27FC236}">
                    <a16:creationId xmlns:a16="http://schemas.microsoft.com/office/drawing/2014/main" id="{79511F4A-9221-4006-BF15-3B4BC7780D50}"/>
                  </a:ext>
                </a:extLst>
              </p:cNvPr>
              <p:cNvSpPr/>
              <p:nvPr/>
            </p:nvSpPr>
            <p:spPr>
              <a:xfrm>
                <a:off x="11186662" y="3479402"/>
                <a:ext cx="611928" cy="29523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5098" tIns="47549" rIns="95098" bIns="47549"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 PM</a:t>
                </a:r>
              </a:p>
              <a:p>
                <a:pPr marR="0" lvl="0" algn="ctr" defTabSz="914400" rtl="0" eaLnBrk="1" fontAlgn="auto" latinLnBrk="0" hangingPunct="1">
                  <a:lnSpc>
                    <a:spcPct val="100000"/>
                  </a:lnSpc>
                  <a:spcBef>
                    <a:spcPts val="0"/>
                  </a:spcBef>
                  <a:spcAft>
                    <a:spcPts val="0"/>
                  </a:spcAft>
                  <a:buClrTx/>
                  <a:buSzTx/>
                  <a:buFontTx/>
                  <a:buNone/>
                  <a:tabLst/>
                  <a:defRPr/>
                </a:pPr>
                <a:r>
                  <a:rPr lang="en-US" sz="700" dirty="0">
                    <a:solidFill>
                      <a:srgbClr val="00148C"/>
                    </a:solidFill>
                    <a:latin typeface="Arial"/>
                    <a:cs typeface="Arial"/>
                  </a:rPr>
                  <a:t>(Chris </a:t>
                </a:r>
                <a:r>
                  <a:rPr lang="en-US" sz="700" dirty="0" err="1">
                    <a:solidFill>
                      <a:srgbClr val="00148C"/>
                    </a:solidFill>
                    <a:latin typeface="Arial"/>
                    <a:cs typeface="Arial"/>
                  </a:rPr>
                  <a:t>Annibale</a:t>
                </a:r>
                <a:r>
                  <a:rPr lang="en-US" sz="700" dirty="0">
                    <a:solidFill>
                      <a:srgbClr val="00148C"/>
                    </a:solidFill>
                    <a:latin typeface="Arial"/>
                    <a:cs typeface="Arial"/>
                  </a:rPr>
                  <a:t>)</a:t>
                </a:r>
                <a:endParaRPr kumimoji="0" lang="en-US" sz="700" i="0" u="none" strike="noStrike" kern="1200" cap="none" spc="0" normalizeH="0" baseline="0" noProof="0" dirty="0">
                  <a:ln>
                    <a:noFill/>
                  </a:ln>
                  <a:solidFill>
                    <a:srgbClr val="00148C"/>
                  </a:solidFill>
                  <a:effectLst/>
                  <a:uLnTx/>
                  <a:uFillTx/>
                  <a:latin typeface="Arial"/>
                  <a:ea typeface="+mn-ea"/>
                  <a:cs typeface="Arial"/>
                </a:endParaRPr>
              </a:p>
            </p:txBody>
          </p:sp>
          <p:sp>
            <p:nvSpPr>
              <p:cNvPr id="1141" name="Rectangle 1140">
                <a:extLst>
                  <a:ext uri="{FF2B5EF4-FFF2-40B4-BE49-F238E27FC236}">
                    <a16:creationId xmlns:a16="http://schemas.microsoft.com/office/drawing/2014/main" id="{29B09599-98EE-4C47-A2D0-9B30DAFC9CCC}"/>
                  </a:ext>
                </a:extLst>
              </p:cNvPr>
              <p:cNvSpPr/>
              <p:nvPr/>
            </p:nvSpPr>
            <p:spPr>
              <a:xfrm>
                <a:off x="10329601" y="3441296"/>
                <a:ext cx="1008219" cy="31554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a:t>
                </a:r>
                <a:r>
                  <a:rPr kumimoji="0" lang="en-US" sz="900" i="0" u="none" strike="noStrike" kern="1200" cap="none" spc="0" normalizeH="0" baseline="0" noProof="0">
                    <a:ln>
                      <a:noFill/>
                    </a:ln>
                    <a:solidFill>
                      <a:srgbClr val="00148C"/>
                    </a:solidFill>
                    <a:effectLst/>
                    <a:uLnTx/>
                    <a:uFillTx/>
                    <a:latin typeface="Arial"/>
                    <a:ea typeface="+mn-ea"/>
                    <a:cs typeface="Arial"/>
                  </a:rPr>
                  <a:t>Lead</a:t>
                </a:r>
                <a:r>
                  <a:rPr kumimoji="0" lang="en-US" sz="600" i="0" u="none" strike="noStrike" kern="1200" cap="none" spc="0" normalizeH="0" baseline="0" noProof="0">
                    <a:ln>
                      <a:noFill/>
                    </a:ln>
                    <a:solidFill>
                      <a:srgbClr val="00148C"/>
                    </a:solidFill>
                    <a:effectLst/>
                    <a:uLnTx/>
                    <a:uFillTx/>
                    <a:latin typeface="Arial"/>
                    <a:ea typeface="+mn-ea"/>
                    <a:cs typeface="Arial"/>
                  </a:rPr>
                  <a:t> </a:t>
                </a:r>
                <a:endParaRPr kumimoji="0" lang="en-US" sz="700" i="0" u="none" strike="noStrike" kern="1200" cap="none" spc="0" normalizeH="0" baseline="0" noProof="0" dirty="0">
                  <a:ln>
                    <a:noFill/>
                  </a:ln>
                  <a:solidFill>
                    <a:srgbClr val="00148C"/>
                  </a:solidFill>
                  <a:effectLst/>
                  <a:uLnTx/>
                  <a:uFillTx/>
                  <a:latin typeface="Arial"/>
                  <a:ea typeface="+mn-ea"/>
                  <a:cs typeface="Arial"/>
                </a:endParaRPr>
              </a:p>
            </p:txBody>
          </p:sp>
        </p:grpSp>
        <p:grpSp>
          <p:nvGrpSpPr>
            <p:cNvPr id="1314" name="Google Shape;18115;p1604">
              <a:extLst>
                <a:ext uri="{FF2B5EF4-FFF2-40B4-BE49-F238E27FC236}">
                  <a16:creationId xmlns:a16="http://schemas.microsoft.com/office/drawing/2014/main" id="{3858387A-078E-42B8-B87A-3A577076A692}"/>
                </a:ext>
              </a:extLst>
            </p:cNvPr>
            <p:cNvGrpSpPr/>
            <p:nvPr/>
          </p:nvGrpSpPr>
          <p:grpSpPr>
            <a:xfrm>
              <a:off x="10666919" y="3891575"/>
              <a:ext cx="217843" cy="217845"/>
              <a:chOff x="1932810" y="1349835"/>
              <a:chExt cx="185335" cy="185337"/>
            </a:xfrm>
            <a:solidFill>
              <a:srgbClr val="FFE02B"/>
            </a:solidFill>
          </p:grpSpPr>
          <p:sp>
            <p:nvSpPr>
              <p:cNvPr id="1315" name="Google Shape;18116;p1604">
                <a:extLst>
                  <a:ext uri="{FF2B5EF4-FFF2-40B4-BE49-F238E27FC236}">
                    <a16:creationId xmlns:a16="http://schemas.microsoft.com/office/drawing/2014/main" id="{36A3B15E-56B4-4B93-A48D-6F7AAAE7308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316" name="Google Shape;18117;p1604">
                <a:extLst>
                  <a:ext uri="{FF2B5EF4-FFF2-40B4-BE49-F238E27FC236}">
                    <a16:creationId xmlns:a16="http://schemas.microsoft.com/office/drawing/2014/main" id="{7E73A956-1F46-4D09-95D6-24C4C93031B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grpSp>
          <p:nvGrpSpPr>
            <p:cNvPr id="1320" name="Google Shape;18115;p1604">
              <a:extLst>
                <a:ext uri="{FF2B5EF4-FFF2-40B4-BE49-F238E27FC236}">
                  <a16:creationId xmlns:a16="http://schemas.microsoft.com/office/drawing/2014/main" id="{1EE9D179-05B7-499C-9028-ABEA914D6020}"/>
                </a:ext>
              </a:extLst>
            </p:cNvPr>
            <p:cNvGrpSpPr/>
            <p:nvPr/>
          </p:nvGrpSpPr>
          <p:grpSpPr>
            <a:xfrm>
              <a:off x="11376963" y="3873897"/>
              <a:ext cx="217843" cy="217845"/>
              <a:chOff x="1932810" y="1349835"/>
              <a:chExt cx="185335" cy="185337"/>
            </a:xfrm>
            <a:solidFill>
              <a:srgbClr val="FFE02B"/>
            </a:solidFill>
          </p:grpSpPr>
          <p:sp>
            <p:nvSpPr>
              <p:cNvPr id="1321" name="Google Shape;18116;p1604">
                <a:extLst>
                  <a:ext uri="{FF2B5EF4-FFF2-40B4-BE49-F238E27FC236}">
                    <a16:creationId xmlns:a16="http://schemas.microsoft.com/office/drawing/2014/main" id="{1D0AF945-894F-4DA3-A7D6-3C3D1CE71D3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322" name="Google Shape;18117;p1604">
                <a:extLst>
                  <a:ext uri="{FF2B5EF4-FFF2-40B4-BE49-F238E27FC236}">
                    <a16:creationId xmlns:a16="http://schemas.microsoft.com/office/drawing/2014/main" id="{A7B8C389-BAF8-451F-8C28-FC497CDCE1E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grpSp>
      <p:grpSp>
        <p:nvGrpSpPr>
          <p:cNvPr id="1323" name="Group 1322">
            <a:extLst>
              <a:ext uri="{FF2B5EF4-FFF2-40B4-BE49-F238E27FC236}">
                <a16:creationId xmlns:a16="http://schemas.microsoft.com/office/drawing/2014/main" id="{3867B77A-BC93-490B-8EE1-E52865EBB552}"/>
              </a:ext>
            </a:extLst>
          </p:cNvPr>
          <p:cNvGrpSpPr/>
          <p:nvPr/>
        </p:nvGrpSpPr>
        <p:grpSpPr>
          <a:xfrm>
            <a:off x="2950092" y="3096169"/>
            <a:ext cx="1416052" cy="2080421"/>
            <a:chOff x="10388026" y="3096169"/>
            <a:chExt cx="1416052" cy="2080421"/>
          </a:xfrm>
        </p:grpSpPr>
        <p:grpSp>
          <p:nvGrpSpPr>
            <p:cNvPr id="1324" name="Group 1323">
              <a:extLst>
                <a:ext uri="{FF2B5EF4-FFF2-40B4-BE49-F238E27FC236}">
                  <a16:creationId xmlns:a16="http://schemas.microsoft.com/office/drawing/2014/main" id="{9D8B0628-E8EE-4EDF-877B-19528C06B7FF}"/>
                </a:ext>
              </a:extLst>
            </p:cNvPr>
            <p:cNvGrpSpPr/>
            <p:nvPr/>
          </p:nvGrpSpPr>
          <p:grpSpPr>
            <a:xfrm>
              <a:off x="10388026" y="3096169"/>
              <a:ext cx="1416052" cy="2080421"/>
              <a:chOff x="10309234" y="3096169"/>
              <a:chExt cx="1495163" cy="2080421"/>
            </a:xfrm>
          </p:grpSpPr>
          <p:sp>
            <p:nvSpPr>
              <p:cNvPr id="1331" name="Rectangle 1330">
                <a:extLst>
                  <a:ext uri="{FF2B5EF4-FFF2-40B4-BE49-F238E27FC236}">
                    <a16:creationId xmlns:a16="http://schemas.microsoft.com/office/drawing/2014/main" id="{78E8C370-C6E2-4413-9D13-A5E50E7A55D0}"/>
                  </a:ext>
                </a:extLst>
              </p:cNvPr>
              <p:cNvSpPr/>
              <p:nvPr/>
            </p:nvSpPr>
            <p:spPr>
              <a:xfrm>
                <a:off x="10334381" y="3096169"/>
                <a:ext cx="1463938" cy="2080421"/>
              </a:xfrm>
              <a:prstGeom prst="rect">
                <a:avLst/>
              </a:prstGeom>
              <a:solidFill>
                <a:srgbClr val="F2F2F2"/>
              </a:solidFill>
              <a:ln w="9906"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t" anchorCtr="0" forceAA="0" compatLnSpc="1">
                <a:prstTxWarp prst="textNoShape">
                  <a:avLst/>
                </a:prstTxWarp>
                <a:noAutofit/>
              </a:bodyPr>
              <a:lstStyle/>
              <a:p>
                <a:pPr algn="ctr"/>
                <a:r>
                  <a:rPr lang="en-US" sz="1144" b="1" dirty="0" err="1">
                    <a:solidFill>
                      <a:srgbClr val="55555A"/>
                    </a:solidFill>
                  </a:rPr>
                  <a:t>VMO</a:t>
                </a:r>
                <a:endParaRPr lang="en-US" sz="1144" b="1" dirty="0">
                  <a:solidFill>
                    <a:srgbClr val="55555A"/>
                  </a:solidFill>
                </a:endParaRPr>
              </a:p>
            </p:txBody>
          </p:sp>
          <p:grpSp>
            <p:nvGrpSpPr>
              <p:cNvPr id="1332" name="Group 1331">
                <a:extLst>
                  <a:ext uri="{FF2B5EF4-FFF2-40B4-BE49-F238E27FC236}">
                    <a16:creationId xmlns:a16="http://schemas.microsoft.com/office/drawing/2014/main" id="{C3266A40-80D4-4FF9-8465-5C8D221D6FD1}"/>
                  </a:ext>
                </a:extLst>
              </p:cNvPr>
              <p:cNvGrpSpPr/>
              <p:nvPr/>
            </p:nvGrpSpPr>
            <p:grpSpPr>
              <a:xfrm>
                <a:off x="10655053" y="4243526"/>
                <a:ext cx="862802" cy="880836"/>
                <a:chOff x="10521915" y="4330888"/>
                <a:chExt cx="862802" cy="880836"/>
              </a:xfrm>
            </p:grpSpPr>
            <p:grpSp>
              <p:nvGrpSpPr>
                <p:cNvPr id="1335" name="Group 1334">
                  <a:extLst>
                    <a:ext uri="{FF2B5EF4-FFF2-40B4-BE49-F238E27FC236}">
                      <a16:creationId xmlns:a16="http://schemas.microsoft.com/office/drawing/2014/main" id="{D3D06FA9-CF66-446F-BF7F-0D66523050FD}"/>
                    </a:ext>
                  </a:extLst>
                </p:cNvPr>
                <p:cNvGrpSpPr>
                  <a:grpSpLocks/>
                </p:cNvGrpSpPr>
                <p:nvPr/>
              </p:nvGrpSpPr>
              <p:grpSpPr>
                <a:xfrm>
                  <a:off x="10521915" y="4586091"/>
                  <a:ext cx="454032" cy="436509"/>
                  <a:chOff x="2511970" y="2806214"/>
                  <a:chExt cx="2598626" cy="2498332"/>
                </a:xfrm>
              </p:grpSpPr>
              <p:grpSp>
                <p:nvGrpSpPr>
                  <p:cNvPr id="1388" name="Google Shape;18115;p1604">
                    <a:extLst>
                      <a:ext uri="{FF2B5EF4-FFF2-40B4-BE49-F238E27FC236}">
                        <a16:creationId xmlns:a16="http://schemas.microsoft.com/office/drawing/2014/main" id="{A37C2F9F-22A1-418F-8074-BDF936DFEB6D}"/>
                      </a:ext>
                    </a:extLst>
                  </p:cNvPr>
                  <p:cNvGrpSpPr/>
                  <p:nvPr/>
                </p:nvGrpSpPr>
                <p:grpSpPr>
                  <a:xfrm>
                    <a:off x="4214405" y="2806214"/>
                    <a:ext cx="346511" cy="346515"/>
                    <a:chOff x="1932810" y="1349835"/>
                    <a:chExt cx="185335" cy="185337"/>
                  </a:xfrm>
                  <a:solidFill>
                    <a:schemeClr val="tx2"/>
                  </a:solidFill>
                </p:grpSpPr>
                <p:sp>
                  <p:nvSpPr>
                    <p:cNvPr id="1411" name="Google Shape;18116;p1604">
                      <a:extLst>
                        <a:ext uri="{FF2B5EF4-FFF2-40B4-BE49-F238E27FC236}">
                          <a16:creationId xmlns:a16="http://schemas.microsoft.com/office/drawing/2014/main" id="{3FE32612-C967-4B9A-83F7-330CB0EE6C8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12" name="Google Shape;18117;p1604">
                      <a:extLst>
                        <a:ext uri="{FF2B5EF4-FFF2-40B4-BE49-F238E27FC236}">
                          <a16:creationId xmlns:a16="http://schemas.microsoft.com/office/drawing/2014/main" id="{71283D73-3BDB-41D3-9A77-666DBD14041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389" name="Oval 1388">
                    <a:extLst>
                      <a:ext uri="{FF2B5EF4-FFF2-40B4-BE49-F238E27FC236}">
                        <a16:creationId xmlns:a16="http://schemas.microsoft.com/office/drawing/2014/main" id="{7D32C523-DEAB-4721-A42E-942FE991221F}"/>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390" name="Google Shape;18115;p1604">
                    <a:extLst>
                      <a:ext uri="{FF2B5EF4-FFF2-40B4-BE49-F238E27FC236}">
                        <a16:creationId xmlns:a16="http://schemas.microsoft.com/office/drawing/2014/main" id="{02E03954-B9E2-4AEB-955D-D83CCADFFDFA}"/>
                      </a:ext>
                    </a:extLst>
                  </p:cNvPr>
                  <p:cNvGrpSpPr/>
                  <p:nvPr/>
                </p:nvGrpSpPr>
                <p:grpSpPr>
                  <a:xfrm>
                    <a:off x="4402332" y="4548551"/>
                    <a:ext cx="346511" cy="346515"/>
                    <a:chOff x="1932810" y="1349835"/>
                    <a:chExt cx="185335" cy="185337"/>
                  </a:xfrm>
                  <a:solidFill>
                    <a:schemeClr val="tx2"/>
                  </a:solidFill>
                </p:grpSpPr>
                <p:sp>
                  <p:nvSpPr>
                    <p:cNvPr id="1409" name="Google Shape;18116;p1604">
                      <a:extLst>
                        <a:ext uri="{FF2B5EF4-FFF2-40B4-BE49-F238E27FC236}">
                          <a16:creationId xmlns:a16="http://schemas.microsoft.com/office/drawing/2014/main" id="{491F60C5-70AD-4082-A8F1-67A8A2B37D2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10" name="Google Shape;18117;p1604">
                      <a:extLst>
                        <a:ext uri="{FF2B5EF4-FFF2-40B4-BE49-F238E27FC236}">
                          <a16:creationId xmlns:a16="http://schemas.microsoft.com/office/drawing/2014/main" id="{62BD3F60-781C-461D-8D44-798C22C1C23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91" name="Google Shape;18115;p1604">
                    <a:extLst>
                      <a:ext uri="{FF2B5EF4-FFF2-40B4-BE49-F238E27FC236}">
                        <a16:creationId xmlns:a16="http://schemas.microsoft.com/office/drawing/2014/main" id="{381482B4-1275-45DB-A6D4-BEEDA43FE832}"/>
                      </a:ext>
                    </a:extLst>
                  </p:cNvPr>
                  <p:cNvGrpSpPr/>
                  <p:nvPr/>
                </p:nvGrpSpPr>
                <p:grpSpPr>
                  <a:xfrm>
                    <a:off x="3578880" y="4958031"/>
                    <a:ext cx="346511" cy="346515"/>
                    <a:chOff x="1932810" y="1349835"/>
                    <a:chExt cx="185335" cy="185337"/>
                  </a:xfrm>
                  <a:solidFill>
                    <a:schemeClr val="tx2"/>
                  </a:solidFill>
                </p:grpSpPr>
                <p:sp>
                  <p:nvSpPr>
                    <p:cNvPr id="1407" name="Google Shape;18116;p1604">
                      <a:extLst>
                        <a:ext uri="{FF2B5EF4-FFF2-40B4-BE49-F238E27FC236}">
                          <a16:creationId xmlns:a16="http://schemas.microsoft.com/office/drawing/2014/main" id="{0B127FA9-C519-4136-81F6-68B89B070E1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08" name="Google Shape;18117;p1604">
                      <a:extLst>
                        <a:ext uri="{FF2B5EF4-FFF2-40B4-BE49-F238E27FC236}">
                          <a16:creationId xmlns:a16="http://schemas.microsoft.com/office/drawing/2014/main" id="{93805E25-E3FB-4B63-9A4D-57717369764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92" name="Google Shape;18115;p1604">
                    <a:extLst>
                      <a:ext uri="{FF2B5EF4-FFF2-40B4-BE49-F238E27FC236}">
                        <a16:creationId xmlns:a16="http://schemas.microsoft.com/office/drawing/2014/main" id="{AE37DC73-14E1-4E4B-A73C-EEABF27CE645}"/>
                      </a:ext>
                    </a:extLst>
                  </p:cNvPr>
                  <p:cNvGrpSpPr/>
                  <p:nvPr/>
                </p:nvGrpSpPr>
                <p:grpSpPr>
                  <a:xfrm>
                    <a:off x="2511970" y="3644968"/>
                    <a:ext cx="346511" cy="346515"/>
                    <a:chOff x="1932810" y="1349835"/>
                    <a:chExt cx="185335" cy="185337"/>
                  </a:xfrm>
                  <a:solidFill>
                    <a:schemeClr val="tx2"/>
                  </a:solidFill>
                </p:grpSpPr>
                <p:sp>
                  <p:nvSpPr>
                    <p:cNvPr id="1405" name="Google Shape;18116;p1604">
                      <a:extLst>
                        <a:ext uri="{FF2B5EF4-FFF2-40B4-BE49-F238E27FC236}">
                          <a16:creationId xmlns:a16="http://schemas.microsoft.com/office/drawing/2014/main" id="{191629EF-601A-48ED-B86C-E99027C070A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06" name="Google Shape;18117;p1604">
                      <a:extLst>
                        <a:ext uri="{FF2B5EF4-FFF2-40B4-BE49-F238E27FC236}">
                          <a16:creationId xmlns:a16="http://schemas.microsoft.com/office/drawing/2014/main" id="{EAAABBB1-C5BE-4F3A-80BF-B1EE87C9AF6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93" name="Google Shape;18115;p1604">
                    <a:extLst>
                      <a:ext uri="{FF2B5EF4-FFF2-40B4-BE49-F238E27FC236}">
                        <a16:creationId xmlns:a16="http://schemas.microsoft.com/office/drawing/2014/main" id="{07135EAA-9340-432B-8D3D-9A1BC6070986}"/>
                      </a:ext>
                    </a:extLst>
                  </p:cNvPr>
                  <p:cNvGrpSpPr/>
                  <p:nvPr/>
                </p:nvGrpSpPr>
                <p:grpSpPr>
                  <a:xfrm>
                    <a:off x="4754363" y="4548551"/>
                    <a:ext cx="346511" cy="346515"/>
                    <a:chOff x="1932810" y="1349835"/>
                    <a:chExt cx="185335" cy="185337"/>
                  </a:xfrm>
                  <a:solidFill>
                    <a:schemeClr val="tx2"/>
                  </a:solidFill>
                </p:grpSpPr>
                <p:sp>
                  <p:nvSpPr>
                    <p:cNvPr id="1403" name="Google Shape;18116;p1604">
                      <a:extLst>
                        <a:ext uri="{FF2B5EF4-FFF2-40B4-BE49-F238E27FC236}">
                          <a16:creationId xmlns:a16="http://schemas.microsoft.com/office/drawing/2014/main" id="{7FB07F06-87F7-4226-8909-5BBFECE6D6D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04" name="Google Shape;18117;p1604">
                      <a:extLst>
                        <a:ext uri="{FF2B5EF4-FFF2-40B4-BE49-F238E27FC236}">
                          <a16:creationId xmlns:a16="http://schemas.microsoft.com/office/drawing/2014/main" id="{747DDBCE-5182-4E34-9719-C94FF45B1B3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94" name="Google Shape;18115;p1604">
                    <a:extLst>
                      <a:ext uri="{FF2B5EF4-FFF2-40B4-BE49-F238E27FC236}">
                        <a16:creationId xmlns:a16="http://schemas.microsoft.com/office/drawing/2014/main" id="{DA0E7794-4EDF-44DA-B8E3-AA4ECAE36F34}"/>
                      </a:ext>
                    </a:extLst>
                  </p:cNvPr>
                  <p:cNvGrpSpPr/>
                  <p:nvPr/>
                </p:nvGrpSpPr>
                <p:grpSpPr>
                  <a:xfrm>
                    <a:off x="2644688" y="4493428"/>
                    <a:ext cx="346511" cy="346515"/>
                    <a:chOff x="1932810" y="1349835"/>
                    <a:chExt cx="185335" cy="185337"/>
                  </a:xfrm>
                  <a:solidFill>
                    <a:schemeClr val="tx2"/>
                  </a:solidFill>
                </p:grpSpPr>
                <p:sp>
                  <p:nvSpPr>
                    <p:cNvPr id="1401" name="Google Shape;18116;p1604">
                      <a:extLst>
                        <a:ext uri="{FF2B5EF4-FFF2-40B4-BE49-F238E27FC236}">
                          <a16:creationId xmlns:a16="http://schemas.microsoft.com/office/drawing/2014/main" id="{CAECD696-E5F5-4358-84E0-FD1366B5FBF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02" name="Google Shape;18117;p1604">
                      <a:extLst>
                        <a:ext uri="{FF2B5EF4-FFF2-40B4-BE49-F238E27FC236}">
                          <a16:creationId xmlns:a16="http://schemas.microsoft.com/office/drawing/2014/main" id="{8AED5E6E-7BB5-4C55-B37D-77E5B3C724B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95" name="Google Shape;18115;p1604">
                    <a:extLst>
                      <a:ext uri="{FF2B5EF4-FFF2-40B4-BE49-F238E27FC236}">
                        <a16:creationId xmlns:a16="http://schemas.microsoft.com/office/drawing/2014/main" id="{D8378EEF-8DB5-42F9-8546-BF64B75339C7}"/>
                      </a:ext>
                    </a:extLst>
                  </p:cNvPr>
                  <p:cNvGrpSpPr/>
                  <p:nvPr/>
                </p:nvGrpSpPr>
                <p:grpSpPr>
                  <a:xfrm>
                    <a:off x="4764085" y="3612568"/>
                    <a:ext cx="346511" cy="346515"/>
                    <a:chOff x="1932810" y="1349835"/>
                    <a:chExt cx="185335" cy="185337"/>
                  </a:xfrm>
                  <a:solidFill>
                    <a:schemeClr val="tx2"/>
                  </a:solidFill>
                </p:grpSpPr>
                <p:sp>
                  <p:nvSpPr>
                    <p:cNvPr id="1399" name="Google Shape;18116;p1604">
                      <a:extLst>
                        <a:ext uri="{FF2B5EF4-FFF2-40B4-BE49-F238E27FC236}">
                          <a16:creationId xmlns:a16="http://schemas.microsoft.com/office/drawing/2014/main" id="{E0B801DA-4149-489C-9B51-95714866BDE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00" name="Google Shape;18117;p1604">
                      <a:extLst>
                        <a:ext uri="{FF2B5EF4-FFF2-40B4-BE49-F238E27FC236}">
                          <a16:creationId xmlns:a16="http://schemas.microsoft.com/office/drawing/2014/main" id="{902E02E7-D083-47AE-AAA2-FAECB88167A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96" name="Google Shape;18115;p1604">
                    <a:extLst>
                      <a:ext uri="{FF2B5EF4-FFF2-40B4-BE49-F238E27FC236}">
                        <a16:creationId xmlns:a16="http://schemas.microsoft.com/office/drawing/2014/main" id="{50011AD2-7852-484F-AB40-948CEE2CB0AF}"/>
                      </a:ext>
                    </a:extLst>
                  </p:cNvPr>
                  <p:cNvGrpSpPr/>
                  <p:nvPr/>
                </p:nvGrpSpPr>
                <p:grpSpPr>
                  <a:xfrm>
                    <a:off x="3091300" y="2809102"/>
                    <a:ext cx="346511" cy="346515"/>
                    <a:chOff x="1932810" y="1349835"/>
                    <a:chExt cx="185335" cy="185337"/>
                  </a:xfrm>
                  <a:solidFill>
                    <a:schemeClr val="tx2"/>
                  </a:solidFill>
                </p:grpSpPr>
                <p:sp>
                  <p:nvSpPr>
                    <p:cNvPr id="1397" name="Google Shape;18116;p1604">
                      <a:extLst>
                        <a:ext uri="{FF2B5EF4-FFF2-40B4-BE49-F238E27FC236}">
                          <a16:creationId xmlns:a16="http://schemas.microsoft.com/office/drawing/2014/main" id="{B29E7CEC-90D0-4C13-93F1-DF99CD32741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98" name="Google Shape;18117;p1604">
                      <a:extLst>
                        <a:ext uri="{FF2B5EF4-FFF2-40B4-BE49-F238E27FC236}">
                          <a16:creationId xmlns:a16="http://schemas.microsoft.com/office/drawing/2014/main" id="{47D58B3D-20A1-4F19-9A7D-1B1D8D1D94F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336" name="Group 1335">
                  <a:extLst>
                    <a:ext uri="{FF2B5EF4-FFF2-40B4-BE49-F238E27FC236}">
                      <a16:creationId xmlns:a16="http://schemas.microsoft.com/office/drawing/2014/main" id="{E4DEF380-ADC6-4FC5-8CC6-E3C4214478EE}"/>
                    </a:ext>
                  </a:extLst>
                </p:cNvPr>
                <p:cNvGrpSpPr>
                  <a:grpSpLocks/>
                </p:cNvGrpSpPr>
                <p:nvPr/>
              </p:nvGrpSpPr>
              <p:grpSpPr>
                <a:xfrm>
                  <a:off x="10930685" y="4330888"/>
                  <a:ext cx="454032" cy="436509"/>
                  <a:chOff x="2511970" y="2806214"/>
                  <a:chExt cx="2598626" cy="2498332"/>
                </a:xfrm>
              </p:grpSpPr>
              <p:grpSp>
                <p:nvGrpSpPr>
                  <p:cNvPr id="1363" name="Google Shape;18115;p1604">
                    <a:extLst>
                      <a:ext uri="{FF2B5EF4-FFF2-40B4-BE49-F238E27FC236}">
                        <a16:creationId xmlns:a16="http://schemas.microsoft.com/office/drawing/2014/main" id="{3A10A4C0-7DF4-4772-B1C1-038E6CFFD659}"/>
                      </a:ext>
                    </a:extLst>
                  </p:cNvPr>
                  <p:cNvGrpSpPr/>
                  <p:nvPr/>
                </p:nvGrpSpPr>
                <p:grpSpPr>
                  <a:xfrm>
                    <a:off x="4214405" y="2806214"/>
                    <a:ext cx="346511" cy="346515"/>
                    <a:chOff x="1932810" y="1349835"/>
                    <a:chExt cx="185335" cy="185337"/>
                  </a:xfrm>
                  <a:solidFill>
                    <a:schemeClr val="tx2"/>
                  </a:solidFill>
                </p:grpSpPr>
                <p:sp>
                  <p:nvSpPr>
                    <p:cNvPr id="1386" name="Google Shape;18116;p1604">
                      <a:extLst>
                        <a:ext uri="{FF2B5EF4-FFF2-40B4-BE49-F238E27FC236}">
                          <a16:creationId xmlns:a16="http://schemas.microsoft.com/office/drawing/2014/main" id="{5B4C7EA5-E676-493C-A55C-8E363033B20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87" name="Google Shape;18117;p1604">
                      <a:extLst>
                        <a:ext uri="{FF2B5EF4-FFF2-40B4-BE49-F238E27FC236}">
                          <a16:creationId xmlns:a16="http://schemas.microsoft.com/office/drawing/2014/main" id="{12264146-6CD0-4B9E-82C7-5D4C42929F7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364" name="Oval 1363">
                    <a:extLst>
                      <a:ext uri="{FF2B5EF4-FFF2-40B4-BE49-F238E27FC236}">
                        <a16:creationId xmlns:a16="http://schemas.microsoft.com/office/drawing/2014/main" id="{F787EE94-3809-472A-B136-79D01B2FAA37}"/>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365" name="Google Shape;18115;p1604">
                    <a:extLst>
                      <a:ext uri="{FF2B5EF4-FFF2-40B4-BE49-F238E27FC236}">
                        <a16:creationId xmlns:a16="http://schemas.microsoft.com/office/drawing/2014/main" id="{0A1E6735-502F-4667-B19C-0288BA462C0D}"/>
                      </a:ext>
                    </a:extLst>
                  </p:cNvPr>
                  <p:cNvGrpSpPr/>
                  <p:nvPr/>
                </p:nvGrpSpPr>
                <p:grpSpPr>
                  <a:xfrm>
                    <a:off x="4402332" y="4548551"/>
                    <a:ext cx="346511" cy="346515"/>
                    <a:chOff x="1932810" y="1349835"/>
                    <a:chExt cx="185335" cy="185337"/>
                  </a:xfrm>
                  <a:solidFill>
                    <a:schemeClr val="tx2"/>
                  </a:solidFill>
                </p:grpSpPr>
                <p:sp>
                  <p:nvSpPr>
                    <p:cNvPr id="1384" name="Google Shape;18116;p1604">
                      <a:extLst>
                        <a:ext uri="{FF2B5EF4-FFF2-40B4-BE49-F238E27FC236}">
                          <a16:creationId xmlns:a16="http://schemas.microsoft.com/office/drawing/2014/main" id="{A71297CF-941B-4F7B-BA20-3ABF01E3E0D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85" name="Google Shape;18117;p1604">
                      <a:extLst>
                        <a:ext uri="{FF2B5EF4-FFF2-40B4-BE49-F238E27FC236}">
                          <a16:creationId xmlns:a16="http://schemas.microsoft.com/office/drawing/2014/main" id="{7DB610A1-AE1E-4442-92F2-DB6C6807E9B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66" name="Google Shape;18115;p1604">
                    <a:extLst>
                      <a:ext uri="{FF2B5EF4-FFF2-40B4-BE49-F238E27FC236}">
                        <a16:creationId xmlns:a16="http://schemas.microsoft.com/office/drawing/2014/main" id="{C18210B1-A9EF-4375-9A67-C5CE1F07C58C}"/>
                      </a:ext>
                    </a:extLst>
                  </p:cNvPr>
                  <p:cNvGrpSpPr/>
                  <p:nvPr/>
                </p:nvGrpSpPr>
                <p:grpSpPr>
                  <a:xfrm>
                    <a:off x="3578880" y="4958031"/>
                    <a:ext cx="346511" cy="346515"/>
                    <a:chOff x="1932810" y="1349835"/>
                    <a:chExt cx="185335" cy="185337"/>
                  </a:xfrm>
                  <a:solidFill>
                    <a:schemeClr val="tx2"/>
                  </a:solidFill>
                </p:grpSpPr>
                <p:sp>
                  <p:nvSpPr>
                    <p:cNvPr id="1382" name="Google Shape;18116;p1604">
                      <a:extLst>
                        <a:ext uri="{FF2B5EF4-FFF2-40B4-BE49-F238E27FC236}">
                          <a16:creationId xmlns:a16="http://schemas.microsoft.com/office/drawing/2014/main" id="{5475AB06-4FE2-4A2D-B7D5-3EC010C49DE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83" name="Google Shape;18117;p1604">
                      <a:extLst>
                        <a:ext uri="{FF2B5EF4-FFF2-40B4-BE49-F238E27FC236}">
                          <a16:creationId xmlns:a16="http://schemas.microsoft.com/office/drawing/2014/main" id="{75944A32-6112-48DD-B170-06427B2FDB8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67" name="Google Shape;18115;p1604">
                    <a:extLst>
                      <a:ext uri="{FF2B5EF4-FFF2-40B4-BE49-F238E27FC236}">
                        <a16:creationId xmlns:a16="http://schemas.microsoft.com/office/drawing/2014/main" id="{3045346D-AFC6-4CC4-A04B-F06AE23AE173}"/>
                      </a:ext>
                    </a:extLst>
                  </p:cNvPr>
                  <p:cNvGrpSpPr/>
                  <p:nvPr/>
                </p:nvGrpSpPr>
                <p:grpSpPr>
                  <a:xfrm>
                    <a:off x="2511970" y="3644968"/>
                    <a:ext cx="346511" cy="346515"/>
                    <a:chOff x="1932810" y="1349835"/>
                    <a:chExt cx="185335" cy="185337"/>
                  </a:xfrm>
                  <a:solidFill>
                    <a:schemeClr val="tx2"/>
                  </a:solidFill>
                </p:grpSpPr>
                <p:sp>
                  <p:nvSpPr>
                    <p:cNvPr id="1380" name="Google Shape;18116;p1604">
                      <a:extLst>
                        <a:ext uri="{FF2B5EF4-FFF2-40B4-BE49-F238E27FC236}">
                          <a16:creationId xmlns:a16="http://schemas.microsoft.com/office/drawing/2014/main" id="{12181020-CFE2-4280-A979-09E513C4996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81" name="Google Shape;18117;p1604">
                      <a:extLst>
                        <a:ext uri="{FF2B5EF4-FFF2-40B4-BE49-F238E27FC236}">
                          <a16:creationId xmlns:a16="http://schemas.microsoft.com/office/drawing/2014/main" id="{D42AD349-A012-4D85-878F-9CA54C8E4A9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68" name="Google Shape;18115;p1604">
                    <a:extLst>
                      <a:ext uri="{FF2B5EF4-FFF2-40B4-BE49-F238E27FC236}">
                        <a16:creationId xmlns:a16="http://schemas.microsoft.com/office/drawing/2014/main" id="{A23C0A4D-6FC3-4E6F-B7D7-4DB67DB729BC}"/>
                      </a:ext>
                    </a:extLst>
                  </p:cNvPr>
                  <p:cNvGrpSpPr/>
                  <p:nvPr/>
                </p:nvGrpSpPr>
                <p:grpSpPr>
                  <a:xfrm>
                    <a:off x="4754363" y="4548551"/>
                    <a:ext cx="346511" cy="346515"/>
                    <a:chOff x="1932810" y="1349835"/>
                    <a:chExt cx="185335" cy="185337"/>
                  </a:xfrm>
                  <a:solidFill>
                    <a:schemeClr val="tx2"/>
                  </a:solidFill>
                </p:grpSpPr>
                <p:sp>
                  <p:nvSpPr>
                    <p:cNvPr id="1378" name="Google Shape;18116;p1604">
                      <a:extLst>
                        <a:ext uri="{FF2B5EF4-FFF2-40B4-BE49-F238E27FC236}">
                          <a16:creationId xmlns:a16="http://schemas.microsoft.com/office/drawing/2014/main" id="{B871B268-85AB-4868-BE69-2924004AE25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79" name="Google Shape;18117;p1604">
                      <a:extLst>
                        <a:ext uri="{FF2B5EF4-FFF2-40B4-BE49-F238E27FC236}">
                          <a16:creationId xmlns:a16="http://schemas.microsoft.com/office/drawing/2014/main" id="{CA542678-DC6E-4E60-98A0-255087F17C1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69" name="Google Shape;18115;p1604">
                    <a:extLst>
                      <a:ext uri="{FF2B5EF4-FFF2-40B4-BE49-F238E27FC236}">
                        <a16:creationId xmlns:a16="http://schemas.microsoft.com/office/drawing/2014/main" id="{D0C3C683-7C39-4697-AD57-AD10B6930081}"/>
                      </a:ext>
                    </a:extLst>
                  </p:cNvPr>
                  <p:cNvGrpSpPr/>
                  <p:nvPr/>
                </p:nvGrpSpPr>
                <p:grpSpPr>
                  <a:xfrm>
                    <a:off x="2644688" y="4493428"/>
                    <a:ext cx="346511" cy="346515"/>
                    <a:chOff x="1932810" y="1349835"/>
                    <a:chExt cx="185335" cy="185337"/>
                  </a:xfrm>
                  <a:solidFill>
                    <a:schemeClr val="tx2"/>
                  </a:solidFill>
                </p:grpSpPr>
                <p:sp>
                  <p:nvSpPr>
                    <p:cNvPr id="1376" name="Google Shape;18116;p1604">
                      <a:extLst>
                        <a:ext uri="{FF2B5EF4-FFF2-40B4-BE49-F238E27FC236}">
                          <a16:creationId xmlns:a16="http://schemas.microsoft.com/office/drawing/2014/main" id="{C2F703C6-A881-48AD-94A6-CC66895C117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77" name="Google Shape;18117;p1604">
                      <a:extLst>
                        <a:ext uri="{FF2B5EF4-FFF2-40B4-BE49-F238E27FC236}">
                          <a16:creationId xmlns:a16="http://schemas.microsoft.com/office/drawing/2014/main" id="{5F4D5B12-8652-4448-8B88-7D1C326248E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70" name="Google Shape;18115;p1604">
                    <a:extLst>
                      <a:ext uri="{FF2B5EF4-FFF2-40B4-BE49-F238E27FC236}">
                        <a16:creationId xmlns:a16="http://schemas.microsoft.com/office/drawing/2014/main" id="{062B32CA-F5DE-4C72-A0BE-922D62F498FA}"/>
                      </a:ext>
                    </a:extLst>
                  </p:cNvPr>
                  <p:cNvGrpSpPr/>
                  <p:nvPr/>
                </p:nvGrpSpPr>
                <p:grpSpPr>
                  <a:xfrm>
                    <a:off x="4764085" y="3612568"/>
                    <a:ext cx="346511" cy="346515"/>
                    <a:chOff x="1932810" y="1349835"/>
                    <a:chExt cx="185335" cy="185337"/>
                  </a:xfrm>
                  <a:solidFill>
                    <a:schemeClr val="tx2"/>
                  </a:solidFill>
                </p:grpSpPr>
                <p:sp>
                  <p:nvSpPr>
                    <p:cNvPr id="1374" name="Google Shape;18116;p1604">
                      <a:extLst>
                        <a:ext uri="{FF2B5EF4-FFF2-40B4-BE49-F238E27FC236}">
                          <a16:creationId xmlns:a16="http://schemas.microsoft.com/office/drawing/2014/main" id="{C09D05AE-A853-477E-BC31-83BD6039AF0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75" name="Google Shape;18117;p1604">
                      <a:extLst>
                        <a:ext uri="{FF2B5EF4-FFF2-40B4-BE49-F238E27FC236}">
                          <a16:creationId xmlns:a16="http://schemas.microsoft.com/office/drawing/2014/main" id="{12BFFE4F-5B40-483E-B499-5EC9D6E6A52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71" name="Google Shape;18115;p1604">
                    <a:extLst>
                      <a:ext uri="{FF2B5EF4-FFF2-40B4-BE49-F238E27FC236}">
                        <a16:creationId xmlns:a16="http://schemas.microsoft.com/office/drawing/2014/main" id="{962DDD5A-EBBF-4C94-A7F7-2D0789904FE2}"/>
                      </a:ext>
                    </a:extLst>
                  </p:cNvPr>
                  <p:cNvGrpSpPr/>
                  <p:nvPr/>
                </p:nvGrpSpPr>
                <p:grpSpPr>
                  <a:xfrm>
                    <a:off x="3091300" y="2809102"/>
                    <a:ext cx="346511" cy="346515"/>
                    <a:chOff x="1932810" y="1349835"/>
                    <a:chExt cx="185335" cy="185337"/>
                  </a:xfrm>
                  <a:solidFill>
                    <a:schemeClr val="tx2"/>
                  </a:solidFill>
                </p:grpSpPr>
                <p:sp>
                  <p:nvSpPr>
                    <p:cNvPr id="1372" name="Google Shape;18116;p1604">
                      <a:extLst>
                        <a:ext uri="{FF2B5EF4-FFF2-40B4-BE49-F238E27FC236}">
                          <a16:creationId xmlns:a16="http://schemas.microsoft.com/office/drawing/2014/main" id="{7CB629E9-5D35-4B39-A7A7-5E7A6C5D282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73" name="Google Shape;18117;p1604">
                      <a:extLst>
                        <a:ext uri="{FF2B5EF4-FFF2-40B4-BE49-F238E27FC236}">
                          <a16:creationId xmlns:a16="http://schemas.microsoft.com/office/drawing/2014/main" id="{77D8D192-E5B1-4F12-B15F-8C3D8079245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337" name="Group 1336">
                  <a:extLst>
                    <a:ext uri="{FF2B5EF4-FFF2-40B4-BE49-F238E27FC236}">
                      <a16:creationId xmlns:a16="http://schemas.microsoft.com/office/drawing/2014/main" id="{74A4EDFB-AE82-45D9-83F6-E6D2E800F8FC}"/>
                    </a:ext>
                  </a:extLst>
                </p:cNvPr>
                <p:cNvGrpSpPr>
                  <a:grpSpLocks/>
                </p:cNvGrpSpPr>
                <p:nvPr/>
              </p:nvGrpSpPr>
              <p:grpSpPr>
                <a:xfrm>
                  <a:off x="10930685" y="4775215"/>
                  <a:ext cx="454032" cy="436509"/>
                  <a:chOff x="2511970" y="2806214"/>
                  <a:chExt cx="2598626" cy="2498332"/>
                </a:xfrm>
              </p:grpSpPr>
              <p:grpSp>
                <p:nvGrpSpPr>
                  <p:cNvPr id="1338" name="Google Shape;18115;p1604">
                    <a:extLst>
                      <a:ext uri="{FF2B5EF4-FFF2-40B4-BE49-F238E27FC236}">
                        <a16:creationId xmlns:a16="http://schemas.microsoft.com/office/drawing/2014/main" id="{CF315245-05BA-40C8-ADB8-E73ED8543AE3}"/>
                      </a:ext>
                    </a:extLst>
                  </p:cNvPr>
                  <p:cNvGrpSpPr/>
                  <p:nvPr/>
                </p:nvGrpSpPr>
                <p:grpSpPr>
                  <a:xfrm>
                    <a:off x="4214405" y="2806214"/>
                    <a:ext cx="346511" cy="346515"/>
                    <a:chOff x="1932810" y="1349835"/>
                    <a:chExt cx="185335" cy="185337"/>
                  </a:xfrm>
                  <a:solidFill>
                    <a:schemeClr val="tx2"/>
                  </a:solidFill>
                </p:grpSpPr>
                <p:sp>
                  <p:nvSpPr>
                    <p:cNvPr id="1361" name="Google Shape;18116;p1604">
                      <a:extLst>
                        <a:ext uri="{FF2B5EF4-FFF2-40B4-BE49-F238E27FC236}">
                          <a16:creationId xmlns:a16="http://schemas.microsoft.com/office/drawing/2014/main" id="{BF1FE8C5-C107-4E91-9392-8F2F0C03ECC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62" name="Google Shape;18117;p1604">
                      <a:extLst>
                        <a:ext uri="{FF2B5EF4-FFF2-40B4-BE49-F238E27FC236}">
                          <a16:creationId xmlns:a16="http://schemas.microsoft.com/office/drawing/2014/main" id="{910AE53A-F2E2-414E-8F08-F787265703B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339" name="Oval 1338">
                    <a:extLst>
                      <a:ext uri="{FF2B5EF4-FFF2-40B4-BE49-F238E27FC236}">
                        <a16:creationId xmlns:a16="http://schemas.microsoft.com/office/drawing/2014/main" id="{1448B1C9-5EE7-4798-912A-743E85D3B339}"/>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340" name="Google Shape;18115;p1604">
                    <a:extLst>
                      <a:ext uri="{FF2B5EF4-FFF2-40B4-BE49-F238E27FC236}">
                        <a16:creationId xmlns:a16="http://schemas.microsoft.com/office/drawing/2014/main" id="{F158CE6B-E196-4BC6-9B70-CB279A19785A}"/>
                      </a:ext>
                    </a:extLst>
                  </p:cNvPr>
                  <p:cNvGrpSpPr/>
                  <p:nvPr/>
                </p:nvGrpSpPr>
                <p:grpSpPr>
                  <a:xfrm>
                    <a:off x="4402332" y="4548551"/>
                    <a:ext cx="346511" cy="346515"/>
                    <a:chOff x="1932810" y="1349835"/>
                    <a:chExt cx="185335" cy="185337"/>
                  </a:xfrm>
                  <a:solidFill>
                    <a:schemeClr val="tx2"/>
                  </a:solidFill>
                </p:grpSpPr>
                <p:sp>
                  <p:nvSpPr>
                    <p:cNvPr id="1359" name="Google Shape;18116;p1604">
                      <a:extLst>
                        <a:ext uri="{FF2B5EF4-FFF2-40B4-BE49-F238E27FC236}">
                          <a16:creationId xmlns:a16="http://schemas.microsoft.com/office/drawing/2014/main" id="{6FE07707-E24A-4D19-834A-0ACDEB5BE3B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60" name="Google Shape;18117;p1604">
                      <a:extLst>
                        <a:ext uri="{FF2B5EF4-FFF2-40B4-BE49-F238E27FC236}">
                          <a16:creationId xmlns:a16="http://schemas.microsoft.com/office/drawing/2014/main" id="{15BD466F-F44D-4E56-9753-7016F01A275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41" name="Google Shape;18115;p1604">
                    <a:extLst>
                      <a:ext uri="{FF2B5EF4-FFF2-40B4-BE49-F238E27FC236}">
                        <a16:creationId xmlns:a16="http://schemas.microsoft.com/office/drawing/2014/main" id="{5ECB25DD-FCB9-4934-AFF0-3B115EB57792}"/>
                      </a:ext>
                    </a:extLst>
                  </p:cNvPr>
                  <p:cNvGrpSpPr/>
                  <p:nvPr/>
                </p:nvGrpSpPr>
                <p:grpSpPr>
                  <a:xfrm>
                    <a:off x="3578880" y="4958031"/>
                    <a:ext cx="346511" cy="346515"/>
                    <a:chOff x="1932810" y="1349835"/>
                    <a:chExt cx="185335" cy="185337"/>
                  </a:xfrm>
                  <a:solidFill>
                    <a:schemeClr val="tx2"/>
                  </a:solidFill>
                </p:grpSpPr>
                <p:sp>
                  <p:nvSpPr>
                    <p:cNvPr id="1357" name="Google Shape;18116;p1604">
                      <a:extLst>
                        <a:ext uri="{FF2B5EF4-FFF2-40B4-BE49-F238E27FC236}">
                          <a16:creationId xmlns:a16="http://schemas.microsoft.com/office/drawing/2014/main" id="{91141FD5-E7A5-4CB6-BD8B-A0D0F5BB8D7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58" name="Google Shape;18117;p1604">
                      <a:extLst>
                        <a:ext uri="{FF2B5EF4-FFF2-40B4-BE49-F238E27FC236}">
                          <a16:creationId xmlns:a16="http://schemas.microsoft.com/office/drawing/2014/main" id="{4EDF2D25-A1C7-42CC-8B55-F04C14E9738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42" name="Google Shape;18115;p1604">
                    <a:extLst>
                      <a:ext uri="{FF2B5EF4-FFF2-40B4-BE49-F238E27FC236}">
                        <a16:creationId xmlns:a16="http://schemas.microsoft.com/office/drawing/2014/main" id="{15D42380-DB6D-49CC-BC31-33248930A4C2}"/>
                      </a:ext>
                    </a:extLst>
                  </p:cNvPr>
                  <p:cNvGrpSpPr/>
                  <p:nvPr/>
                </p:nvGrpSpPr>
                <p:grpSpPr>
                  <a:xfrm>
                    <a:off x="2511970" y="3644968"/>
                    <a:ext cx="346511" cy="346515"/>
                    <a:chOff x="1932810" y="1349835"/>
                    <a:chExt cx="185335" cy="185337"/>
                  </a:xfrm>
                  <a:solidFill>
                    <a:schemeClr val="tx2"/>
                  </a:solidFill>
                </p:grpSpPr>
                <p:sp>
                  <p:nvSpPr>
                    <p:cNvPr id="1355" name="Google Shape;18116;p1604">
                      <a:extLst>
                        <a:ext uri="{FF2B5EF4-FFF2-40B4-BE49-F238E27FC236}">
                          <a16:creationId xmlns:a16="http://schemas.microsoft.com/office/drawing/2014/main" id="{04F277E4-D562-4EA2-B6EF-9DD69A6E3FB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56" name="Google Shape;18117;p1604">
                      <a:extLst>
                        <a:ext uri="{FF2B5EF4-FFF2-40B4-BE49-F238E27FC236}">
                          <a16:creationId xmlns:a16="http://schemas.microsoft.com/office/drawing/2014/main" id="{26FF3FFC-FDEE-4951-9374-24B57C8F65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43" name="Google Shape;18115;p1604">
                    <a:extLst>
                      <a:ext uri="{FF2B5EF4-FFF2-40B4-BE49-F238E27FC236}">
                        <a16:creationId xmlns:a16="http://schemas.microsoft.com/office/drawing/2014/main" id="{BF263C0F-6DD4-488D-9768-EB2C4D861492}"/>
                      </a:ext>
                    </a:extLst>
                  </p:cNvPr>
                  <p:cNvGrpSpPr/>
                  <p:nvPr/>
                </p:nvGrpSpPr>
                <p:grpSpPr>
                  <a:xfrm>
                    <a:off x="4754363" y="4548551"/>
                    <a:ext cx="346511" cy="346515"/>
                    <a:chOff x="1932810" y="1349835"/>
                    <a:chExt cx="185335" cy="185337"/>
                  </a:xfrm>
                  <a:solidFill>
                    <a:schemeClr val="tx2"/>
                  </a:solidFill>
                </p:grpSpPr>
                <p:sp>
                  <p:nvSpPr>
                    <p:cNvPr id="1353" name="Google Shape;18116;p1604">
                      <a:extLst>
                        <a:ext uri="{FF2B5EF4-FFF2-40B4-BE49-F238E27FC236}">
                          <a16:creationId xmlns:a16="http://schemas.microsoft.com/office/drawing/2014/main" id="{45115D00-BBAA-41A7-98B8-87CE9D00B4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54" name="Google Shape;18117;p1604">
                      <a:extLst>
                        <a:ext uri="{FF2B5EF4-FFF2-40B4-BE49-F238E27FC236}">
                          <a16:creationId xmlns:a16="http://schemas.microsoft.com/office/drawing/2014/main" id="{9C1F9F54-FBEF-47C3-99BF-71E9AD3733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44" name="Google Shape;18115;p1604">
                    <a:extLst>
                      <a:ext uri="{FF2B5EF4-FFF2-40B4-BE49-F238E27FC236}">
                        <a16:creationId xmlns:a16="http://schemas.microsoft.com/office/drawing/2014/main" id="{9CE354F2-0D98-478B-B6A2-89C6B8406B34}"/>
                      </a:ext>
                    </a:extLst>
                  </p:cNvPr>
                  <p:cNvGrpSpPr/>
                  <p:nvPr/>
                </p:nvGrpSpPr>
                <p:grpSpPr>
                  <a:xfrm>
                    <a:off x="2644688" y="4493428"/>
                    <a:ext cx="346511" cy="346515"/>
                    <a:chOff x="1932810" y="1349835"/>
                    <a:chExt cx="185335" cy="185337"/>
                  </a:xfrm>
                  <a:solidFill>
                    <a:schemeClr val="tx2"/>
                  </a:solidFill>
                </p:grpSpPr>
                <p:sp>
                  <p:nvSpPr>
                    <p:cNvPr id="1351" name="Google Shape;18116;p1604">
                      <a:extLst>
                        <a:ext uri="{FF2B5EF4-FFF2-40B4-BE49-F238E27FC236}">
                          <a16:creationId xmlns:a16="http://schemas.microsoft.com/office/drawing/2014/main" id="{FB6DD8B6-D0CB-4336-B767-7103FAB547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52" name="Google Shape;18117;p1604">
                      <a:extLst>
                        <a:ext uri="{FF2B5EF4-FFF2-40B4-BE49-F238E27FC236}">
                          <a16:creationId xmlns:a16="http://schemas.microsoft.com/office/drawing/2014/main" id="{AD074B9F-489F-41AC-A26C-616FCACC370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45" name="Google Shape;18115;p1604">
                    <a:extLst>
                      <a:ext uri="{FF2B5EF4-FFF2-40B4-BE49-F238E27FC236}">
                        <a16:creationId xmlns:a16="http://schemas.microsoft.com/office/drawing/2014/main" id="{D572C0FD-59D0-4ECF-82A0-EA9DFF62E821}"/>
                      </a:ext>
                    </a:extLst>
                  </p:cNvPr>
                  <p:cNvGrpSpPr/>
                  <p:nvPr/>
                </p:nvGrpSpPr>
                <p:grpSpPr>
                  <a:xfrm>
                    <a:off x="4764085" y="3612568"/>
                    <a:ext cx="346511" cy="346515"/>
                    <a:chOff x="1932810" y="1349835"/>
                    <a:chExt cx="185335" cy="185337"/>
                  </a:xfrm>
                  <a:solidFill>
                    <a:schemeClr val="tx2"/>
                  </a:solidFill>
                </p:grpSpPr>
                <p:sp>
                  <p:nvSpPr>
                    <p:cNvPr id="1349" name="Google Shape;18116;p1604">
                      <a:extLst>
                        <a:ext uri="{FF2B5EF4-FFF2-40B4-BE49-F238E27FC236}">
                          <a16:creationId xmlns:a16="http://schemas.microsoft.com/office/drawing/2014/main" id="{C76D6FC3-4A74-4928-8199-6BE141FF24F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50" name="Google Shape;18117;p1604">
                      <a:extLst>
                        <a:ext uri="{FF2B5EF4-FFF2-40B4-BE49-F238E27FC236}">
                          <a16:creationId xmlns:a16="http://schemas.microsoft.com/office/drawing/2014/main" id="{C2DBAADF-F587-41C5-8737-B0DD89FB1ED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346" name="Google Shape;18115;p1604">
                    <a:extLst>
                      <a:ext uri="{FF2B5EF4-FFF2-40B4-BE49-F238E27FC236}">
                        <a16:creationId xmlns:a16="http://schemas.microsoft.com/office/drawing/2014/main" id="{DAC3DFC0-A7DF-437F-90CC-444EC0193064}"/>
                      </a:ext>
                    </a:extLst>
                  </p:cNvPr>
                  <p:cNvGrpSpPr/>
                  <p:nvPr/>
                </p:nvGrpSpPr>
                <p:grpSpPr>
                  <a:xfrm>
                    <a:off x="3091300" y="2809102"/>
                    <a:ext cx="346511" cy="346515"/>
                    <a:chOff x="1932810" y="1349835"/>
                    <a:chExt cx="185335" cy="185337"/>
                  </a:xfrm>
                  <a:solidFill>
                    <a:schemeClr val="tx2"/>
                  </a:solidFill>
                </p:grpSpPr>
                <p:sp>
                  <p:nvSpPr>
                    <p:cNvPr id="1347" name="Google Shape;18116;p1604">
                      <a:extLst>
                        <a:ext uri="{FF2B5EF4-FFF2-40B4-BE49-F238E27FC236}">
                          <a16:creationId xmlns:a16="http://schemas.microsoft.com/office/drawing/2014/main" id="{CCC4F5DE-6928-43F7-9B26-C6F363CC2E4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348" name="Google Shape;18117;p1604">
                      <a:extLst>
                        <a:ext uri="{FF2B5EF4-FFF2-40B4-BE49-F238E27FC236}">
                          <a16:creationId xmlns:a16="http://schemas.microsoft.com/office/drawing/2014/main" id="{5942D45C-DF75-40B5-BCF7-991965AF845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sp>
            <p:nvSpPr>
              <p:cNvPr id="1333" name="Rectangle 1332">
                <a:extLst>
                  <a:ext uri="{FF2B5EF4-FFF2-40B4-BE49-F238E27FC236}">
                    <a16:creationId xmlns:a16="http://schemas.microsoft.com/office/drawing/2014/main" id="{E67AE4F4-FC66-4138-A15A-E7814BB8B1C6}"/>
                  </a:ext>
                </a:extLst>
              </p:cNvPr>
              <p:cNvSpPr/>
              <p:nvPr/>
            </p:nvSpPr>
            <p:spPr>
              <a:xfrm>
                <a:off x="11192469" y="3516118"/>
                <a:ext cx="611928" cy="29523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5098" tIns="47549" rIns="95098" bIns="47549"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 PM</a:t>
                </a:r>
              </a:p>
              <a:p>
                <a:pPr marR="0" lvl="0" algn="ctr" defTabSz="914400" rtl="0" eaLnBrk="1" fontAlgn="auto" latinLnBrk="0" hangingPunct="1">
                  <a:lnSpc>
                    <a:spcPct val="100000"/>
                  </a:lnSpc>
                  <a:spcBef>
                    <a:spcPts val="0"/>
                  </a:spcBef>
                  <a:spcAft>
                    <a:spcPts val="0"/>
                  </a:spcAft>
                  <a:buClrTx/>
                  <a:buSzTx/>
                  <a:buFontTx/>
                  <a:buNone/>
                  <a:tabLst/>
                  <a:defRPr/>
                </a:pPr>
                <a:r>
                  <a:rPr lang="en-US" sz="700" dirty="0">
                    <a:solidFill>
                      <a:srgbClr val="00148C"/>
                    </a:solidFill>
                    <a:latin typeface="Arial"/>
                    <a:cs typeface="Arial"/>
                  </a:rPr>
                  <a:t>(</a:t>
                </a:r>
                <a:r>
                  <a:rPr lang="en-US" sz="700" dirty="0" err="1">
                    <a:solidFill>
                      <a:srgbClr val="00148C"/>
                    </a:solidFill>
                    <a:latin typeface="Arial"/>
                    <a:cs typeface="Arial"/>
                  </a:rPr>
                  <a:t>Nhai</a:t>
                </a:r>
                <a:r>
                  <a:rPr lang="en-US" sz="700" dirty="0">
                    <a:solidFill>
                      <a:srgbClr val="00148C"/>
                    </a:solidFill>
                    <a:latin typeface="Arial"/>
                    <a:cs typeface="Arial"/>
                  </a:rPr>
                  <a:t> </a:t>
                </a:r>
                <a:r>
                  <a:rPr lang="en-US" sz="700" dirty="0" err="1">
                    <a:solidFill>
                      <a:srgbClr val="00148C"/>
                    </a:solidFill>
                    <a:latin typeface="Arial"/>
                    <a:cs typeface="Arial"/>
                  </a:rPr>
                  <a:t>Coa</a:t>
                </a:r>
                <a:r>
                  <a:rPr lang="en-US" sz="700" dirty="0">
                    <a:solidFill>
                      <a:srgbClr val="00148C"/>
                    </a:solidFill>
                    <a:latin typeface="Arial"/>
                    <a:cs typeface="Arial"/>
                  </a:rPr>
                  <a:t>)</a:t>
                </a:r>
                <a:endParaRPr kumimoji="0" lang="en-US" sz="700" i="0" u="none" strike="noStrike" kern="1200" cap="none" spc="0" normalizeH="0" baseline="0" noProof="0" dirty="0">
                  <a:ln>
                    <a:noFill/>
                  </a:ln>
                  <a:solidFill>
                    <a:srgbClr val="00148C"/>
                  </a:solidFill>
                  <a:effectLst/>
                  <a:uLnTx/>
                  <a:uFillTx/>
                  <a:latin typeface="Arial"/>
                  <a:ea typeface="+mn-ea"/>
                  <a:cs typeface="Arial"/>
                </a:endParaRPr>
              </a:p>
            </p:txBody>
          </p:sp>
          <p:sp>
            <p:nvSpPr>
              <p:cNvPr id="1334" name="Rectangle 1333">
                <a:extLst>
                  <a:ext uri="{FF2B5EF4-FFF2-40B4-BE49-F238E27FC236}">
                    <a16:creationId xmlns:a16="http://schemas.microsoft.com/office/drawing/2014/main" id="{8B10CA36-6595-45F0-B6E0-BE955CB94357}"/>
                  </a:ext>
                </a:extLst>
              </p:cNvPr>
              <p:cNvSpPr/>
              <p:nvPr/>
            </p:nvSpPr>
            <p:spPr>
              <a:xfrm>
                <a:off x="10309234" y="3552091"/>
                <a:ext cx="1119862" cy="31554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r>
                  <a:rPr kumimoji="0" lang="en-US" sz="600" i="0" u="none" strike="noStrike" kern="1200" cap="none" spc="0" normalizeH="0" baseline="0" noProof="0" dirty="0">
                    <a:ln>
                      <a:noFill/>
                    </a:ln>
                    <a:solidFill>
                      <a:srgbClr val="00148C"/>
                    </a:solidFill>
                    <a:effectLst/>
                    <a:uLnTx/>
                    <a:uFillTx/>
                    <a:latin typeface="Arial"/>
                    <a:ea typeface="+mn-ea"/>
                    <a:cs typeface="Arial"/>
                  </a:rPr>
                  <a:t> </a:t>
                </a:r>
                <a:r>
                  <a:rPr kumimoji="0" lang="en-US" sz="700" i="0" u="none" strike="noStrike" kern="1200" cap="none" spc="0" normalizeH="0" baseline="0" noProof="0" dirty="0">
                    <a:ln>
                      <a:noFill/>
                    </a:ln>
                    <a:solidFill>
                      <a:srgbClr val="00148C"/>
                    </a:solidFill>
                    <a:effectLst/>
                    <a:uLnTx/>
                    <a:uFillTx/>
                    <a:latin typeface="Arial"/>
                    <a:ea typeface="+mn-ea"/>
                    <a:cs typeface="Arial"/>
                  </a:rPr>
                  <a:t>(Margaret</a:t>
                </a:r>
              </a:p>
              <a:p>
                <a:pPr marR="0" lvl="0"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dirty="0">
                    <a:ln>
                      <a:noFill/>
                    </a:ln>
                    <a:solidFill>
                      <a:srgbClr val="00148C"/>
                    </a:solidFill>
                    <a:effectLst/>
                    <a:uLnTx/>
                    <a:uFillTx/>
                    <a:latin typeface="Arial"/>
                    <a:ea typeface="+mn-ea"/>
                    <a:cs typeface="Arial"/>
                  </a:rPr>
                  <a:t>Campbell)</a:t>
                </a:r>
              </a:p>
            </p:txBody>
          </p:sp>
        </p:grpSp>
        <p:grpSp>
          <p:nvGrpSpPr>
            <p:cNvPr id="1325" name="Google Shape;18115;p1604">
              <a:extLst>
                <a:ext uri="{FF2B5EF4-FFF2-40B4-BE49-F238E27FC236}">
                  <a16:creationId xmlns:a16="http://schemas.microsoft.com/office/drawing/2014/main" id="{3E482F48-A8E5-4EEA-9BE3-4A54E19BA063}"/>
                </a:ext>
              </a:extLst>
            </p:cNvPr>
            <p:cNvGrpSpPr/>
            <p:nvPr/>
          </p:nvGrpSpPr>
          <p:grpSpPr>
            <a:xfrm>
              <a:off x="10666919" y="3891575"/>
              <a:ext cx="217843" cy="217845"/>
              <a:chOff x="1932810" y="1349835"/>
              <a:chExt cx="185335" cy="185337"/>
            </a:xfrm>
            <a:solidFill>
              <a:srgbClr val="FFE02B"/>
            </a:solidFill>
          </p:grpSpPr>
          <p:sp>
            <p:nvSpPr>
              <p:cNvPr id="1329" name="Google Shape;18116;p1604">
                <a:extLst>
                  <a:ext uri="{FF2B5EF4-FFF2-40B4-BE49-F238E27FC236}">
                    <a16:creationId xmlns:a16="http://schemas.microsoft.com/office/drawing/2014/main" id="{9A61E082-CB2F-40BC-BD9E-E63FCE6531E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330" name="Google Shape;18117;p1604">
                <a:extLst>
                  <a:ext uri="{FF2B5EF4-FFF2-40B4-BE49-F238E27FC236}">
                    <a16:creationId xmlns:a16="http://schemas.microsoft.com/office/drawing/2014/main" id="{40063D69-E6B8-4F2C-A839-7FA40895492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grpSp>
      <p:grpSp>
        <p:nvGrpSpPr>
          <p:cNvPr id="1413" name="Google Shape;18115;p1604">
            <a:extLst>
              <a:ext uri="{FF2B5EF4-FFF2-40B4-BE49-F238E27FC236}">
                <a16:creationId xmlns:a16="http://schemas.microsoft.com/office/drawing/2014/main" id="{6222F0DF-83F4-4D5A-83C1-6DDAB954FE20}"/>
              </a:ext>
            </a:extLst>
          </p:cNvPr>
          <p:cNvGrpSpPr/>
          <p:nvPr/>
        </p:nvGrpSpPr>
        <p:grpSpPr>
          <a:xfrm>
            <a:off x="4010701" y="3889564"/>
            <a:ext cx="217843" cy="217845"/>
            <a:chOff x="1932810" y="1349835"/>
            <a:chExt cx="185335" cy="185337"/>
          </a:xfrm>
          <a:solidFill>
            <a:srgbClr val="FFE02B"/>
          </a:solidFill>
        </p:grpSpPr>
        <p:sp>
          <p:nvSpPr>
            <p:cNvPr id="1414" name="Google Shape;18116;p1604">
              <a:extLst>
                <a:ext uri="{FF2B5EF4-FFF2-40B4-BE49-F238E27FC236}">
                  <a16:creationId xmlns:a16="http://schemas.microsoft.com/office/drawing/2014/main" id="{25D49D2F-5192-4E3F-90A7-BB807C5F616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415" name="Google Shape;18117;p1604">
              <a:extLst>
                <a:ext uri="{FF2B5EF4-FFF2-40B4-BE49-F238E27FC236}">
                  <a16:creationId xmlns:a16="http://schemas.microsoft.com/office/drawing/2014/main" id="{0AB1BC58-5E26-44E1-A9FA-8305663CCD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grpSp>
        <p:nvGrpSpPr>
          <p:cNvPr id="1416" name="Group 1415">
            <a:extLst>
              <a:ext uri="{FF2B5EF4-FFF2-40B4-BE49-F238E27FC236}">
                <a16:creationId xmlns:a16="http://schemas.microsoft.com/office/drawing/2014/main" id="{4F53D8EB-7353-403F-9893-6DFB83F191BE}"/>
              </a:ext>
            </a:extLst>
          </p:cNvPr>
          <p:cNvGrpSpPr/>
          <p:nvPr/>
        </p:nvGrpSpPr>
        <p:grpSpPr>
          <a:xfrm>
            <a:off x="1511689" y="3096169"/>
            <a:ext cx="1426051" cy="2080421"/>
            <a:chOff x="10388030" y="3096169"/>
            <a:chExt cx="1426051" cy="2080421"/>
          </a:xfrm>
        </p:grpSpPr>
        <p:grpSp>
          <p:nvGrpSpPr>
            <p:cNvPr id="1417" name="Group 1416">
              <a:extLst>
                <a:ext uri="{FF2B5EF4-FFF2-40B4-BE49-F238E27FC236}">
                  <a16:creationId xmlns:a16="http://schemas.microsoft.com/office/drawing/2014/main" id="{BB49BD69-D1BF-47C4-BE66-AF2B9EFC9284}"/>
                </a:ext>
              </a:extLst>
            </p:cNvPr>
            <p:cNvGrpSpPr/>
            <p:nvPr/>
          </p:nvGrpSpPr>
          <p:grpSpPr>
            <a:xfrm>
              <a:off x="10388030" y="3096169"/>
              <a:ext cx="1426051" cy="2080421"/>
              <a:chOff x="10309234" y="3096169"/>
              <a:chExt cx="1505720" cy="2080421"/>
            </a:xfrm>
          </p:grpSpPr>
          <p:sp>
            <p:nvSpPr>
              <p:cNvPr id="1421" name="Rectangle 1420">
                <a:extLst>
                  <a:ext uri="{FF2B5EF4-FFF2-40B4-BE49-F238E27FC236}">
                    <a16:creationId xmlns:a16="http://schemas.microsoft.com/office/drawing/2014/main" id="{8202287C-39C5-4E99-B301-313BF046B06B}"/>
                  </a:ext>
                </a:extLst>
              </p:cNvPr>
              <p:cNvSpPr/>
              <p:nvPr/>
            </p:nvSpPr>
            <p:spPr>
              <a:xfrm>
                <a:off x="10334381" y="3096169"/>
                <a:ext cx="1463938" cy="2080421"/>
              </a:xfrm>
              <a:prstGeom prst="rect">
                <a:avLst/>
              </a:prstGeom>
              <a:solidFill>
                <a:srgbClr val="F2F2F2"/>
              </a:solidFill>
              <a:ln w="9906"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t" anchorCtr="0" forceAA="0" compatLnSpc="1">
                <a:prstTxWarp prst="textNoShape">
                  <a:avLst/>
                </a:prstTxWarp>
                <a:noAutofit/>
              </a:bodyPr>
              <a:lstStyle/>
              <a:p>
                <a:pPr algn="ctr"/>
                <a:r>
                  <a:rPr lang="en-US" sz="1144" b="1" dirty="0">
                    <a:solidFill>
                      <a:srgbClr val="55555A"/>
                    </a:solidFill>
                  </a:rPr>
                  <a:t>FN</a:t>
                </a:r>
              </a:p>
            </p:txBody>
          </p:sp>
          <p:grpSp>
            <p:nvGrpSpPr>
              <p:cNvPr id="1422" name="Group 1421">
                <a:extLst>
                  <a:ext uri="{FF2B5EF4-FFF2-40B4-BE49-F238E27FC236}">
                    <a16:creationId xmlns:a16="http://schemas.microsoft.com/office/drawing/2014/main" id="{A847C898-526C-4BAC-8E32-B1FFDF50435E}"/>
                  </a:ext>
                </a:extLst>
              </p:cNvPr>
              <p:cNvGrpSpPr/>
              <p:nvPr/>
            </p:nvGrpSpPr>
            <p:grpSpPr>
              <a:xfrm>
                <a:off x="10655053" y="4243526"/>
                <a:ext cx="862802" cy="880836"/>
                <a:chOff x="10521915" y="4330888"/>
                <a:chExt cx="862802" cy="880836"/>
              </a:xfrm>
            </p:grpSpPr>
            <p:grpSp>
              <p:nvGrpSpPr>
                <p:cNvPr id="1425" name="Group 1424">
                  <a:extLst>
                    <a:ext uri="{FF2B5EF4-FFF2-40B4-BE49-F238E27FC236}">
                      <a16:creationId xmlns:a16="http://schemas.microsoft.com/office/drawing/2014/main" id="{D197D46C-A5D4-429F-86C9-B3175CA57931}"/>
                    </a:ext>
                  </a:extLst>
                </p:cNvPr>
                <p:cNvGrpSpPr>
                  <a:grpSpLocks/>
                </p:cNvGrpSpPr>
                <p:nvPr/>
              </p:nvGrpSpPr>
              <p:grpSpPr>
                <a:xfrm>
                  <a:off x="10521915" y="4586091"/>
                  <a:ext cx="454032" cy="436509"/>
                  <a:chOff x="2511970" y="2806214"/>
                  <a:chExt cx="2598626" cy="2498332"/>
                </a:xfrm>
              </p:grpSpPr>
              <p:grpSp>
                <p:nvGrpSpPr>
                  <p:cNvPr id="1478" name="Google Shape;18115;p1604">
                    <a:extLst>
                      <a:ext uri="{FF2B5EF4-FFF2-40B4-BE49-F238E27FC236}">
                        <a16:creationId xmlns:a16="http://schemas.microsoft.com/office/drawing/2014/main" id="{D2FC8748-1FD7-4F9C-9374-6CA1A8A4429B}"/>
                      </a:ext>
                    </a:extLst>
                  </p:cNvPr>
                  <p:cNvGrpSpPr/>
                  <p:nvPr/>
                </p:nvGrpSpPr>
                <p:grpSpPr>
                  <a:xfrm>
                    <a:off x="4214405" y="2806214"/>
                    <a:ext cx="346511" cy="346515"/>
                    <a:chOff x="1932810" y="1349835"/>
                    <a:chExt cx="185335" cy="185337"/>
                  </a:xfrm>
                  <a:solidFill>
                    <a:schemeClr val="tx2"/>
                  </a:solidFill>
                </p:grpSpPr>
                <p:sp>
                  <p:nvSpPr>
                    <p:cNvPr id="1501" name="Google Shape;18116;p1604">
                      <a:extLst>
                        <a:ext uri="{FF2B5EF4-FFF2-40B4-BE49-F238E27FC236}">
                          <a16:creationId xmlns:a16="http://schemas.microsoft.com/office/drawing/2014/main" id="{CB7A84E7-2643-4953-9741-EAAC725F05A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02" name="Google Shape;18117;p1604">
                      <a:extLst>
                        <a:ext uri="{FF2B5EF4-FFF2-40B4-BE49-F238E27FC236}">
                          <a16:creationId xmlns:a16="http://schemas.microsoft.com/office/drawing/2014/main" id="{C47EB9CD-9937-4FA5-BC31-F624B8E8670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479" name="Oval 1478">
                    <a:extLst>
                      <a:ext uri="{FF2B5EF4-FFF2-40B4-BE49-F238E27FC236}">
                        <a16:creationId xmlns:a16="http://schemas.microsoft.com/office/drawing/2014/main" id="{43D80B64-585B-4668-B7E2-4538E368747D}"/>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480" name="Google Shape;18115;p1604">
                    <a:extLst>
                      <a:ext uri="{FF2B5EF4-FFF2-40B4-BE49-F238E27FC236}">
                        <a16:creationId xmlns:a16="http://schemas.microsoft.com/office/drawing/2014/main" id="{3454A0B0-FE70-47BC-9D08-215D61930844}"/>
                      </a:ext>
                    </a:extLst>
                  </p:cNvPr>
                  <p:cNvGrpSpPr/>
                  <p:nvPr/>
                </p:nvGrpSpPr>
                <p:grpSpPr>
                  <a:xfrm>
                    <a:off x="4402332" y="4548551"/>
                    <a:ext cx="346511" cy="346515"/>
                    <a:chOff x="1932810" y="1349835"/>
                    <a:chExt cx="185335" cy="185337"/>
                  </a:xfrm>
                  <a:solidFill>
                    <a:schemeClr val="tx2"/>
                  </a:solidFill>
                </p:grpSpPr>
                <p:sp>
                  <p:nvSpPr>
                    <p:cNvPr id="1499" name="Google Shape;18116;p1604">
                      <a:extLst>
                        <a:ext uri="{FF2B5EF4-FFF2-40B4-BE49-F238E27FC236}">
                          <a16:creationId xmlns:a16="http://schemas.microsoft.com/office/drawing/2014/main" id="{64E8F79B-9878-4C2C-B01E-0D46339C388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00" name="Google Shape;18117;p1604">
                      <a:extLst>
                        <a:ext uri="{FF2B5EF4-FFF2-40B4-BE49-F238E27FC236}">
                          <a16:creationId xmlns:a16="http://schemas.microsoft.com/office/drawing/2014/main" id="{DE23FECE-1D36-4839-82FE-0C1AC62DE40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81" name="Google Shape;18115;p1604">
                    <a:extLst>
                      <a:ext uri="{FF2B5EF4-FFF2-40B4-BE49-F238E27FC236}">
                        <a16:creationId xmlns:a16="http://schemas.microsoft.com/office/drawing/2014/main" id="{DCF2EA53-99C0-418F-99FB-F6B1EC9B6891}"/>
                      </a:ext>
                    </a:extLst>
                  </p:cNvPr>
                  <p:cNvGrpSpPr/>
                  <p:nvPr/>
                </p:nvGrpSpPr>
                <p:grpSpPr>
                  <a:xfrm>
                    <a:off x="3578880" y="4958031"/>
                    <a:ext cx="346511" cy="346515"/>
                    <a:chOff x="1932810" y="1349835"/>
                    <a:chExt cx="185335" cy="185337"/>
                  </a:xfrm>
                  <a:solidFill>
                    <a:schemeClr val="tx2"/>
                  </a:solidFill>
                </p:grpSpPr>
                <p:sp>
                  <p:nvSpPr>
                    <p:cNvPr id="1497" name="Google Shape;18116;p1604">
                      <a:extLst>
                        <a:ext uri="{FF2B5EF4-FFF2-40B4-BE49-F238E27FC236}">
                          <a16:creationId xmlns:a16="http://schemas.microsoft.com/office/drawing/2014/main" id="{FF40ABA6-2815-469F-B106-A6B439BCC43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98" name="Google Shape;18117;p1604">
                      <a:extLst>
                        <a:ext uri="{FF2B5EF4-FFF2-40B4-BE49-F238E27FC236}">
                          <a16:creationId xmlns:a16="http://schemas.microsoft.com/office/drawing/2014/main" id="{A73E5624-3205-46FD-A393-D709D4816F3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82" name="Google Shape;18115;p1604">
                    <a:extLst>
                      <a:ext uri="{FF2B5EF4-FFF2-40B4-BE49-F238E27FC236}">
                        <a16:creationId xmlns:a16="http://schemas.microsoft.com/office/drawing/2014/main" id="{0968A085-A117-4AE6-92CD-37BC0F0026BC}"/>
                      </a:ext>
                    </a:extLst>
                  </p:cNvPr>
                  <p:cNvGrpSpPr/>
                  <p:nvPr/>
                </p:nvGrpSpPr>
                <p:grpSpPr>
                  <a:xfrm>
                    <a:off x="2511970" y="3644968"/>
                    <a:ext cx="346511" cy="346515"/>
                    <a:chOff x="1932810" y="1349835"/>
                    <a:chExt cx="185335" cy="185337"/>
                  </a:xfrm>
                  <a:solidFill>
                    <a:schemeClr val="tx2"/>
                  </a:solidFill>
                </p:grpSpPr>
                <p:sp>
                  <p:nvSpPr>
                    <p:cNvPr id="1495" name="Google Shape;18116;p1604">
                      <a:extLst>
                        <a:ext uri="{FF2B5EF4-FFF2-40B4-BE49-F238E27FC236}">
                          <a16:creationId xmlns:a16="http://schemas.microsoft.com/office/drawing/2014/main" id="{4CCE4748-3875-426E-BF78-153D5684CFA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96" name="Google Shape;18117;p1604">
                      <a:extLst>
                        <a:ext uri="{FF2B5EF4-FFF2-40B4-BE49-F238E27FC236}">
                          <a16:creationId xmlns:a16="http://schemas.microsoft.com/office/drawing/2014/main" id="{99253587-39D4-44E2-BEBE-8DBC6EFD346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83" name="Google Shape;18115;p1604">
                    <a:extLst>
                      <a:ext uri="{FF2B5EF4-FFF2-40B4-BE49-F238E27FC236}">
                        <a16:creationId xmlns:a16="http://schemas.microsoft.com/office/drawing/2014/main" id="{372AE952-8B7E-48B2-A256-386805B949C1}"/>
                      </a:ext>
                    </a:extLst>
                  </p:cNvPr>
                  <p:cNvGrpSpPr/>
                  <p:nvPr/>
                </p:nvGrpSpPr>
                <p:grpSpPr>
                  <a:xfrm>
                    <a:off x="4754363" y="4548551"/>
                    <a:ext cx="346511" cy="346515"/>
                    <a:chOff x="1932810" y="1349835"/>
                    <a:chExt cx="185335" cy="185337"/>
                  </a:xfrm>
                  <a:solidFill>
                    <a:schemeClr val="tx2"/>
                  </a:solidFill>
                </p:grpSpPr>
                <p:sp>
                  <p:nvSpPr>
                    <p:cNvPr id="1493" name="Google Shape;18116;p1604">
                      <a:extLst>
                        <a:ext uri="{FF2B5EF4-FFF2-40B4-BE49-F238E27FC236}">
                          <a16:creationId xmlns:a16="http://schemas.microsoft.com/office/drawing/2014/main" id="{0767A6EA-1BE5-4BA8-9D4E-C427C869057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94" name="Google Shape;18117;p1604">
                      <a:extLst>
                        <a:ext uri="{FF2B5EF4-FFF2-40B4-BE49-F238E27FC236}">
                          <a16:creationId xmlns:a16="http://schemas.microsoft.com/office/drawing/2014/main" id="{C807DF08-D3D3-4306-ADE2-1F5C50A2C00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84" name="Google Shape;18115;p1604">
                    <a:extLst>
                      <a:ext uri="{FF2B5EF4-FFF2-40B4-BE49-F238E27FC236}">
                        <a16:creationId xmlns:a16="http://schemas.microsoft.com/office/drawing/2014/main" id="{CAF9DA12-2F17-4914-A3FF-FCF742AA98B3}"/>
                      </a:ext>
                    </a:extLst>
                  </p:cNvPr>
                  <p:cNvGrpSpPr/>
                  <p:nvPr/>
                </p:nvGrpSpPr>
                <p:grpSpPr>
                  <a:xfrm>
                    <a:off x="2644688" y="4493428"/>
                    <a:ext cx="346511" cy="346515"/>
                    <a:chOff x="1932810" y="1349835"/>
                    <a:chExt cx="185335" cy="185337"/>
                  </a:xfrm>
                  <a:solidFill>
                    <a:schemeClr val="tx2"/>
                  </a:solidFill>
                </p:grpSpPr>
                <p:sp>
                  <p:nvSpPr>
                    <p:cNvPr id="1491" name="Google Shape;18116;p1604">
                      <a:extLst>
                        <a:ext uri="{FF2B5EF4-FFF2-40B4-BE49-F238E27FC236}">
                          <a16:creationId xmlns:a16="http://schemas.microsoft.com/office/drawing/2014/main" id="{9C846BF0-5871-4013-97FB-32C5AA51565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92" name="Google Shape;18117;p1604">
                      <a:extLst>
                        <a:ext uri="{FF2B5EF4-FFF2-40B4-BE49-F238E27FC236}">
                          <a16:creationId xmlns:a16="http://schemas.microsoft.com/office/drawing/2014/main" id="{28D9C86A-C7AC-434E-BAEA-AD5FA343B2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85" name="Google Shape;18115;p1604">
                    <a:extLst>
                      <a:ext uri="{FF2B5EF4-FFF2-40B4-BE49-F238E27FC236}">
                        <a16:creationId xmlns:a16="http://schemas.microsoft.com/office/drawing/2014/main" id="{D848C7EF-8D5D-43B4-8BB2-E59C8204E7FB}"/>
                      </a:ext>
                    </a:extLst>
                  </p:cNvPr>
                  <p:cNvGrpSpPr/>
                  <p:nvPr/>
                </p:nvGrpSpPr>
                <p:grpSpPr>
                  <a:xfrm>
                    <a:off x="4764085" y="3612568"/>
                    <a:ext cx="346511" cy="346515"/>
                    <a:chOff x="1932810" y="1349835"/>
                    <a:chExt cx="185335" cy="185337"/>
                  </a:xfrm>
                  <a:solidFill>
                    <a:schemeClr val="tx2"/>
                  </a:solidFill>
                </p:grpSpPr>
                <p:sp>
                  <p:nvSpPr>
                    <p:cNvPr id="1489" name="Google Shape;18116;p1604">
                      <a:extLst>
                        <a:ext uri="{FF2B5EF4-FFF2-40B4-BE49-F238E27FC236}">
                          <a16:creationId xmlns:a16="http://schemas.microsoft.com/office/drawing/2014/main" id="{D2BB0915-A6F1-4E0C-B1D0-85576CE012A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90" name="Google Shape;18117;p1604">
                      <a:extLst>
                        <a:ext uri="{FF2B5EF4-FFF2-40B4-BE49-F238E27FC236}">
                          <a16:creationId xmlns:a16="http://schemas.microsoft.com/office/drawing/2014/main" id="{C2BEF752-D8A9-4A4F-B505-396B32623DE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86" name="Google Shape;18115;p1604">
                    <a:extLst>
                      <a:ext uri="{FF2B5EF4-FFF2-40B4-BE49-F238E27FC236}">
                        <a16:creationId xmlns:a16="http://schemas.microsoft.com/office/drawing/2014/main" id="{74FF5897-B163-410D-8B84-79D0AC2FD03C}"/>
                      </a:ext>
                    </a:extLst>
                  </p:cNvPr>
                  <p:cNvGrpSpPr/>
                  <p:nvPr/>
                </p:nvGrpSpPr>
                <p:grpSpPr>
                  <a:xfrm>
                    <a:off x="3091300" y="2809102"/>
                    <a:ext cx="346511" cy="346515"/>
                    <a:chOff x="1932810" y="1349835"/>
                    <a:chExt cx="185335" cy="185337"/>
                  </a:xfrm>
                  <a:solidFill>
                    <a:schemeClr val="tx2"/>
                  </a:solidFill>
                </p:grpSpPr>
                <p:sp>
                  <p:nvSpPr>
                    <p:cNvPr id="1487" name="Google Shape;18116;p1604">
                      <a:extLst>
                        <a:ext uri="{FF2B5EF4-FFF2-40B4-BE49-F238E27FC236}">
                          <a16:creationId xmlns:a16="http://schemas.microsoft.com/office/drawing/2014/main" id="{AD5A79C4-A856-487C-9CD2-FC6135D74D9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88" name="Google Shape;18117;p1604">
                      <a:extLst>
                        <a:ext uri="{FF2B5EF4-FFF2-40B4-BE49-F238E27FC236}">
                          <a16:creationId xmlns:a16="http://schemas.microsoft.com/office/drawing/2014/main" id="{9B7AAEB8-85A7-47AC-8622-6A01AF55BFE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426" name="Group 1425">
                  <a:extLst>
                    <a:ext uri="{FF2B5EF4-FFF2-40B4-BE49-F238E27FC236}">
                      <a16:creationId xmlns:a16="http://schemas.microsoft.com/office/drawing/2014/main" id="{77802157-627C-4514-B680-4828C913B2B3}"/>
                    </a:ext>
                  </a:extLst>
                </p:cNvPr>
                <p:cNvGrpSpPr>
                  <a:grpSpLocks/>
                </p:cNvGrpSpPr>
                <p:nvPr/>
              </p:nvGrpSpPr>
              <p:grpSpPr>
                <a:xfrm>
                  <a:off x="10930685" y="4330888"/>
                  <a:ext cx="454032" cy="436509"/>
                  <a:chOff x="2511970" y="2806214"/>
                  <a:chExt cx="2598626" cy="2498332"/>
                </a:xfrm>
              </p:grpSpPr>
              <p:grpSp>
                <p:nvGrpSpPr>
                  <p:cNvPr id="1453" name="Google Shape;18115;p1604">
                    <a:extLst>
                      <a:ext uri="{FF2B5EF4-FFF2-40B4-BE49-F238E27FC236}">
                        <a16:creationId xmlns:a16="http://schemas.microsoft.com/office/drawing/2014/main" id="{74056B19-F9F1-49C8-A4EC-2A0F007A511F}"/>
                      </a:ext>
                    </a:extLst>
                  </p:cNvPr>
                  <p:cNvGrpSpPr/>
                  <p:nvPr/>
                </p:nvGrpSpPr>
                <p:grpSpPr>
                  <a:xfrm>
                    <a:off x="4214405" y="2806214"/>
                    <a:ext cx="346511" cy="346515"/>
                    <a:chOff x="1932810" y="1349835"/>
                    <a:chExt cx="185335" cy="185337"/>
                  </a:xfrm>
                  <a:solidFill>
                    <a:schemeClr val="tx2"/>
                  </a:solidFill>
                </p:grpSpPr>
                <p:sp>
                  <p:nvSpPr>
                    <p:cNvPr id="1476" name="Google Shape;18116;p1604">
                      <a:extLst>
                        <a:ext uri="{FF2B5EF4-FFF2-40B4-BE49-F238E27FC236}">
                          <a16:creationId xmlns:a16="http://schemas.microsoft.com/office/drawing/2014/main" id="{BE3B9D91-2E94-4C8D-B853-F6C4D5E43AE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77" name="Google Shape;18117;p1604">
                      <a:extLst>
                        <a:ext uri="{FF2B5EF4-FFF2-40B4-BE49-F238E27FC236}">
                          <a16:creationId xmlns:a16="http://schemas.microsoft.com/office/drawing/2014/main" id="{27399208-3C2F-44A3-9A0F-232B88ACF6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454" name="Oval 1453">
                    <a:extLst>
                      <a:ext uri="{FF2B5EF4-FFF2-40B4-BE49-F238E27FC236}">
                        <a16:creationId xmlns:a16="http://schemas.microsoft.com/office/drawing/2014/main" id="{40A19764-B122-4026-9A08-D5DE9F026284}"/>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455" name="Google Shape;18115;p1604">
                    <a:extLst>
                      <a:ext uri="{FF2B5EF4-FFF2-40B4-BE49-F238E27FC236}">
                        <a16:creationId xmlns:a16="http://schemas.microsoft.com/office/drawing/2014/main" id="{8EAA78AA-996B-4543-86C0-1BCEBC4301D2}"/>
                      </a:ext>
                    </a:extLst>
                  </p:cNvPr>
                  <p:cNvGrpSpPr/>
                  <p:nvPr/>
                </p:nvGrpSpPr>
                <p:grpSpPr>
                  <a:xfrm>
                    <a:off x="4402332" y="4548551"/>
                    <a:ext cx="346511" cy="346515"/>
                    <a:chOff x="1932810" y="1349835"/>
                    <a:chExt cx="185335" cy="185337"/>
                  </a:xfrm>
                  <a:solidFill>
                    <a:schemeClr val="tx2"/>
                  </a:solidFill>
                </p:grpSpPr>
                <p:sp>
                  <p:nvSpPr>
                    <p:cNvPr id="1474" name="Google Shape;18116;p1604">
                      <a:extLst>
                        <a:ext uri="{FF2B5EF4-FFF2-40B4-BE49-F238E27FC236}">
                          <a16:creationId xmlns:a16="http://schemas.microsoft.com/office/drawing/2014/main" id="{1DFC5DAE-F464-4B0A-A912-716D7DF0F01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75" name="Google Shape;18117;p1604">
                      <a:extLst>
                        <a:ext uri="{FF2B5EF4-FFF2-40B4-BE49-F238E27FC236}">
                          <a16:creationId xmlns:a16="http://schemas.microsoft.com/office/drawing/2014/main" id="{C4658284-E041-44D6-8087-86C7D1FEEED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56" name="Google Shape;18115;p1604">
                    <a:extLst>
                      <a:ext uri="{FF2B5EF4-FFF2-40B4-BE49-F238E27FC236}">
                        <a16:creationId xmlns:a16="http://schemas.microsoft.com/office/drawing/2014/main" id="{FC0A494E-5165-4E09-9254-0FC3E2120905}"/>
                      </a:ext>
                    </a:extLst>
                  </p:cNvPr>
                  <p:cNvGrpSpPr/>
                  <p:nvPr/>
                </p:nvGrpSpPr>
                <p:grpSpPr>
                  <a:xfrm>
                    <a:off x="3578880" y="4958031"/>
                    <a:ext cx="346511" cy="346515"/>
                    <a:chOff x="1932810" y="1349835"/>
                    <a:chExt cx="185335" cy="185337"/>
                  </a:xfrm>
                  <a:solidFill>
                    <a:schemeClr val="tx2"/>
                  </a:solidFill>
                </p:grpSpPr>
                <p:sp>
                  <p:nvSpPr>
                    <p:cNvPr id="1472" name="Google Shape;18116;p1604">
                      <a:extLst>
                        <a:ext uri="{FF2B5EF4-FFF2-40B4-BE49-F238E27FC236}">
                          <a16:creationId xmlns:a16="http://schemas.microsoft.com/office/drawing/2014/main" id="{68A21147-7BEA-4BC0-ACE6-BAFA6BE6A7B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73" name="Google Shape;18117;p1604">
                      <a:extLst>
                        <a:ext uri="{FF2B5EF4-FFF2-40B4-BE49-F238E27FC236}">
                          <a16:creationId xmlns:a16="http://schemas.microsoft.com/office/drawing/2014/main" id="{4DDFB424-30AE-4AF1-977D-5B0BE073177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57" name="Google Shape;18115;p1604">
                    <a:extLst>
                      <a:ext uri="{FF2B5EF4-FFF2-40B4-BE49-F238E27FC236}">
                        <a16:creationId xmlns:a16="http://schemas.microsoft.com/office/drawing/2014/main" id="{C142DFEF-5A12-4BEF-8D1D-B72F9BC86E6A}"/>
                      </a:ext>
                    </a:extLst>
                  </p:cNvPr>
                  <p:cNvGrpSpPr/>
                  <p:nvPr/>
                </p:nvGrpSpPr>
                <p:grpSpPr>
                  <a:xfrm>
                    <a:off x="2511970" y="3644968"/>
                    <a:ext cx="346511" cy="346515"/>
                    <a:chOff x="1932810" y="1349835"/>
                    <a:chExt cx="185335" cy="185337"/>
                  </a:xfrm>
                  <a:solidFill>
                    <a:schemeClr val="tx2"/>
                  </a:solidFill>
                </p:grpSpPr>
                <p:sp>
                  <p:nvSpPr>
                    <p:cNvPr id="1470" name="Google Shape;18116;p1604">
                      <a:extLst>
                        <a:ext uri="{FF2B5EF4-FFF2-40B4-BE49-F238E27FC236}">
                          <a16:creationId xmlns:a16="http://schemas.microsoft.com/office/drawing/2014/main" id="{78C6BE13-4C9E-4C7C-A5E2-48F5FF7D33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71" name="Google Shape;18117;p1604">
                      <a:extLst>
                        <a:ext uri="{FF2B5EF4-FFF2-40B4-BE49-F238E27FC236}">
                          <a16:creationId xmlns:a16="http://schemas.microsoft.com/office/drawing/2014/main" id="{B5708E3B-2910-4FC2-91B6-B2FF5DD6DBB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58" name="Google Shape;18115;p1604">
                    <a:extLst>
                      <a:ext uri="{FF2B5EF4-FFF2-40B4-BE49-F238E27FC236}">
                        <a16:creationId xmlns:a16="http://schemas.microsoft.com/office/drawing/2014/main" id="{426F4509-31CE-4F0B-8B8C-3A6404B1DF67}"/>
                      </a:ext>
                    </a:extLst>
                  </p:cNvPr>
                  <p:cNvGrpSpPr/>
                  <p:nvPr/>
                </p:nvGrpSpPr>
                <p:grpSpPr>
                  <a:xfrm>
                    <a:off x="4754363" y="4548551"/>
                    <a:ext cx="346511" cy="346515"/>
                    <a:chOff x="1932810" y="1349835"/>
                    <a:chExt cx="185335" cy="185337"/>
                  </a:xfrm>
                  <a:solidFill>
                    <a:schemeClr val="tx2"/>
                  </a:solidFill>
                </p:grpSpPr>
                <p:sp>
                  <p:nvSpPr>
                    <p:cNvPr id="1468" name="Google Shape;18116;p1604">
                      <a:extLst>
                        <a:ext uri="{FF2B5EF4-FFF2-40B4-BE49-F238E27FC236}">
                          <a16:creationId xmlns:a16="http://schemas.microsoft.com/office/drawing/2014/main" id="{09F066EE-8B9B-49B1-9F05-CE71781DC8C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69" name="Google Shape;18117;p1604">
                      <a:extLst>
                        <a:ext uri="{FF2B5EF4-FFF2-40B4-BE49-F238E27FC236}">
                          <a16:creationId xmlns:a16="http://schemas.microsoft.com/office/drawing/2014/main" id="{80DB93DB-A9F0-4338-86FA-5365903861F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59" name="Google Shape;18115;p1604">
                    <a:extLst>
                      <a:ext uri="{FF2B5EF4-FFF2-40B4-BE49-F238E27FC236}">
                        <a16:creationId xmlns:a16="http://schemas.microsoft.com/office/drawing/2014/main" id="{29DC18CA-A986-4605-B469-A5917211686D}"/>
                      </a:ext>
                    </a:extLst>
                  </p:cNvPr>
                  <p:cNvGrpSpPr/>
                  <p:nvPr/>
                </p:nvGrpSpPr>
                <p:grpSpPr>
                  <a:xfrm>
                    <a:off x="2644688" y="4493428"/>
                    <a:ext cx="346511" cy="346515"/>
                    <a:chOff x="1932810" y="1349835"/>
                    <a:chExt cx="185335" cy="185337"/>
                  </a:xfrm>
                  <a:solidFill>
                    <a:schemeClr val="tx2"/>
                  </a:solidFill>
                </p:grpSpPr>
                <p:sp>
                  <p:nvSpPr>
                    <p:cNvPr id="1466" name="Google Shape;18116;p1604">
                      <a:extLst>
                        <a:ext uri="{FF2B5EF4-FFF2-40B4-BE49-F238E27FC236}">
                          <a16:creationId xmlns:a16="http://schemas.microsoft.com/office/drawing/2014/main" id="{FAD5175D-956F-48BA-BB5B-2D25EF80CF6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67" name="Google Shape;18117;p1604">
                      <a:extLst>
                        <a:ext uri="{FF2B5EF4-FFF2-40B4-BE49-F238E27FC236}">
                          <a16:creationId xmlns:a16="http://schemas.microsoft.com/office/drawing/2014/main" id="{E92C961F-7E08-484A-8455-84AC32E8A08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60" name="Google Shape;18115;p1604">
                    <a:extLst>
                      <a:ext uri="{FF2B5EF4-FFF2-40B4-BE49-F238E27FC236}">
                        <a16:creationId xmlns:a16="http://schemas.microsoft.com/office/drawing/2014/main" id="{FD7D4156-48A5-4ECF-B988-D84D28781C44}"/>
                      </a:ext>
                    </a:extLst>
                  </p:cNvPr>
                  <p:cNvGrpSpPr/>
                  <p:nvPr/>
                </p:nvGrpSpPr>
                <p:grpSpPr>
                  <a:xfrm>
                    <a:off x="4764085" y="3612568"/>
                    <a:ext cx="346511" cy="346515"/>
                    <a:chOff x="1932810" y="1349835"/>
                    <a:chExt cx="185335" cy="185337"/>
                  </a:xfrm>
                  <a:solidFill>
                    <a:schemeClr val="tx2"/>
                  </a:solidFill>
                </p:grpSpPr>
                <p:sp>
                  <p:nvSpPr>
                    <p:cNvPr id="1464" name="Google Shape;18116;p1604">
                      <a:extLst>
                        <a:ext uri="{FF2B5EF4-FFF2-40B4-BE49-F238E27FC236}">
                          <a16:creationId xmlns:a16="http://schemas.microsoft.com/office/drawing/2014/main" id="{DCD13BB4-EB95-4F7D-BF0C-19F3F130DCA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65" name="Google Shape;18117;p1604">
                      <a:extLst>
                        <a:ext uri="{FF2B5EF4-FFF2-40B4-BE49-F238E27FC236}">
                          <a16:creationId xmlns:a16="http://schemas.microsoft.com/office/drawing/2014/main" id="{2EE44A08-6E4F-4EB1-9E6E-C4690703804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61" name="Google Shape;18115;p1604">
                    <a:extLst>
                      <a:ext uri="{FF2B5EF4-FFF2-40B4-BE49-F238E27FC236}">
                        <a16:creationId xmlns:a16="http://schemas.microsoft.com/office/drawing/2014/main" id="{A7C70EAB-0B61-4388-990D-F2D53DABC4F3}"/>
                      </a:ext>
                    </a:extLst>
                  </p:cNvPr>
                  <p:cNvGrpSpPr/>
                  <p:nvPr/>
                </p:nvGrpSpPr>
                <p:grpSpPr>
                  <a:xfrm>
                    <a:off x="3091300" y="2809102"/>
                    <a:ext cx="346511" cy="346515"/>
                    <a:chOff x="1932810" y="1349835"/>
                    <a:chExt cx="185335" cy="185337"/>
                  </a:xfrm>
                  <a:solidFill>
                    <a:schemeClr val="tx2"/>
                  </a:solidFill>
                </p:grpSpPr>
                <p:sp>
                  <p:nvSpPr>
                    <p:cNvPr id="1462" name="Google Shape;18116;p1604">
                      <a:extLst>
                        <a:ext uri="{FF2B5EF4-FFF2-40B4-BE49-F238E27FC236}">
                          <a16:creationId xmlns:a16="http://schemas.microsoft.com/office/drawing/2014/main" id="{8E4EE6E3-0636-45FC-A77B-28EEBB1555F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63" name="Google Shape;18117;p1604">
                      <a:extLst>
                        <a:ext uri="{FF2B5EF4-FFF2-40B4-BE49-F238E27FC236}">
                          <a16:creationId xmlns:a16="http://schemas.microsoft.com/office/drawing/2014/main" id="{C391BE38-7FC9-4D57-880E-8A0F5467402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427" name="Group 1426">
                  <a:extLst>
                    <a:ext uri="{FF2B5EF4-FFF2-40B4-BE49-F238E27FC236}">
                      <a16:creationId xmlns:a16="http://schemas.microsoft.com/office/drawing/2014/main" id="{296CC81A-56AC-4AD3-A7CC-49CAB4F1B07A}"/>
                    </a:ext>
                  </a:extLst>
                </p:cNvPr>
                <p:cNvGrpSpPr>
                  <a:grpSpLocks/>
                </p:cNvGrpSpPr>
                <p:nvPr/>
              </p:nvGrpSpPr>
              <p:grpSpPr>
                <a:xfrm>
                  <a:off x="10930685" y="4775215"/>
                  <a:ext cx="454032" cy="436509"/>
                  <a:chOff x="2511970" y="2806214"/>
                  <a:chExt cx="2598626" cy="2498332"/>
                </a:xfrm>
              </p:grpSpPr>
              <p:grpSp>
                <p:nvGrpSpPr>
                  <p:cNvPr id="1428" name="Google Shape;18115;p1604">
                    <a:extLst>
                      <a:ext uri="{FF2B5EF4-FFF2-40B4-BE49-F238E27FC236}">
                        <a16:creationId xmlns:a16="http://schemas.microsoft.com/office/drawing/2014/main" id="{65FA3287-5463-4373-B452-B1E527ED5880}"/>
                      </a:ext>
                    </a:extLst>
                  </p:cNvPr>
                  <p:cNvGrpSpPr/>
                  <p:nvPr/>
                </p:nvGrpSpPr>
                <p:grpSpPr>
                  <a:xfrm>
                    <a:off x="4214405" y="2806214"/>
                    <a:ext cx="346511" cy="346515"/>
                    <a:chOff x="1932810" y="1349835"/>
                    <a:chExt cx="185335" cy="185337"/>
                  </a:xfrm>
                  <a:solidFill>
                    <a:schemeClr val="tx2"/>
                  </a:solidFill>
                </p:grpSpPr>
                <p:sp>
                  <p:nvSpPr>
                    <p:cNvPr id="1451" name="Google Shape;18116;p1604">
                      <a:extLst>
                        <a:ext uri="{FF2B5EF4-FFF2-40B4-BE49-F238E27FC236}">
                          <a16:creationId xmlns:a16="http://schemas.microsoft.com/office/drawing/2014/main" id="{AD0BD1BC-3434-4705-8E5C-FE618204A73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52" name="Google Shape;18117;p1604">
                      <a:extLst>
                        <a:ext uri="{FF2B5EF4-FFF2-40B4-BE49-F238E27FC236}">
                          <a16:creationId xmlns:a16="http://schemas.microsoft.com/office/drawing/2014/main" id="{1FA04FC9-97FB-4C9F-AB88-6806CF386C6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429" name="Oval 1428">
                    <a:extLst>
                      <a:ext uri="{FF2B5EF4-FFF2-40B4-BE49-F238E27FC236}">
                        <a16:creationId xmlns:a16="http://schemas.microsoft.com/office/drawing/2014/main" id="{EC52BAF6-D7AF-46CF-A770-4C569CD25B20}"/>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430" name="Google Shape;18115;p1604">
                    <a:extLst>
                      <a:ext uri="{FF2B5EF4-FFF2-40B4-BE49-F238E27FC236}">
                        <a16:creationId xmlns:a16="http://schemas.microsoft.com/office/drawing/2014/main" id="{A63AAC3F-EE27-45C8-B1C7-476EDDCC8138}"/>
                      </a:ext>
                    </a:extLst>
                  </p:cNvPr>
                  <p:cNvGrpSpPr/>
                  <p:nvPr/>
                </p:nvGrpSpPr>
                <p:grpSpPr>
                  <a:xfrm>
                    <a:off x="4402332" y="4548551"/>
                    <a:ext cx="346511" cy="346515"/>
                    <a:chOff x="1932810" y="1349835"/>
                    <a:chExt cx="185335" cy="185337"/>
                  </a:xfrm>
                  <a:solidFill>
                    <a:schemeClr val="tx2"/>
                  </a:solidFill>
                </p:grpSpPr>
                <p:sp>
                  <p:nvSpPr>
                    <p:cNvPr id="1449" name="Google Shape;18116;p1604">
                      <a:extLst>
                        <a:ext uri="{FF2B5EF4-FFF2-40B4-BE49-F238E27FC236}">
                          <a16:creationId xmlns:a16="http://schemas.microsoft.com/office/drawing/2014/main" id="{B4C07A7E-FCAA-42B3-8C6F-B6A1D97B68D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50" name="Google Shape;18117;p1604">
                      <a:extLst>
                        <a:ext uri="{FF2B5EF4-FFF2-40B4-BE49-F238E27FC236}">
                          <a16:creationId xmlns:a16="http://schemas.microsoft.com/office/drawing/2014/main" id="{708F838A-77A9-4A7A-9A16-9FAF0C2593F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31" name="Google Shape;18115;p1604">
                    <a:extLst>
                      <a:ext uri="{FF2B5EF4-FFF2-40B4-BE49-F238E27FC236}">
                        <a16:creationId xmlns:a16="http://schemas.microsoft.com/office/drawing/2014/main" id="{043BD447-7C42-4D12-80BD-1FFBC5C45BC3}"/>
                      </a:ext>
                    </a:extLst>
                  </p:cNvPr>
                  <p:cNvGrpSpPr/>
                  <p:nvPr/>
                </p:nvGrpSpPr>
                <p:grpSpPr>
                  <a:xfrm>
                    <a:off x="3578880" y="4958031"/>
                    <a:ext cx="346511" cy="346515"/>
                    <a:chOff x="1932810" y="1349835"/>
                    <a:chExt cx="185335" cy="185337"/>
                  </a:xfrm>
                  <a:solidFill>
                    <a:schemeClr val="tx2"/>
                  </a:solidFill>
                </p:grpSpPr>
                <p:sp>
                  <p:nvSpPr>
                    <p:cNvPr id="1447" name="Google Shape;18116;p1604">
                      <a:extLst>
                        <a:ext uri="{FF2B5EF4-FFF2-40B4-BE49-F238E27FC236}">
                          <a16:creationId xmlns:a16="http://schemas.microsoft.com/office/drawing/2014/main" id="{7C82C53E-2BCF-427F-B706-EB945E1559D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48" name="Google Shape;18117;p1604">
                      <a:extLst>
                        <a:ext uri="{FF2B5EF4-FFF2-40B4-BE49-F238E27FC236}">
                          <a16:creationId xmlns:a16="http://schemas.microsoft.com/office/drawing/2014/main" id="{ADAAEDFC-6AA5-4DDB-932E-DE42F4B1723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32" name="Google Shape;18115;p1604">
                    <a:extLst>
                      <a:ext uri="{FF2B5EF4-FFF2-40B4-BE49-F238E27FC236}">
                        <a16:creationId xmlns:a16="http://schemas.microsoft.com/office/drawing/2014/main" id="{94A8A94B-0DC0-499F-8C7C-0268C131279E}"/>
                      </a:ext>
                    </a:extLst>
                  </p:cNvPr>
                  <p:cNvGrpSpPr/>
                  <p:nvPr/>
                </p:nvGrpSpPr>
                <p:grpSpPr>
                  <a:xfrm>
                    <a:off x="2511970" y="3644968"/>
                    <a:ext cx="346511" cy="346515"/>
                    <a:chOff x="1932810" y="1349835"/>
                    <a:chExt cx="185335" cy="185337"/>
                  </a:xfrm>
                  <a:solidFill>
                    <a:schemeClr val="tx2"/>
                  </a:solidFill>
                </p:grpSpPr>
                <p:sp>
                  <p:nvSpPr>
                    <p:cNvPr id="1445" name="Google Shape;18116;p1604">
                      <a:extLst>
                        <a:ext uri="{FF2B5EF4-FFF2-40B4-BE49-F238E27FC236}">
                          <a16:creationId xmlns:a16="http://schemas.microsoft.com/office/drawing/2014/main" id="{C1F38C70-4707-45A0-8F0C-15AA0327C03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46" name="Google Shape;18117;p1604">
                      <a:extLst>
                        <a:ext uri="{FF2B5EF4-FFF2-40B4-BE49-F238E27FC236}">
                          <a16:creationId xmlns:a16="http://schemas.microsoft.com/office/drawing/2014/main" id="{7CE52C63-BD24-453C-BCF1-042A47C64E4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33" name="Google Shape;18115;p1604">
                    <a:extLst>
                      <a:ext uri="{FF2B5EF4-FFF2-40B4-BE49-F238E27FC236}">
                        <a16:creationId xmlns:a16="http://schemas.microsoft.com/office/drawing/2014/main" id="{1E85FB9F-D216-4252-A4F7-102A6D13B48C}"/>
                      </a:ext>
                    </a:extLst>
                  </p:cNvPr>
                  <p:cNvGrpSpPr/>
                  <p:nvPr/>
                </p:nvGrpSpPr>
                <p:grpSpPr>
                  <a:xfrm>
                    <a:off x="4754363" y="4548551"/>
                    <a:ext cx="346511" cy="346515"/>
                    <a:chOff x="1932810" y="1349835"/>
                    <a:chExt cx="185335" cy="185337"/>
                  </a:xfrm>
                  <a:solidFill>
                    <a:schemeClr val="tx2"/>
                  </a:solidFill>
                </p:grpSpPr>
                <p:sp>
                  <p:nvSpPr>
                    <p:cNvPr id="1443" name="Google Shape;18116;p1604">
                      <a:extLst>
                        <a:ext uri="{FF2B5EF4-FFF2-40B4-BE49-F238E27FC236}">
                          <a16:creationId xmlns:a16="http://schemas.microsoft.com/office/drawing/2014/main" id="{11F98AA0-92F9-4A54-A4CD-A97A88EC246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44" name="Google Shape;18117;p1604">
                      <a:extLst>
                        <a:ext uri="{FF2B5EF4-FFF2-40B4-BE49-F238E27FC236}">
                          <a16:creationId xmlns:a16="http://schemas.microsoft.com/office/drawing/2014/main" id="{EE226634-74BE-4A92-BC0E-846B4B7043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34" name="Google Shape;18115;p1604">
                    <a:extLst>
                      <a:ext uri="{FF2B5EF4-FFF2-40B4-BE49-F238E27FC236}">
                        <a16:creationId xmlns:a16="http://schemas.microsoft.com/office/drawing/2014/main" id="{2F626E68-BF6B-453A-A746-FAD6BEC2495F}"/>
                      </a:ext>
                    </a:extLst>
                  </p:cNvPr>
                  <p:cNvGrpSpPr/>
                  <p:nvPr/>
                </p:nvGrpSpPr>
                <p:grpSpPr>
                  <a:xfrm>
                    <a:off x="2644688" y="4493428"/>
                    <a:ext cx="346511" cy="346515"/>
                    <a:chOff x="1932810" y="1349835"/>
                    <a:chExt cx="185335" cy="185337"/>
                  </a:xfrm>
                  <a:solidFill>
                    <a:schemeClr val="tx2"/>
                  </a:solidFill>
                </p:grpSpPr>
                <p:sp>
                  <p:nvSpPr>
                    <p:cNvPr id="1441" name="Google Shape;18116;p1604">
                      <a:extLst>
                        <a:ext uri="{FF2B5EF4-FFF2-40B4-BE49-F238E27FC236}">
                          <a16:creationId xmlns:a16="http://schemas.microsoft.com/office/drawing/2014/main" id="{30BEE5B1-D913-4DD2-AC2B-BBF6C7F8F6D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42" name="Google Shape;18117;p1604">
                      <a:extLst>
                        <a:ext uri="{FF2B5EF4-FFF2-40B4-BE49-F238E27FC236}">
                          <a16:creationId xmlns:a16="http://schemas.microsoft.com/office/drawing/2014/main" id="{AD008EDF-F10D-440C-994A-84F5D63C020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35" name="Google Shape;18115;p1604">
                    <a:extLst>
                      <a:ext uri="{FF2B5EF4-FFF2-40B4-BE49-F238E27FC236}">
                        <a16:creationId xmlns:a16="http://schemas.microsoft.com/office/drawing/2014/main" id="{31D9460E-9328-4009-B315-DCFCBD3CCEDF}"/>
                      </a:ext>
                    </a:extLst>
                  </p:cNvPr>
                  <p:cNvGrpSpPr/>
                  <p:nvPr/>
                </p:nvGrpSpPr>
                <p:grpSpPr>
                  <a:xfrm>
                    <a:off x="4764085" y="3612568"/>
                    <a:ext cx="346511" cy="346515"/>
                    <a:chOff x="1932810" y="1349835"/>
                    <a:chExt cx="185335" cy="185337"/>
                  </a:xfrm>
                  <a:solidFill>
                    <a:schemeClr val="tx2"/>
                  </a:solidFill>
                </p:grpSpPr>
                <p:sp>
                  <p:nvSpPr>
                    <p:cNvPr id="1439" name="Google Shape;18116;p1604">
                      <a:extLst>
                        <a:ext uri="{FF2B5EF4-FFF2-40B4-BE49-F238E27FC236}">
                          <a16:creationId xmlns:a16="http://schemas.microsoft.com/office/drawing/2014/main" id="{91207042-A5AD-46EE-AC7F-45E6F5D686D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40" name="Google Shape;18117;p1604">
                      <a:extLst>
                        <a:ext uri="{FF2B5EF4-FFF2-40B4-BE49-F238E27FC236}">
                          <a16:creationId xmlns:a16="http://schemas.microsoft.com/office/drawing/2014/main" id="{BFD13FE1-9FDD-4E94-B7D5-9A8D56E3D81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436" name="Google Shape;18115;p1604">
                    <a:extLst>
                      <a:ext uri="{FF2B5EF4-FFF2-40B4-BE49-F238E27FC236}">
                        <a16:creationId xmlns:a16="http://schemas.microsoft.com/office/drawing/2014/main" id="{F687BAA3-9666-42FE-958F-1E7BA14816FD}"/>
                      </a:ext>
                    </a:extLst>
                  </p:cNvPr>
                  <p:cNvGrpSpPr/>
                  <p:nvPr/>
                </p:nvGrpSpPr>
                <p:grpSpPr>
                  <a:xfrm>
                    <a:off x="3091300" y="2809102"/>
                    <a:ext cx="346511" cy="346515"/>
                    <a:chOff x="1932810" y="1349835"/>
                    <a:chExt cx="185335" cy="185337"/>
                  </a:xfrm>
                  <a:solidFill>
                    <a:schemeClr val="tx2"/>
                  </a:solidFill>
                </p:grpSpPr>
                <p:sp>
                  <p:nvSpPr>
                    <p:cNvPr id="1437" name="Google Shape;18116;p1604">
                      <a:extLst>
                        <a:ext uri="{FF2B5EF4-FFF2-40B4-BE49-F238E27FC236}">
                          <a16:creationId xmlns:a16="http://schemas.microsoft.com/office/drawing/2014/main" id="{5B8C5D7A-26A5-4039-8E29-9EA7650B47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438" name="Google Shape;18117;p1604">
                      <a:extLst>
                        <a:ext uri="{FF2B5EF4-FFF2-40B4-BE49-F238E27FC236}">
                          <a16:creationId xmlns:a16="http://schemas.microsoft.com/office/drawing/2014/main" id="{F795AC48-C23C-40C6-A6F6-9A68D97D252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sp>
            <p:nvSpPr>
              <p:cNvPr id="1423" name="Rectangle 1422">
                <a:extLst>
                  <a:ext uri="{FF2B5EF4-FFF2-40B4-BE49-F238E27FC236}">
                    <a16:creationId xmlns:a16="http://schemas.microsoft.com/office/drawing/2014/main" id="{A921425F-5407-41E9-A06B-B699436D8428}"/>
                  </a:ext>
                </a:extLst>
              </p:cNvPr>
              <p:cNvSpPr/>
              <p:nvPr/>
            </p:nvSpPr>
            <p:spPr>
              <a:xfrm>
                <a:off x="11203026" y="3542098"/>
                <a:ext cx="611928" cy="29523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5098" tIns="47549" rIns="95098" bIns="47549"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 PM</a:t>
                </a:r>
              </a:p>
              <a:p>
                <a:pPr marR="0" lvl="0" algn="ctr" defTabSz="914400" rtl="0" eaLnBrk="1" fontAlgn="auto" latinLnBrk="0" hangingPunct="1">
                  <a:lnSpc>
                    <a:spcPct val="100000"/>
                  </a:lnSpc>
                  <a:spcBef>
                    <a:spcPts val="0"/>
                  </a:spcBef>
                  <a:spcAft>
                    <a:spcPts val="0"/>
                  </a:spcAft>
                  <a:buClrTx/>
                  <a:buSzTx/>
                  <a:buFontTx/>
                  <a:buNone/>
                  <a:tabLst/>
                  <a:defRPr/>
                </a:pPr>
                <a:r>
                  <a:rPr lang="en-US" sz="700" dirty="0">
                    <a:solidFill>
                      <a:srgbClr val="00148C"/>
                    </a:solidFill>
                    <a:latin typeface="Arial"/>
                    <a:cs typeface="Arial"/>
                  </a:rPr>
                  <a:t>(</a:t>
                </a:r>
                <a:r>
                  <a:rPr lang="en-US" sz="700" dirty="0" err="1">
                    <a:solidFill>
                      <a:srgbClr val="00148C"/>
                    </a:solidFill>
                    <a:latin typeface="Arial"/>
                    <a:cs typeface="Arial"/>
                  </a:rPr>
                  <a:t>Fedor</a:t>
                </a:r>
                <a:r>
                  <a:rPr lang="en-US" sz="700" dirty="0">
                    <a:solidFill>
                      <a:srgbClr val="00148C"/>
                    </a:solidFill>
                    <a:latin typeface="Arial"/>
                    <a:cs typeface="Arial"/>
                  </a:rPr>
                  <a:t> </a:t>
                </a:r>
              </a:p>
              <a:p>
                <a:pPr marR="0" lvl="0" algn="ctr" defTabSz="914400" rtl="0" eaLnBrk="1" fontAlgn="auto" latinLnBrk="0" hangingPunct="1">
                  <a:lnSpc>
                    <a:spcPct val="100000"/>
                  </a:lnSpc>
                  <a:spcBef>
                    <a:spcPts val="0"/>
                  </a:spcBef>
                  <a:spcAft>
                    <a:spcPts val="0"/>
                  </a:spcAft>
                  <a:buClrTx/>
                  <a:buSzTx/>
                  <a:buFontTx/>
                  <a:buNone/>
                  <a:tabLst/>
                  <a:defRPr/>
                </a:pPr>
                <a:r>
                  <a:rPr lang="en-US" sz="700" dirty="0" err="1">
                    <a:solidFill>
                      <a:srgbClr val="00148C"/>
                    </a:solidFill>
                    <a:latin typeface="Arial"/>
                    <a:cs typeface="Arial"/>
                  </a:rPr>
                  <a:t>Petrenko</a:t>
                </a:r>
                <a:r>
                  <a:rPr lang="en-US" sz="700" dirty="0">
                    <a:solidFill>
                      <a:srgbClr val="00148C"/>
                    </a:solidFill>
                    <a:latin typeface="Arial"/>
                    <a:cs typeface="Arial"/>
                  </a:rPr>
                  <a:t>)</a:t>
                </a:r>
                <a:endParaRPr kumimoji="0" lang="en-US" sz="700" i="0" u="none" strike="noStrike" kern="1200" cap="none" spc="0" normalizeH="0" baseline="0" noProof="0" dirty="0">
                  <a:ln>
                    <a:noFill/>
                  </a:ln>
                  <a:solidFill>
                    <a:srgbClr val="00148C"/>
                  </a:solidFill>
                  <a:effectLst/>
                  <a:uLnTx/>
                  <a:uFillTx/>
                  <a:latin typeface="Arial"/>
                  <a:ea typeface="+mn-ea"/>
                  <a:cs typeface="Arial"/>
                </a:endParaRPr>
              </a:p>
            </p:txBody>
          </p:sp>
          <p:sp>
            <p:nvSpPr>
              <p:cNvPr id="1424" name="Rectangle 1423">
                <a:extLst>
                  <a:ext uri="{FF2B5EF4-FFF2-40B4-BE49-F238E27FC236}">
                    <a16:creationId xmlns:a16="http://schemas.microsoft.com/office/drawing/2014/main" id="{417995A4-7580-4CDC-98EA-567DC8B76A4F}"/>
                  </a:ext>
                </a:extLst>
              </p:cNvPr>
              <p:cNvSpPr/>
              <p:nvPr/>
            </p:nvSpPr>
            <p:spPr>
              <a:xfrm>
                <a:off x="10309234" y="3513151"/>
                <a:ext cx="1008219" cy="31554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r>
                  <a:rPr kumimoji="0" lang="en-US" sz="600" i="0" u="none" strike="noStrike" kern="1200" cap="none" spc="0" normalizeH="0" baseline="0" noProof="0" dirty="0">
                    <a:ln>
                      <a:noFill/>
                    </a:ln>
                    <a:solidFill>
                      <a:srgbClr val="00148C"/>
                    </a:solidFill>
                    <a:effectLst/>
                    <a:uLnTx/>
                    <a:uFillTx/>
                    <a:latin typeface="Arial"/>
                    <a:ea typeface="+mn-ea"/>
                    <a:cs typeface="Arial"/>
                  </a:rPr>
                  <a:t> </a:t>
                </a:r>
                <a:r>
                  <a:rPr kumimoji="0" lang="en-US" sz="700" i="0" u="none" strike="noStrike" kern="1200" cap="none" spc="0" normalizeH="0" baseline="0" noProof="0" dirty="0">
                    <a:ln>
                      <a:noFill/>
                    </a:ln>
                    <a:solidFill>
                      <a:srgbClr val="00148C"/>
                    </a:solidFill>
                    <a:effectLst/>
                    <a:uLnTx/>
                    <a:uFillTx/>
                    <a:latin typeface="Arial"/>
                    <a:ea typeface="+mn-ea"/>
                    <a:cs typeface="Arial"/>
                  </a:rPr>
                  <a:t>(Michelle Pittman)</a:t>
                </a:r>
              </a:p>
            </p:txBody>
          </p:sp>
        </p:grpSp>
        <p:grpSp>
          <p:nvGrpSpPr>
            <p:cNvPr id="1418" name="Google Shape;18115;p1604">
              <a:extLst>
                <a:ext uri="{FF2B5EF4-FFF2-40B4-BE49-F238E27FC236}">
                  <a16:creationId xmlns:a16="http://schemas.microsoft.com/office/drawing/2014/main" id="{46C43D3F-048D-45E0-8C5E-B017E29C0FF9}"/>
                </a:ext>
              </a:extLst>
            </p:cNvPr>
            <p:cNvGrpSpPr/>
            <p:nvPr/>
          </p:nvGrpSpPr>
          <p:grpSpPr>
            <a:xfrm>
              <a:off x="10666919" y="3891575"/>
              <a:ext cx="217843" cy="217845"/>
              <a:chOff x="1932810" y="1349835"/>
              <a:chExt cx="185335" cy="185337"/>
            </a:xfrm>
            <a:solidFill>
              <a:srgbClr val="FFE02B"/>
            </a:solidFill>
          </p:grpSpPr>
          <p:sp>
            <p:nvSpPr>
              <p:cNvPr id="1419" name="Google Shape;18116;p1604">
                <a:extLst>
                  <a:ext uri="{FF2B5EF4-FFF2-40B4-BE49-F238E27FC236}">
                    <a16:creationId xmlns:a16="http://schemas.microsoft.com/office/drawing/2014/main" id="{03762198-F676-4167-AD80-4A8722F2A0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420" name="Google Shape;18117;p1604">
                <a:extLst>
                  <a:ext uri="{FF2B5EF4-FFF2-40B4-BE49-F238E27FC236}">
                    <a16:creationId xmlns:a16="http://schemas.microsoft.com/office/drawing/2014/main" id="{A1440B36-9F2A-4EBC-B4C7-3BDF8AED375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grpSp>
      <p:grpSp>
        <p:nvGrpSpPr>
          <p:cNvPr id="1503" name="Google Shape;18115;p1604">
            <a:extLst>
              <a:ext uri="{FF2B5EF4-FFF2-40B4-BE49-F238E27FC236}">
                <a16:creationId xmlns:a16="http://schemas.microsoft.com/office/drawing/2014/main" id="{9B220B0E-9F7A-4F82-B611-B812F0A5BE4C}"/>
              </a:ext>
            </a:extLst>
          </p:cNvPr>
          <p:cNvGrpSpPr/>
          <p:nvPr/>
        </p:nvGrpSpPr>
        <p:grpSpPr>
          <a:xfrm>
            <a:off x="2590301" y="3889564"/>
            <a:ext cx="217843" cy="217845"/>
            <a:chOff x="1932810" y="1349835"/>
            <a:chExt cx="185335" cy="185337"/>
          </a:xfrm>
          <a:solidFill>
            <a:srgbClr val="FFE02B"/>
          </a:solidFill>
        </p:grpSpPr>
        <p:sp>
          <p:nvSpPr>
            <p:cNvPr id="1504" name="Google Shape;18116;p1604">
              <a:extLst>
                <a:ext uri="{FF2B5EF4-FFF2-40B4-BE49-F238E27FC236}">
                  <a16:creationId xmlns:a16="http://schemas.microsoft.com/office/drawing/2014/main" id="{ACCA39D1-D2AC-4674-BB68-A121A49DE5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505" name="Google Shape;18117;p1604">
              <a:extLst>
                <a:ext uri="{FF2B5EF4-FFF2-40B4-BE49-F238E27FC236}">
                  <a16:creationId xmlns:a16="http://schemas.microsoft.com/office/drawing/2014/main" id="{64BBEB48-EC18-4212-8FC9-4C49B7AFF7A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grpSp>
        <p:nvGrpSpPr>
          <p:cNvPr id="1507" name="Group 1506">
            <a:extLst>
              <a:ext uri="{FF2B5EF4-FFF2-40B4-BE49-F238E27FC236}">
                <a16:creationId xmlns:a16="http://schemas.microsoft.com/office/drawing/2014/main" id="{AA47A4D3-C513-4E62-AEB6-3C3D35922D91}"/>
              </a:ext>
            </a:extLst>
          </p:cNvPr>
          <p:cNvGrpSpPr/>
          <p:nvPr/>
        </p:nvGrpSpPr>
        <p:grpSpPr>
          <a:xfrm>
            <a:off x="73281" y="3096169"/>
            <a:ext cx="1410296" cy="2080421"/>
            <a:chOff x="10309234" y="3096169"/>
            <a:chExt cx="1489085" cy="2080421"/>
          </a:xfrm>
        </p:grpSpPr>
        <p:sp>
          <p:nvSpPr>
            <p:cNvPr id="1511" name="Rectangle 1510">
              <a:extLst>
                <a:ext uri="{FF2B5EF4-FFF2-40B4-BE49-F238E27FC236}">
                  <a16:creationId xmlns:a16="http://schemas.microsoft.com/office/drawing/2014/main" id="{75241EF6-43D9-4069-863D-D5E73D7759E0}"/>
                </a:ext>
              </a:extLst>
            </p:cNvPr>
            <p:cNvSpPr/>
            <p:nvPr/>
          </p:nvSpPr>
          <p:spPr>
            <a:xfrm>
              <a:off x="10334381" y="3096169"/>
              <a:ext cx="1463938" cy="2080421"/>
            </a:xfrm>
            <a:prstGeom prst="rect">
              <a:avLst/>
            </a:prstGeom>
            <a:solidFill>
              <a:srgbClr val="F2F2F2"/>
            </a:solidFill>
            <a:ln w="9906"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t" anchorCtr="0" forceAA="0" compatLnSpc="1">
              <a:prstTxWarp prst="textNoShape">
                <a:avLst/>
              </a:prstTxWarp>
              <a:noAutofit/>
            </a:bodyPr>
            <a:lstStyle/>
            <a:p>
              <a:pPr algn="ctr"/>
              <a:r>
                <a:rPr lang="en-US" sz="1144" b="1" dirty="0" err="1">
                  <a:solidFill>
                    <a:srgbClr val="55555A"/>
                  </a:solidFill>
                </a:rPr>
                <a:t>Predictament</a:t>
              </a:r>
              <a:r>
                <a:rPr lang="en-US" sz="1144" b="1" dirty="0">
                  <a:solidFill>
                    <a:srgbClr val="55555A"/>
                  </a:solidFill>
                </a:rPr>
                <a:t> + </a:t>
              </a:r>
              <a:r>
                <a:rPr lang="en-US" sz="1144" b="1" dirty="0" err="1">
                  <a:solidFill>
                    <a:srgbClr val="55555A"/>
                  </a:solidFill>
                </a:rPr>
                <a:t>GridMD</a:t>
              </a:r>
              <a:endParaRPr lang="en-US" sz="1144" b="1" dirty="0">
                <a:solidFill>
                  <a:srgbClr val="55555A"/>
                </a:solidFill>
              </a:endParaRPr>
            </a:p>
          </p:txBody>
        </p:sp>
        <p:grpSp>
          <p:nvGrpSpPr>
            <p:cNvPr id="1512" name="Group 1511">
              <a:extLst>
                <a:ext uri="{FF2B5EF4-FFF2-40B4-BE49-F238E27FC236}">
                  <a16:creationId xmlns:a16="http://schemas.microsoft.com/office/drawing/2014/main" id="{BEB4A8AF-4D02-481F-94DE-561CC06FF938}"/>
                </a:ext>
              </a:extLst>
            </p:cNvPr>
            <p:cNvGrpSpPr/>
            <p:nvPr/>
          </p:nvGrpSpPr>
          <p:grpSpPr>
            <a:xfrm>
              <a:off x="10655053" y="4243526"/>
              <a:ext cx="862802" cy="880836"/>
              <a:chOff x="10521915" y="4330888"/>
              <a:chExt cx="862802" cy="880836"/>
            </a:xfrm>
          </p:grpSpPr>
          <p:grpSp>
            <p:nvGrpSpPr>
              <p:cNvPr id="1515" name="Group 1514">
                <a:extLst>
                  <a:ext uri="{FF2B5EF4-FFF2-40B4-BE49-F238E27FC236}">
                    <a16:creationId xmlns:a16="http://schemas.microsoft.com/office/drawing/2014/main" id="{4E65E9D6-39E9-4D27-96F8-DB8526FF5A12}"/>
                  </a:ext>
                </a:extLst>
              </p:cNvPr>
              <p:cNvGrpSpPr>
                <a:grpSpLocks/>
              </p:cNvGrpSpPr>
              <p:nvPr/>
            </p:nvGrpSpPr>
            <p:grpSpPr>
              <a:xfrm>
                <a:off x="10521915" y="4586091"/>
                <a:ext cx="454032" cy="436509"/>
                <a:chOff x="2511970" y="2806214"/>
                <a:chExt cx="2598626" cy="2498332"/>
              </a:xfrm>
            </p:grpSpPr>
            <p:grpSp>
              <p:nvGrpSpPr>
                <p:cNvPr id="1568" name="Google Shape;18115;p1604">
                  <a:extLst>
                    <a:ext uri="{FF2B5EF4-FFF2-40B4-BE49-F238E27FC236}">
                      <a16:creationId xmlns:a16="http://schemas.microsoft.com/office/drawing/2014/main" id="{19072A26-F5CE-438A-A189-F6CB115CAABB}"/>
                    </a:ext>
                  </a:extLst>
                </p:cNvPr>
                <p:cNvGrpSpPr/>
                <p:nvPr/>
              </p:nvGrpSpPr>
              <p:grpSpPr>
                <a:xfrm>
                  <a:off x="4214405" y="2806214"/>
                  <a:ext cx="346511" cy="346515"/>
                  <a:chOff x="1932810" y="1349835"/>
                  <a:chExt cx="185335" cy="185337"/>
                </a:xfrm>
                <a:solidFill>
                  <a:schemeClr val="tx2"/>
                </a:solidFill>
              </p:grpSpPr>
              <p:sp>
                <p:nvSpPr>
                  <p:cNvPr id="1591" name="Google Shape;18116;p1604">
                    <a:extLst>
                      <a:ext uri="{FF2B5EF4-FFF2-40B4-BE49-F238E27FC236}">
                        <a16:creationId xmlns:a16="http://schemas.microsoft.com/office/drawing/2014/main" id="{1C68F912-12BB-4B9B-ADD1-77A04ED455D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92" name="Google Shape;18117;p1604">
                    <a:extLst>
                      <a:ext uri="{FF2B5EF4-FFF2-40B4-BE49-F238E27FC236}">
                        <a16:creationId xmlns:a16="http://schemas.microsoft.com/office/drawing/2014/main" id="{B8C5DE5D-8310-4A5A-A510-46B257D3EB5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569" name="Oval 1568">
                  <a:extLst>
                    <a:ext uri="{FF2B5EF4-FFF2-40B4-BE49-F238E27FC236}">
                      <a16:creationId xmlns:a16="http://schemas.microsoft.com/office/drawing/2014/main" id="{1CD0A436-26F2-4E63-8F50-904A0DD92286}"/>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570" name="Google Shape;18115;p1604">
                  <a:extLst>
                    <a:ext uri="{FF2B5EF4-FFF2-40B4-BE49-F238E27FC236}">
                      <a16:creationId xmlns:a16="http://schemas.microsoft.com/office/drawing/2014/main" id="{B03B7CFE-A07C-4E77-AF70-8C97F2FAF5E5}"/>
                    </a:ext>
                  </a:extLst>
                </p:cNvPr>
                <p:cNvGrpSpPr/>
                <p:nvPr/>
              </p:nvGrpSpPr>
              <p:grpSpPr>
                <a:xfrm>
                  <a:off x="4402332" y="4548551"/>
                  <a:ext cx="346511" cy="346515"/>
                  <a:chOff x="1932810" y="1349835"/>
                  <a:chExt cx="185335" cy="185337"/>
                </a:xfrm>
                <a:solidFill>
                  <a:schemeClr val="tx2"/>
                </a:solidFill>
              </p:grpSpPr>
              <p:sp>
                <p:nvSpPr>
                  <p:cNvPr id="1589" name="Google Shape;18116;p1604">
                    <a:extLst>
                      <a:ext uri="{FF2B5EF4-FFF2-40B4-BE49-F238E27FC236}">
                        <a16:creationId xmlns:a16="http://schemas.microsoft.com/office/drawing/2014/main" id="{53764407-AAE4-46AB-AD1B-178AFE4AA09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90" name="Google Shape;18117;p1604">
                    <a:extLst>
                      <a:ext uri="{FF2B5EF4-FFF2-40B4-BE49-F238E27FC236}">
                        <a16:creationId xmlns:a16="http://schemas.microsoft.com/office/drawing/2014/main" id="{43F14974-A7DB-4E8C-A29B-BB9658D9FA7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71" name="Google Shape;18115;p1604">
                  <a:extLst>
                    <a:ext uri="{FF2B5EF4-FFF2-40B4-BE49-F238E27FC236}">
                      <a16:creationId xmlns:a16="http://schemas.microsoft.com/office/drawing/2014/main" id="{7B388816-70FB-48DE-B7EB-90F30888F6A4}"/>
                    </a:ext>
                  </a:extLst>
                </p:cNvPr>
                <p:cNvGrpSpPr/>
                <p:nvPr/>
              </p:nvGrpSpPr>
              <p:grpSpPr>
                <a:xfrm>
                  <a:off x="3578880" y="4958031"/>
                  <a:ext cx="346511" cy="346515"/>
                  <a:chOff x="1932810" y="1349835"/>
                  <a:chExt cx="185335" cy="185337"/>
                </a:xfrm>
                <a:solidFill>
                  <a:schemeClr val="tx2"/>
                </a:solidFill>
              </p:grpSpPr>
              <p:sp>
                <p:nvSpPr>
                  <p:cNvPr id="1587" name="Google Shape;18116;p1604">
                    <a:extLst>
                      <a:ext uri="{FF2B5EF4-FFF2-40B4-BE49-F238E27FC236}">
                        <a16:creationId xmlns:a16="http://schemas.microsoft.com/office/drawing/2014/main" id="{02082CE7-4793-4627-84B9-DB5F469D71D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88" name="Google Shape;18117;p1604">
                    <a:extLst>
                      <a:ext uri="{FF2B5EF4-FFF2-40B4-BE49-F238E27FC236}">
                        <a16:creationId xmlns:a16="http://schemas.microsoft.com/office/drawing/2014/main" id="{72A314D1-F784-45DE-A105-B58D5EA5F33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72" name="Google Shape;18115;p1604">
                  <a:extLst>
                    <a:ext uri="{FF2B5EF4-FFF2-40B4-BE49-F238E27FC236}">
                      <a16:creationId xmlns:a16="http://schemas.microsoft.com/office/drawing/2014/main" id="{DFABE116-D3F5-4A46-8BD5-31A62B85D2D0}"/>
                    </a:ext>
                  </a:extLst>
                </p:cNvPr>
                <p:cNvGrpSpPr/>
                <p:nvPr/>
              </p:nvGrpSpPr>
              <p:grpSpPr>
                <a:xfrm>
                  <a:off x="2511970" y="3644968"/>
                  <a:ext cx="346511" cy="346515"/>
                  <a:chOff x="1932810" y="1349835"/>
                  <a:chExt cx="185335" cy="185337"/>
                </a:xfrm>
                <a:solidFill>
                  <a:schemeClr val="tx2"/>
                </a:solidFill>
              </p:grpSpPr>
              <p:sp>
                <p:nvSpPr>
                  <p:cNvPr id="1585" name="Google Shape;18116;p1604">
                    <a:extLst>
                      <a:ext uri="{FF2B5EF4-FFF2-40B4-BE49-F238E27FC236}">
                        <a16:creationId xmlns:a16="http://schemas.microsoft.com/office/drawing/2014/main" id="{3800778D-1DEC-4947-9F64-7C3D154CDD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86" name="Google Shape;18117;p1604">
                    <a:extLst>
                      <a:ext uri="{FF2B5EF4-FFF2-40B4-BE49-F238E27FC236}">
                        <a16:creationId xmlns:a16="http://schemas.microsoft.com/office/drawing/2014/main" id="{64E94315-1248-4DB0-ACAF-C85B937D02A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73" name="Google Shape;18115;p1604">
                  <a:extLst>
                    <a:ext uri="{FF2B5EF4-FFF2-40B4-BE49-F238E27FC236}">
                      <a16:creationId xmlns:a16="http://schemas.microsoft.com/office/drawing/2014/main" id="{148314F3-C86A-40DB-BE90-E4D1070A64E7}"/>
                    </a:ext>
                  </a:extLst>
                </p:cNvPr>
                <p:cNvGrpSpPr/>
                <p:nvPr/>
              </p:nvGrpSpPr>
              <p:grpSpPr>
                <a:xfrm>
                  <a:off x="4754363" y="4548551"/>
                  <a:ext cx="346511" cy="346515"/>
                  <a:chOff x="1932810" y="1349835"/>
                  <a:chExt cx="185335" cy="185337"/>
                </a:xfrm>
                <a:solidFill>
                  <a:schemeClr val="tx2"/>
                </a:solidFill>
              </p:grpSpPr>
              <p:sp>
                <p:nvSpPr>
                  <p:cNvPr id="1583" name="Google Shape;18116;p1604">
                    <a:extLst>
                      <a:ext uri="{FF2B5EF4-FFF2-40B4-BE49-F238E27FC236}">
                        <a16:creationId xmlns:a16="http://schemas.microsoft.com/office/drawing/2014/main" id="{C9C5171F-9DFE-4DC1-88BB-E72576FE079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84" name="Google Shape;18117;p1604">
                    <a:extLst>
                      <a:ext uri="{FF2B5EF4-FFF2-40B4-BE49-F238E27FC236}">
                        <a16:creationId xmlns:a16="http://schemas.microsoft.com/office/drawing/2014/main" id="{DA45C9B8-B5A7-45B3-81E6-D460F469BE5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74" name="Google Shape;18115;p1604">
                  <a:extLst>
                    <a:ext uri="{FF2B5EF4-FFF2-40B4-BE49-F238E27FC236}">
                      <a16:creationId xmlns:a16="http://schemas.microsoft.com/office/drawing/2014/main" id="{461A518F-6E54-449F-BDE7-D0A9E9256EB8}"/>
                    </a:ext>
                  </a:extLst>
                </p:cNvPr>
                <p:cNvGrpSpPr/>
                <p:nvPr/>
              </p:nvGrpSpPr>
              <p:grpSpPr>
                <a:xfrm>
                  <a:off x="2644688" y="4493428"/>
                  <a:ext cx="346511" cy="346515"/>
                  <a:chOff x="1932810" y="1349835"/>
                  <a:chExt cx="185335" cy="185337"/>
                </a:xfrm>
                <a:solidFill>
                  <a:schemeClr val="tx2"/>
                </a:solidFill>
              </p:grpSpPr>
              <p:sp>
                <p:nvSpPr>
                  <p:cNvPr id="1581" name="Google Shape;18116;p1604">
                    <a:extLst>
                      <a:ext uri="{FF2B5EF4-FFF2-40B4-BE49-F238E27FC236}">
                        <a16:creationId xmlns:a16="http://schemas.microsoft.com/office/drawing/2014/main" id="{08F5340E-29C8-4F5C-B6A2-D5C6D69E79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82" name="Google Shape;18117;p1604">
                    <a:extLst>
                      <a:ext uri="{FF2B5EF4-FFF2-40B4-BE49-F238E27FC236}">
                        <a16:creationId xmlns:a16="http://schemas.microsoft.com/office/drawing/2014/main" id="{51A1D9DB-195C-4D52-B624-561B3DA9AFB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75" name="Google Shape;18115;p1604">
                  <a:extLst>
                    <a:ext uri="{FF2B5EF4-FFF2-40B4-BE49-F238E27FC236}">
                      <a16:creationId xmlns:a16="http://schemas.microsoft.com/office/drawing/2014/main" id="{6DBA2753-27AE-46EA-B673-C3208F771062}"/>
                    </a:ext>
                  </a:extLst>
                </p:cNvPr>
                <p:cNvGrpSpPr/>
                <p:nvPr/>
              </p:nvGrpSpPr>
              <p:grpSpPr>
                <a:xfrm>
                  <a:off x="4764085" y="3612568"/>
                  <a:ext cx="346511" cy="346515"/>
                  <a:chOff x="1932810" y="1349835"/>
                  <a:chExt cx="185335" cy="185337"/>
                </a:xfrm>
                <a:solidFill>
                  <a:schemeClr val="tx2"/>
                </a:solidFill>
              </p:grpSpPr>
              <p:sp>
                <p:nvSpPr>
                  <p:cNvPr id="1579" name="Google Shape;18116;p1604">
                    <a:extLst>
                      <a:ext uri="{FF2B5EF4-FFF2-40B4-BE49-F238E27FC236}">
                        <a16:creationId xmlns:a16="http://schemas.microsoft.com/office/drawing/2014/main" id="{9E72FA06-02C3-4647-801E-359396DA67B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80" name="Google Shape;18117;p1604">
                    <a:extLst>
                      <a:ext uri="{FF2B5EF4-FFF2-40B4-BE49-F238E27FC236}">
                        <a16:creationId xmlns:a16="http://schemas.microsoft.com/office/drawing/2014/main" id="{35978129-7B7B-44A3-87AE-3B9DE57028E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76" name="Google Shape;18115;p1604">
                  <a:extLst>
                    <a:ext uri="{FF2B5EF4-FFF2-40B4-BE49-F238E27FC236}">
                      <a16:creationId xmlns:a16="http://schemas.microsoft.com/office/drawing/2014/main" id="{6CFFDB92-FB30-4369-A3D1-B18B1F304F1A}"/>
                    </a:ext>
                  </a:extLst>
                </p:cNvPr>
                <p:cNvGrpSpPr/>
                <p:nvPr/>
              </p:nvGrpSpPr>
              <p:grpSpPr>
                <a:xfrm>
                  <a:off x="3091300" y="2809102"/>
                  <a:ext cx="346511" cy="346515"/>
                  <a:chOff x="1932810" y="1349835"/>
                  <a:chExt cx="185335" cy="185337"/>
                </a:xfrm>
                <a:solidFill>
                  <a:schemeClr val="tx2"/>
                </a:solidFill>
              </p:grpSpPr>
              <p:sp>
                <p:nvSpPr>
                  <p:cNvPr id="1577" name="Google Shape;18116;p1604">
                    <a:extLst>
                      <a:ext uri="{FF2B5EF4-FFF2-40B4-BE49-F238E27FC236}">
                        <a16:creationId xmlns:a16="http://schemas.microsoft.com/office/drawing/2014/main" id="{6114B311-304E-41F6-B75E-1A66D8188A0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78" name="Google Shape;18117;p1604">
                    <a:extLst>
                      <a:ext uri="{FF2B5EF4-FFF2-40B4-BE49-F238E27FC236}">
                        <a16:creationId xmlns:a16="http://schemas.microsoft.com/office/drawing/2014/main" id="{5B9CED17-10FF-4081-8D90-E127BDB5D8C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516" name="Group 1515">
                <a:extLst>
                  <a:ext uri="{FF2B5EF4-FFF2-40B4-BE49-F238E27FC236}">
                    <a16:creationId xmlns:a16="http://schemas.microsoft.com/office/drawing/2014/main" id="{BD450B29-24E8-4C91-AF41-770295F5573E}"/>
                  </a:ext>
                </a:extLst>
              </p:cNvPr>
              <p:cNvGrpSpPr>
                <a:grpSpLocks/>
              </p:cNvGrpSpPr>
              <p:nvPr/>
            </p:nvGrpSpPr>
            <p:grpSpPr>
              <a:xfrm>
                <a:off x="10930685" y="4330888"/>
                <a:ext cx="454032" cy="436509"/>
                <a:chOff x="2511970" y="2806214"/>
                <a:chExt cx="2598626" cy="2498332"/>
              </a:xfrm>
            </p:grpSpPr>
            <p:grpSp>
              <p:nvGrpSpPr>
                <p:cNvPr id="1543" name="Google Shape;18115;p1604">
                  <a:extLst>
                    <a:ext uri="{FF2B5EF4-FFF2-40B4-BE49-F238E27FC236}">
                      <a16:creationId xmlns:a16="http://schemas.microsoft.com/office/drawing/2014/main" id="{946935CC-DA33-4F70-9C71-4DF8CD4566FF}"/>
                    </a:ext>
                  </a:extLst>
                </p:cNvPr>
                <p:cNvGrpSpPr/>
                <p:nvPr/>
              </p:nvGrpSpPr>
              <p:grpSpPr>
                <a:xfrm>
                  <a:off x="4214405" y="2806214"/>
                  <a:ext cx="346511" cy="346515"/>
                  <a:chOff x="1932810" y="1349835"/>
                  <a:chExt cx="185335" cy="185337"/>
                </a:xfrm>
                <a:solidFill>
                  <a:schemeClr val="tx2"/>
                </a:solidFill>
              </p:grpSpPr>
              <p:sp>
                <p:nvSpPr>
                  <p:cNvPr id="1566" name="Google Shape;18116;p1604">
                    <a:extLst>
                      <a:ext uri="{FF2B5EF4-FFF2-40B4-BE49-F238E27FC236}">
                        <a16:creationId xmlns:a16="http://schemas.microsoft.com/office/drawing/2014/main" id="{2E1540D1-CDDA-4584-9689-68578AE0692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67" name="Google Shape;18117;p1604">
                    <a:extLst>
                      <a:ext uri="{FF2B5EF4-FFF2-40B4-BE49-F238E27FC236}">
                        <a16:creationId xmlns:a16="http://schemas.microsoft.com/office/drawing/2014/main" id="{4B2AA326-0149-4282-83A9-DE291DB6C44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544" name="Oval 1543">
                  <a:extLst>
                    <a:ext uri="{FF2B5EF4-FFF2-40B4-BE49-F238E27FC236}">
                      <a16:creationId xmlns:a16="http://schemas.microsoft.com/office/drawing/2014/main" id="{4A6D9D5F-B574-43DE-9FD7-A01F78982A05}"/>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545" name="Google Shape;18115;p1604">
                  <a:extLst>
                    <a:ext uri="{FF2B5EF4-FFF2-40B4-BE49-F238E27FC236}">
                      <a16:creationId xmlns:a16="http://schemas.microsoft.com/office/drawing/2014/main" id="{71F62509-CB4D-4DFF-9D6D-F00F725A04B6}"/>
                    </a:ext>
                  </a:extLst>
                </p:cNvPr>
                <p:cNvGrpSpPr/>
                <p:nvPr/>
              </p:nvGrpSpPr>
              <p:grpSpPr>
                <a:xfrm>
                  <a:off x="4402332" y="4548551"/>
                  <a:ext cx="346511" cy="346515"/>
                  <a:chOff x="1932810" y="1349835"/>
                  <a:chExt cx="185335" cy="185337"/>
                </a:xfrm>
                <a:solidFill>
                  <a:schemeClr val="tx2"/>
                </a:solidFill>
              </p:grpSpPr>
              <p:sp>
                <p:nvSpPr>
                  <p:cNvPr id="1564" name="Google Shape;18116;p1604">
                    <a:extLst>
                      <a:ext uri="{FF2B5EF4-FFF2-40B4-BE49-F238E27FC236}">
                        <a16:creationId xmlns:a16="http://schemas.microsoft.com/office/drawing/2014/main" id="{7589BB84-ADF6-4DD3-A7CF-E045FC051D8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65" name="Google Shape;18117;p1604">
                    <a:extLst>
                      <a:ext uri="{FF2B5EF4-FFF2-40B4-BE49-F238E27FC236}">
                        <a16:creationId xmlns:a16="http://schemas.microsoft.com/office/drawing/2014/main" id="{0E1BEB2F-9F07-4AE3-B0AB-E1C47BFE8B2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46" name="Google Shape;18115;p1604">
                  <a:extLst>
                    <a:ext uri="{FF2B5EF4-FFF2-40B4-BE49-F238E27FC236}">
                      <a16:creationId xmlns:a16="http://schemas.microsoft.com/office/drawing/2014/main" id="{76AC9099-A25C-46A2-B351-9237D1E25AB7}"/>
                    </a:ext>
                  </a:extLst>
                </p:cNvPr>
                <p:cNvGrpSpPr/>
                <p:nvPr/>
              </p:nvGrpSpPr>
              <p:grpSpPr>
                <a:xfrm>
                  <a:off x="3578880" y="4958031"/>
                  <a:ext cx="346511" cy="346515"/>
                  <a:chOff x="1932810" y="1349835"/>
                  <a:chExt cx="185335" cy="185337"/>
                </a:xfrm>
                <a:solidFill>
                  <a:schemeClr val="tx2"/>
                </a:solidFill>
              </p:grpSpPr>
              <p:sp>
                <p:nvSpPr>
                  <p:cNvPr id="1562" name="Google Shape;18116;p1604">
                    <a:extLst>
                      <a:ext uri="{FF2B5EF4-FFF2-40B4-BE49-F238E27FC236}">
                        <a16:creationId xmlns:a16="http://schemas.microsoft.com/office/drawing/2014/main" id="{E23D7F57-4A8A-4405-89B2-71A1BA71B6D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63" name="Google Shape;18117;p1604">
                    <a:extLst>
                      <a:ext uri="{FF2B5EF4-FFF2-40B4-BE49-F238E27FC236}">
                        <a16:creationId xmlns:a16="http://schemas.microsoft.com/office/drawing/2014/main" id="{50BDFF5B-3399-440D-934C-30C66133580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47" name="Google Shape;18115;p1604">
                  <a:extLst>
                    <a:ext uri="{FF2B5EF4-FFF2-40B4-BE49-F238E27FC236}">
                      <a16:creationId xmlns:a16="http://schemas.microsoft.com/office/drawing/2014/main" id="{E54FECED-9BAA-4A3F-AF1F-A25B46D71681}"/>
                    </a:ext>
                  </a:extLst>
                </p:cNvPr>
                <p:cNvGrpSpPr/>
                <p:nvPr/>
              </p:nvGrpSpPr>
              <p:grpSpPr>
                <a:xfrm>
                  <a:off x="2511970" y="3644968"/>
                  <a:ext cx="346511" cy="346515"/>
                  <a:chOff x="1932810" y="1349835"/>
                  <a:chExt cx="185335" cy="185337"/>
                </a:xfrm>
                <a:solidFill>
                  <a:schemeClr val="tx2"/>
                </a:solidFill>
              </p:grpSpPr>
              <p:sp>
                <p:nvSpPr>
                  <p:cNvPr id="1560" name="Google Shape;18116;p1604">
                    <a:extLst>
                      <a:ext uri="{FF2B5EF4-FFF2-40B4-BE49-F238E27FC236}">
                        <a16:creationId xmlns:a16="http://schemas.microsoft.com/office/drawing/2014/main" id="{C87D41D5-A1B1-4732-9C3D-C83BAC83CE3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61" name="Google Shape;18117;p1604">
                    <a:extLst>
                      <a:ext uri="{FF2B5EF4-FFF2-40B4-BE49-F238E27FC236}">
                        <a16:creationId xmlns:a16="http://schemas.microsoft.com/office/drawing/2014/main" id="{88DE311D-63BD-44E8-8A56-6312FF22210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48" name="Google Shape;18115;p1604">
                  <a:extLst>
                    <a:ext uri="{FF2B5EF4-FFF2-40B4-BE49-F238E27FC236}">
                      <a16:creationId xmlns:a16="http://schemas.microsoft.com/office/drawing/2014/main" id="{1B6258FC-1313-4A10-B610-93ACDB290052}"/>
                    </a:ext>
                  </a:extLst>
                </p:cNvPr>
                <p:cNvGrpSpPr/>
                <p:nvPr/>
              </p:nvGrpSpPr>
              <p:grpSpPr>
                <a:xfrm>
                  <a:off x="4754363" y="4548551"/>
                  <a:ext cx="346511" cy="346515"/>
                  <a:chOff x="1932810" y="1349835"/>
                  <a:chExt cx="185335" cy="185337"/>
                </a:xfrm>
                <a:solidFill>
                  <a:schemeClr val="tx2"/>
                </a:solidFill>
              </p:grpSpPr>
              <p:sp>
                <p:nvSpPr>
                  <p:cNvPr id="1558" name="Google Shape;18116;p1604">
                    <a:extLst>
                      <a:ext uri="{FF2B5EF4-FFF2-40B4-BE49-F238E27FC236}">
                        <a16:creationId xmlns:a16="http://schemas.microsoft.com/office/drawing/2014/main" id="{DD37A0AB-AA4B-4AA5-B340-9E104E421F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59" name="Google Shape;18117;p1604">
                    <a:extLst>
                      <a:ext uri="{FF2B5EF4-FFF2-40B4-BE49-F238E27FC236}">
                        <a16:creationId xmlns:a16="http://schemas.microsoft.com/office/drawing/2014/main" id="{20B803C1-0757-44C4-86A6-4B210559373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49" name="Google Shape;18115;p1604">
                  <a:extLst>
                    <a:ext uri="{FF2B5EF4-FFF2-40B4-BE49-F238E27FC236}">
                      <a16:creationId xmlns:a16="http://schemas.microsoft.com/office/drawing/2014/main" id="{0E96A025-3FF9-449A-B1C6-9442BCE3BC0F}"/>
                    </a:ext>
                  </a:extLst>
                </p:cNvPr>
                <p:cNvGrpSpPr/>
                <p:nvPr/>
              </p:nvGrpSpPr>
              <p:grpSpPr>
                <a:xfrm>
                  <a:off x="2644688" y="4493428"/>
                  <a:ext cx="346511" cy="346515"/>
                  <a:chOff x="1932810" y="1349835"/>
                  <a:chExt cx="185335" cy="185337"/>
                </a:xfrm>
                <a:solidFill>
                  <a:schemeClr val="tx2"/>
                </a:solidFill>
              </p:grpSpPr>
              <p:sp>
                <p:nvSpPr>
                  <p:cNvPr id="1556" name="Google Shape;18116;p1604">
                    <a:extLst>
                      <a:ext uri="{FF2B5EF4-FFF2-40B4-BE49-F238E27FC236}">
                        <a16:creationId xmlns:a16="http://schemas.microsoft.com/office/drawing/2014/main" id="{80F2E76D-360E-4B63-9224-2AF7C32256C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57" name="Google Shape;18117;p1604">
                    <a:extLst>
                      <a:ext uri="{FF2B5EF4-FFF2-40B4-BE49-F238E27FC236}">
                        <a16:creationId xmlns:a16="http://schemas.microsoft.com/office/drawing/2014/main" id="{5B383ADA-AA03-4024-A3FC-23B0EEA54F6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50" name="Google Shape;18115;p1604">
                  <a:extLst>
                    <a:ext uri="{FF2B5EF4-FFF2-40B4-BE49-F238E27FC236}">
                      <a16:creationId xmlns:a16="http://schemas.microsoft.com/office/drawing/2014/main" id="{32326591-B2F2-4803-AAB1-749A8F621225}"/>
                    </a:ext>
                  </a:extLst>
                </p:cNvPr>
                <p:cNvGrpSpPr/>
                <p:nvPr/>
              </p:nvGrpSpPr>
              <p:grpSpPr>
                <a:xfrm>
                  <a:off x="4764085" y="3612568"/>
                  <a:ext cx="346511" cy="346515"/>
                  <a:chOff x="1932810" y="1349835"/>
                  <a:chExt cx="185335" cy="185337"/>
                </a:xfrm>
                <a:solidFill>
                  <a:schemeClr val="tx2"/>
                </a:solidFill>
              </p:grpSpPr>
              <p:sp>
                <p:nvSpPr>
                  <p:cNvPr id="1554" name="Google Shape;18116;p1604">
                    <a:extLst>
                      <a:ext uri="{FF2B5EF4-FFF2-40B4-BE49-F238E27FC236}">
                        <a16:creationId xmlns:a16="http://schemas.microsoft.com/office/drawing/2014/main" id="{24475C8B-1075-46B2-9840-B5FEEED7B92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55" name="Google Shape;18117;p1604">
                    <a:extLst>
                      <a:ext uri="{FF2B5EF4-FFF2-40B4-BE49-F238E27FC236}">
                        <a16:creationId xmlns:a16="http://schemas.microsoft.com/office/drawing/2014/main" id="{56816879-0697-485F-86A9-B75E686603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51" name="Google Shape;18115;p1604">
                  <a:extLst>
                    <a:ext uri="{FF2B5EF4-FFF2-40B4-BE49-F238E27FC236}">
                      <a16:creationId xmlns:a16="http://schemas.microsoft.com/office/drawing/2014/main" id="{A23B74A4-4AFC-4B88-A101-14AC481881FB}"/>
                    </a:ext>
                  </a:extLst>
                </p:cNvPr>
                <p:cNvGrpSpPr/>
                <p:nvPr/>
              </p:nvGrpSpPr>
              <p:grpSpPr>
                <a:xfrm>
                  <a:off x="3091300" y="2809102"/>
                  <a:ext cx="346511" cy="346515"/>
                  <a:chOff x="1932810" y="1349835"/>
                  <a:chExt cx="185335" cy="185337"/>
                </a:xfrm>
                <a:solidFill>
                  <a:schemeClr val="tx2"/>
                </a:solidFill>
              </p:grpSpPr>
              <p:sp>
                <p:nvSpPr>
                  <p:cNvPr id="1552" name="Google Shape;18116;p1604">
                    <a:extLst>
                      <a:ext uri="{FF2B5EF4-FFF2-40B4-BE49-F238E27FC236}">
                        <a16:creationId xmlns:a16="http://schemas.microsoft.com/office/drawing/2014/main" id="{F1552176-4F7B-4F39-B4F7-E800F130C70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53" name="Google Shape;18117;p1604">
                    <a:extLst>
                      <a:ext uri="{FF2B5EF4-FFF2-40B4-BE49-F238E27FC236}">
                        <a16:creationId xmlns:a16="http://schemas.microsoft.com/office/drawing/2014/main" id="{983D1112-A64C-4C3F-B5DB-BD91BC83BCB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nvGrpSpPr>
              <p:cNvPr id="1517" name="Group 1516">
                <a:extLst>
                  <a:ext uri="{FF2B5EF4-FFF2-40B4-BE49-F238E27FC236}">
                    <a16:creationId xmlns:a16="http://schemas.microsoft.com/office/drawing/2014/main" id="{879EA5CF-CCBC-4A40-AAF7-74C52D49E412}"/>
                  </a:ext>
                </a:extLst>
              </p:cNvPr>
              <p:cNvGrpSpPr>
                <a:grpSpLocks/>
              </p:cNvGrpSpPr>
              <p:nvPr/>
            </p:nvGrpSpPr>
            <p:grpSpPr>
              <a:xfrm>
                <a:off x="10930685" y="4775215"/>
                <a:ext cx="454032" cy="436509"/>
                <a:chOff x="2511970" y="2806214"/>
                <a:chExt cx="2598626" cy="2498332"/>
              </a:xfrm>
            </p:grpSpPr>
            <p:grpSp>
              <p:nvGrpSpPr>
                <p:cNvPr id="1518" name="Google Shape;18115;p1604">
                  <a:extLst>
                    <a:ext uri="{FF2B5EF4-FFF2-40B4-BE49-F238E27FC236}">
                      <a16:creationId xmlns:a16="http://schemas.microsoft.com/office/drawing/2014/main" id="{16724249-87EC-4E51-A260-910F108E3E80}"/>
                    </a:ext>
                  </a:extLst>
                </p:cNvPr>
                <p:cNvGrpSpPr/>
                <p:nvPr/>
              </p:nvGrpSpPr>
              <p:grpSpPr>
                <a:xfrm>
                  <a:off x="4214405" y="2806214"/>
                  <a:ext cx="346511" cy="346515"/>
                  <a:chOff x="1932810" y="1349835"/>
                  <a:chExt cx="185335" cy="185337"/>
                </a:xfrm>
                <a:solidFill>
                  <a:schemeClr val="tx2"/>
                </a:solidFill>
              </p:grpSpPr>
              <p:sp>
                <p:nvSpPr>
                  <p:cNvPr id="1541" name="Google Shape;18116;p1604">
                    <a:extLst>
                      <a:ext uri="{FF2B5EF4-FFF2-40B4-BE49-F238E27FC236}">
                        <a16:creationId xmlns:a16="http://schemas.microsoft.com/office/drawing/2014/main" id="{A260DA31-66BA-454D-B0C7-F68EFC4173B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42" name="Google Shape;18117;p1604">
                    <a:extLst>
                      <a:ext uri="{FF2B5EF4-FFF2-40B4-BE49-F238E27FC236}">
                        <a16:creationId xmlns:a16="http://schemas.microsoft.com/office/drawing/2014/main" id="{CBA6A4AF-805F-4A9B-916A-1B9018B8D78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519" name="Oval 1518">
                  <a:extLst>
                    <a:ext uri="{FF2B5EF4-FFF2-40B4-BE49-F238E27FC236}">
                      <a16:creationId xmlns:a16="http://schemas.microsoft.com/office/drawing/2014/main" id="{FD6C9208-FDC4-407E-B932-AD65A1B0E57B}"/>
                    </a:ext>
                  </a:extLst>
                </p:cNvPr>
                <p:cNvSpPr/>
                <p:nvPr/>
              </p:nvSpPr>
              <p:spPr>
                <a:xfrm>
                  <a:off x="2644688" y="2864225"/>
                  <a:ext cx="2321515" cy="2321515"/>
                </a:xfrm>
                <a:prstGeom prst="ellipse">
                  <a:avLst/>
                </a:prstGeom>
                <a:noFill/>
                <a:ln w="4993"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977" tIns="7988" rIns="15977" bIns="798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520" name="Google Shape;18115;p1604">
                  <a:extLst>
                    <a:ext uri="{FF2B5EF4-FFF2-40B4-BE49-F238E27FC236}">
                      <a16:creationId xmlns:a16="http://schemas.microsoft.com/office/drawing/2014/main" id="{2260268F-F531-4573-A23F-2003F416130C}"/>
                    </a:ext>
                  </a:extLst>
                </p:cNvPr>
                <p:cNvGrpSpPr/>
                <p:nvPr/>
              </p:nvGrpSpPr>
              <p:grpSpPr>
                <a:xfrm>
                  <a:off x="4402332" y="4548551"/>
                  <a:ext cx="346511" cy="346515"/>
                  <a:chOff x="1932810" y="1349835"/>
                  <a:chExt cx="185335" cy="185337"/>
                </a:xfrm>
                <a:solidFill>
                  <a:schemeClr val="tx2"/>
                </a:solidFill>
              </p:grpSpPr>
              <p:sp>
                <p:nvSpPr>
                  <p:cNvPr id="1539" name="Google Shape;18116;p1604">
                    <a:extLst>
                      <a:ext uri="{FF2B5EF4-FFF2-40B4-BE49-F238E27FC236}">
                        <a16:creationId xmlns:a16="http://schemas.microsoft.com/office/drawing/2014/main" id="{B547969E-DD94-44D7-918B-F168ABD95B4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40" name="Google Shape;18117;p1604">
                    <a:extLst>
                      <a:ext uri="{FF2B5EF4-FFF2-40B4-BE49-F238E27FC236}">
                        <a16:creationId xmlns:a16="http://schemas.microsoft.com/office/drawing/2014/main" id="{7F2191EE-A318-4C6C-8DB9-91993270050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21" name="Google Shape;18115;p1604">
                  <a:extLst>
                    <a:ext uri="{FF2B5EF4-FFF2-40B4-BE49-F238E27FC236}">
                      <a16:creationId xmlns:a16="http://schemas.microsoft.com/office/drawing/2014/main" id="{F0C0D073-E6B3-4051-94AC-9C89FC789CC1}"/>
                    </a:ext>
                  </a:extLst>
                </p:cNvPr>
                <p:cNvGrpSpPr/>
                <p:nvPr/>
              </p:nvGrpSpPr>
              <p:grpSpPr>
                <a:xfrm>
                  <a:off x="3578880" y="4958031"/>
                  <a:ext cx="346511" cy="346515"/>
                  <a:chOff x="1932810" y="1349835"/>
                  <a:chExt cx="185335" cy="185337"/>
                </a:xfrm>
                <a:solidFill>
                  <a:schemeClr val="tx2"/>
                </a:solidFill>
              </p:grpSpPr>
              <p:sp>
                <p:nvSpPr>
                  <p:cNvPr id="1537" name="Google Shape;18116;p1604">
                    <a:extLst>
                      <a:ext uri="{FF2B5EF4-FFF2-40B4-BE49-F238E27FC236}">
                        <a16:creationId xmlns:a16="http://schemas.microsoft.com/office/drawing/2014/main" id="{FB2A6F95-B6DB-4F11-B333-1EC04736F19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38" name="Google Shape;18117;p1604">
                    <a:extLst>
                      <a:ext uri="{FF2B5EF4-FFF2-40B4-BE49-F238E27FC236}">
                        <a16:creationId xmlns:a16="http://schemas.microsoft.com/office/drawing/2014/main" id="{877B29A3-7DD7-42BB-915B-6796ABFFFE2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22" name="Google Shape;18115;p1604">
                  <a:extLst>
                    <a:ext uri="{FF2B5EF4-FFF2-40B4-BE49-F238E27FC236}">
                      <a16:creationId xmlns:a16="http://schemas.microsoft.com/office/drawing/2014/main" id="{7A8EEACB-64A4-4066-AB26-72EA08B35CC4}"/>
                    </a:ext>
                  </a:extLst>
                </p:cNvPr>
                <p:cNvGrpSpPr/>
                <p:nvPr/>
              </p:nvGrpSpPr>
              <p:grpSpPr>
                <a:xfrm>
                  <a:off x="2511970" y="3644968"/>
                  <a:ext cx="346511" cy="346515"/>
                  <a:chOff x="1932810" y="1349835"/>
                  <a:chExt cx="185335" cy="185337"/>
                </a:xfrm>
                <a:solidFill>
                  <a:schemeClr val="tx2"/>
                </a:solidFill>
              </p:grpSpPr>
              <p:sp>
                <p:nvSpPr>
                  <p:cNvPr id="1535" name="Google Shape;18116;p1604">
                    <a:extLst>
                      <a:ext uri="{FF2B5EF4-FFF2-40B4-BE49-F238E27FC236}">
                        <a16:creationId xmlns:a16="http://schemas.microsoft.com/office/drawing/2014/main" id="{F2E92CD2-9303-4786-99D5-229732F8A81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36" name="Google Shape;18117;p1604">
                    <a:extLst>
                      <a:ext uri="{FF2B5EF4-FFF2-40B4-BE49-F238E27FC236}">
                        <a16:creationId xmlns:a16="http://schemas.microsoft.com/office/drawing/2014/main" id="{F3D0BF2D-182E-4D33-9ADA-F066658084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23" name="Google Shape;18115;p1604">
                  <a:extLst>
                    <a:ext uri="{FF2B5EF4-FFF2-40B4-BE49-F238E27FC236}">
                      <a16:creationId xmlns:a16="http://schemas.microsoft.com/office/drawing/2014/main" id="{D25149AE-FEB1-4696-9726-8225FC3288B2}"/>
                    </a:ext>
                  </a:extLst>
                </p:cNvPr>
                <p:cNvGrpSpPr/>
                <p:nvPr/>
              </p:nvGrpSpPr>
              <p:grpSpPr>
                <a:xfrm>
                  <a:off x="4754363" y="4548551"/>
                  <a:ext cx="346511" cy="346515"/>
                  <a:chOff x="1932810" y="1349835"/>
                  <a:chExt cx="185335" cy="185337"/>
                </a:xfrm>
                <a:solidFill>
                  <a:schemeClr val="tx2"/>
                </a:solidFill>
              </p:grpSpPr>
              <p:sp>
                <p:nvSpPr>
                  <p:cNvPr id="1533" name="Google Shape;18116;p1604">
                    <a:extLst>
                      <a:ext uri="{FF2B5EF4-FFF2-40B4-BE49-F238E27FC236}">
                        <a16:creationId xmlns:a16="http://schemas.microsoft.com/office/drawing/2014/main" id="{A7231EA4-D84F-4B16-8524-20E1299393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34" name="Google Shape;18117;p1604">
                    <a:extLst>
                      <a:ext uri="{FF2B5EF4-FFF2-40B4-BE49-F238E27FC236}">
                        <a16:creationId xmlns:a16="http://schemas.microsoft.com/office/drawing/2014/main" id="{994C4E39-7D2C-4687-A3F3-9A5BD52627E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24" name="Google Shape;18115;p1604">
                  <a:extLst>
                    <a:ext uri="{FF2B5EF4-FFF2-40B4-BE49-F238E27FC236}">
                      <a16:creationId xmlns:a16="http://schemas.microsoft.com/office/drawing/2014/main" id="{2307A525-B686-41F1-8451-A9ED47C403ED}"/>
                    </a:ext>
                  </a:extLst>
                </p:cNvPr>
                <p:cNvGrpSpPr/>
                <p:nvPr/>
              </p:nvGrpSpPr>
              <p:grpSpPr>
                <a:xfrm>
                  <a:off x="2644688" y="4493428"/>
                  <a:ext cx="346511" cy="346515"/>
                  <a:chOff x="1932810" y="1349835"/>
                  <a:chExt cx="185335" cy="185337"/>
                </a:xfrm>
                <a:solidFill>
                  <a:schemeClr val="tx2"/>
                </a:solidFill>
              </p:grpSpPr>
              <p:sp>
                <p:nvSpPr>
                  <p:cNvPr id="1531" name="Google Shape;18116;p1604">
                    <a:extLst>
                      <a:ext uri="{FF2B5EF4-FFF2-40B4-BE49-F238E27FC236}">
                        <a16:creationId xmlns:a16="http://schemas.microsoft.com/office/drawing/2014/main" id="{89FDDEBB-1030-4A83-87EC-5D5FC5B30E4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32" name="Google Shape;18117;p1604">
                    <a:extLst>
                      <a:ext uri="{FF2B5EF4-FFF2-40B4-BE49-F238E27FC236}">
                        <a16:creationId xmlns:a16="http://schemas.microsoft.com/office/drawing/2014/main" id="{648E2005-3F88-443E-9829-32E37E29C02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64">
                    <a:solidFill>
                      <a:schemeClr val="tx1"/>
                    </a:solidFill>
                    <a:prstDash val="sysDot"/>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25" name="Google Shape;18115;p1604">
                  <a:extLst>
                    <a:ext uri="{FF2B5EF4-FFF2-40B4-BE49-F238E27FC236}">
                      <a16:creationId xmlns:a16="http://schemas.microsoft.com/office/drawing/2014/main" id="{379A9C71-1777-45F4-819F-2ED1D3805718}"/>
                    </a:ext>
                  </a:extLst>
                </p:cNvPr>
                <p:cNvGrpSpPr/>
                <p:nvPr/>
              </p:nvGrpSpPr>
              <p:grpSpPr>
                <a:xfrm>
                  <a:off x="4764085" y="3612568"/>
                  <a:ext cx="346511" cy="346515"/>
                  <a:chOff x="1932810" y="1349835"/>
                  <a:chExt cx="185335" cy="185337"/>
                </a:xfrm>
                <a:solidFill>
                  <a:schemeClr val="tx2"/>
                </a:solidFill>
              </p:grpSpPr>
              <p:sp>
                <p:nvSpPr>
                  <p:cNvPr id="1529" name="Google Shape;18116;p1604">
                    <a:extLst>
                      <a:ext uri="{FF2B5EF4-FFF2-40B4-BE49-F238E27FC236}">
                        <a16:creationId xmlns:a16="http://schemas.microsoft.com/office/drawing/2014/main" id="{DC93CDD1-B244-4305-A3DD-8934FC1EFA5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30" name="Google Shape;18117;p1604">
                    <a:extLst>
                      <a:ext uri="{FF2B5EF4-FFF2-40B4-BE49-F238E27FC236}">
                        <a16:creationId xmlns:a16="http://schemas.microsoft.com/office/drawing/2014/main" id="{943A2878-5F51-44E3-A814-565E10439F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nvGrpSpPr>
                <p:cNvPr id="1526" name="Google Shape;18115;p1604">
                  <a:extLst>
                    <a:ext uri="{FF2B5EF4-FFF2-40B4-BE49-F238E27FC236}">
                      <a16:creationId xmlns:a16="http://schemas.microsoft.com/office/drawing/2014/main" id="{15D6ADC2-DEFB-4DF5-AEFE-05EBB61A2022}"/>
                    </a:ext>
                  </a:extLst>
                </p:cNvPr>
                <p:cNvGrpSpPr/>
                <p:nvPr/>
              </p:nvGrpSpPr>
              <p:grpSpPr>
                <a:xfrm>
                  <a:off x="3091300" y="2809102"/>
                  <a:ext cx="346511" cy="346515"/>
                  <a:chOff x="1932810" y="1349835"/>
                  <a:chExt cx="185335" cy="185337"/>
                </a:xfrm>
                <a:solidFill>
                  <a:schemeClr val="tx2"/>
                </a:solidFill>
              </p:grpSpPr>
              <p:sp>
                <p:nvSpPr>
                  <p:cNvPr id="1527" name="Google Shape;18116;p1604">
                    <a:extLst>
                      <a:ext uri="{FF2B5EF4-FFF2-40B4-BE49-F238E27FC236}">
                        <a16:creationId xmlns:a16="http://schemas.microsoft.com/office/drawing/2014/main" id="{2BB92D3B-8A10-4200-9B77-E687D6F0E68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sp>
                <p:nvSpPr>
                  <p:cNvPr id="1528" name="Google Shape;18117;p1604">
                    <a:extLst>
                      <a:ext uri="{FF2B5EF4-FFF2-40B4-BE49-F238E27FC236}">
                        <a16:creationId xmlns:a16="http://schemas.microsoft.com/office/drawing/2014/main" id="{1D715519-1F8A-4325-A8D3-BD04234D68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973" tIns="7985" rIns="15973" bIns="7985"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grpSp>
        </p:grpSp>
        <p:sp>
          <p:nvSpPr>
            <p:cNvPr id="1513" name="Rectangle 1512">
              <a:extLst>
                <a:ext uri="{FF2B5EF4-FFF2-40B4-BE49-F238E27FC236}">
                  <a16:creationId xmlns:a16="http://schemas.microsoft.com/office/drawing/2014/main" id="{68738A3F-2760-4659-8D83-E2F7FB9DCD8D}"/>
                </a:ext>
              </a:extLst>
            </p:cNvPr>
            <p:cNvSpPr/>
            <p:nvPr/>
          </p:nvSpPr>
          <p:spPr>
            <a:xfrm>
              <a:off x="11137074" y="3586457"/>
              <a:ext cx="611928" cy="29523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5098" tIns="47549" rIns="95098" bIns="47549"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Lead PM</a:t>
              </a:r>
            </a:p>
            <a:p>
              <a:pPr marR="0" lvl="0" algn="ctr" defTabSz="914400" rtl="0" eaLnBrk="1" fontAlgn="auto" latinLnBrk="0" hangingPunct="1">
                <a:lnSpc>
                  <a:spcPct val="100000"/>
                </a:lnSpc>
                <a:spcBef>
                  <a:spcPts val="0"/>
                </a:spcBef>
                <a:spcAft>
                  <a:spcPts val="0"/>
                </a:spcAft>
                <a:buClrTx/>
                <a:buSzTx/>
                <a:buFontTx/>
                <a:buNone/>
                <a:tabLst/>
                <a:defRPr/>
              </a:pPr>
              <a:endParaRPr lang="en-US" sz="700" dirty="0">
                <a:solidFill>
                  <a:srgbClr val="00148C"/>
                </a:solidFill>
                <a:latin typeface="Arial"/>
                <a:cs typeface="Arial"/>
              </a:endParaRPr>
            </a:p>
          </p:txBody>
        </p:sp>
        <p:sp>
          <p:nvSpPr>
            <p:cNvPr id="1514" name="Rectangle 1513">
              <a:extLst>
                <a:ext uri="{FF2B5EF4-FFF2-40B4-BE49-F238E27FC236}">
                  <a16:creationId xmlns:a16="http://schemas.microsoft.com/office/drawing/2014/main" id="{D59D8DCC-FA7B-4456-8ABC-3AA0474A7E29}"/>
                </a:ext>
              </a:extLst>
            </p:cNvPr>
            <p:cNvSpPr/>
            <p:nvPr/>
          </p:nvSpPr>
          <p:spPr>
            <a:xfrm>
              <a:off x="10309234" y="3513151"/>
              <a:ext cx="1008219" cy="31554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98" tIns="47549" rIns="95098" bIns="47549" numCol="1" spcCol="0" rtlCol="0" fromWordArt="0" anchor="ctr" anchorCtr="0" forceAA="0" compatLnSpc="1">
              <a:prstTxWarp prst="textNoShape">
                <a:avLst/>
              </a:prstTxWarp>
              <a:no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148C"/>
                  </a:solidFill>
                  <a:effectLst/>
                  <a:uLnTx/>
                  <a:uFillTx/>
                  <a:latin typeface="Arial"/>
                  <a:ea typeface="+mn-ea"/>
                  <a:cs typeface="Arial"/>
                </a:rPr>
                <a:t>Dig Biz Lead</a:t>
              </a:r>
              <a:r>
                <a:rPr kumimoji="0" lang="en-US" sz="600" i="0" u="none" strike="noStrike" kern="1200" cap="none" spc="0" normalizeH="0" baseline="0" noProof="0" dirty="0">
                  <a:ln>
                    <a:noFill/>
                  </a:ln>
                  <a:solidFill>
                    <a:srgbClr val="00148C"/>
                  </a:solidFill>
                  <a:effectLst/>
                  <a:uLnTx/>
                  <a:uFillTx/>
                  <a:latin typeface="Arial"/>
                  <a:ea typeface="+mn-ea"/>
                  <a:cs typeface="Arial"/>
                </a:rPr>
                <a:t> </a:t>
              </a:r>
              <a:endParaRPr kumimoji="0" lang="en-US" sz="700" i="0" u="none" strike="noStrike" kern="1200" cap="none" spc="0" normalizeH="0" baseline="0" noProof="0" dirty="0">
                <a:ln>
                  <a:noFill/>
                </a:ln>
                <a:solidFill>
                  <a:srgbClr val="00148C"/>
                </a:solidFill>
                <a:effectLst/>
                <a:uLnTx/>
                <a:uFillTx/>
                <a:latin typeface="Arial"/>
                <a:ea typeface="+mn-ea"/>
                <a:cs typeface="Arial"/>
              </a:endParaRPr>
            </a:p>
          </p:txBody>
        </p:sp>
      </p:grpSp>
      <p:grpSp>
        <p:nvGrpSpPr>
          <p:cNvPr id="1593" name="Google Shape;18115;p1604">
            <a:extLst>
              <a:ext uri="{FF2B5EF4-FFF2-40B4-BE49-F238E27FC236}">
                <a16:creationId xmlns:a16="http://schemas.microsoft.com/office/drawing/2014/main" id="{02617E83-B080-4685-8068-BE8ED41342B3}"/>
              </a:ext>
            </a:extLst>
          </p:cNvPr>
          <p:cNvGrpSpPr/>
          <p:nvPr/>
        </p:nvGrpSpPr>
        <p:grpSpPr>
          <a:xfrm>
            <a:off x="1103669" y="3828420"/>
            <a:ext cx="217843" cy="217845"/>
            <a:chOff x="1932810" y="1349835"/>
            <a:chExt cx="185335" cy="185337"/>
          </a:xfrm>
          <a:solidFill>
            <a:srgbClr val="FFE02B"/>
          </a:solidFill>
        </p:grpSpPr>
        <p:sp>
          <p:nvSpPr>
            <p:cNvPr id="1594" name="Google Shape;18116;p1604">
              <a:extLst>
                <a:ext uri="{FF2B5EF4-FFF2-40B4-BE49-F238E27FC236}">
                  <a16:creationId xmlns:a16="http://schemas.microsoft.com/office/drawing/2014/main" id="{AD4534EC-481A-408F-BA74-0F1C59DE8EC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595" name="Google Shape;18117;p1604">
              <a:extLst>
                <a:ext uri="{FF2B5EF4-FFF2-40B4-BE49-F238E27FC236}">
                  <a16:creationId xmlns:a16="http://schemas.microsoft.com/office/drawing/2014/main" id="{141134C8-E5B8-4988-81C8-B041B52EF2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grpSp>
        <p:nvGrpSpPr>
          <p:cNvPr id="1596" name="Google Shape;18115;p1604">
            <a:extLst>
              <a:ext uri="{FF2B5EF4-FFF2-40B4-BE49-F238E27FC236}">
                <a16:creationId xmlns:a16="http://schemas.microsoft.com/office/drawing/2014/main" id="{8292658E-1F03-4BBE-862A-ED846F653E0F}"/>
              </a:ext>
            </a:extLst>
          </p:cNvPr>
          <p:cNvGrpSpPr/>
          <p:nvPr/>
        </p:nvGrpSpPr>
        <p:grpSpPr>
          <a:xfrm>
            <a:off x="473972" y="3829743"/>
            <a:ext cx="217843" cy="217845"/>
            <a:chOff x="1932810" y="1349835"/>
            <a:chExt cx="185335" cy="185337"/>
          </a:xfrm>
          <a:solidFill>
            <a:srgbClr val="FFE02B"/>
          </a:solidFill>
        </p:grpSpPr>
        <p:sp>
          <p:nvSpPr>
            <p:cNvPr id="1597" name="Google Shape;18116;p1604">
              <a:extLst>
                <a:ext uri="{FF2B5EF4-FFF2-40B4-BE49-F238E27FC236}">
                  <a16:creationId xmlns:a16="http://schemas.microsoft.com/office/drawing/2014/main" id="{C4775462-278B-483A-9164-1C874CD8688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sp>
          <p:nvSpPr>
            <p:cNvPr id="1598" name="Google Shape;18117;p1604">
              <a:extLst>
                <a:ext uri="{FF2B5EF4-FFF2-40B4-BE49-F238E27FC236}">
                  <a16:creationId xmlns:a16="http://schemas.microsoft.com/office/drawing/2014/main" id="{BD6FCE90-3F37-4861-9FE5-642798E7B8C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a:buClrTx/>
                <a:buFontTx/>
                <a:buNone/>
              </a:pPr>
              <a:endParaRPr lang="en-US" sz="1000" dirty="0">
                <a:solidFill>
                  <a:srgbClr val="0E0E0E"/>
                </a:solidFill>
                <a:ea typeface="Century Gothic"/>
                <a:cs typeface="Century Gothic"/>
                <a:sym typeface="Century Gothic" panose="020B0502020202020204" pitchFamily="34" charset="0"/>
              </a:endParaRPr>
            </a:p>
          </p:txBody>
        </p:sp>
      </p:grpSp>
      <p:sp>
        <p:nvSpPr>
          <p:cNvPr id="573" name="Rectangle 572">
            <a:extLst>
              <a:ext uri="{FF2B5EF4-FFF2-40B4-BE49-F238E27FC236}">
                <a16:creationId xmlns:a16="http://schemas.microsoft.com/office/drawing/2014/main" id="{600DA245-135D-4C41-BA0E-881AA91C2795}"/>
              </a:ext>
            </a:extLst>
          </p:cNvPr>
          <p:cNvSpPr/>
          <p:nvPr/>
        </p:nvSpPr>
        <p:spPr>
          <a:xfrm>
            <a:off x="5211236" y="113211"/>
            <a:ext cx="1772911" cy="20886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a:solidFill>
                  <a:srgbClr val="FFFFFF"/>
                </a:solidFill>
              </a:rPr>
              <a:t>EBU</a:t>
            </a:r>
            <a:r>
              <a:rPr lang="en-US" sz="1200" dirty="0">
                <a:solidFill>
                  <a:srgbClr val="FFFFFF"/>
                </a:solidFill>
              </a:rPr>
              <a:t> Example</a:t>
            </a:r>
          </a:p>
        </p:txBody>
      </p:sp>
      <p:sp>
        <p:nvSpPr>
          <p:cNvPr id="574" name="NavigationTriangle">
            <a:extLst>
              <a:ext uri="{FF2B5EF4-FFF2-40B4-BE49-F238E27FC236}">
                <a16:creationId xmlns:a16="http://schemas.microsoft.com/office/drawing/2014/main" id="{C9665765-7881-4E64-9390-2A0F411AF5AD}"/>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5" name="NavigationIcon">
            <a:extLst>
              <a:ext uri="{FF2B5EF4-FFF2-40B4-BE49-F238E27FC236}">
                <a16:creationId xmlns:a16="http://schemas.microsoft.com/office/drawing/2014/main" id="{AC08557D-3CE2-46A7-95B0-06DB6EE2738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4</a:t>
            </a:r>
          </a:p>
        </p:txBody>
      </p:sp>
    </p:spTree>
    <p:extLst>
      <p:ext uri="{BB962C8B-B14F-4D97-AF65-F5344CB8AC3E}">
        <p14:creationId xmlns:p14="http://schemas.microsoft.com/office/powerpoint/2010/main" val="3967961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53458A8-66C6-4F55-99B2-E877B442A6DD}"/>
              </a:ext>
            </a:extLst>
          </p:cNvPr>
          <p:cNvGraphicFramePr>
            <a:graphicFrameLocks noChangeAspect="1"/>
          </p:cNvGraphicFramePr>
          <p:nvPr>
            <p:custDataLst>
              <p:tags r:id="rId2"/>
            </p:custDataLst>
            <p:extLst>
              <p:ext uri="{D42A27DB-BD31-4B8C-83A1-F6EECF244321}">
                <p14:modId xmlns:p14="http://schemas.microsoft.com/office/powerpoint/2010/main" val="3355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6" name="think-cell Slide" r:id="rId6" imgW="381" imgH="381" progId="TCLayout.ActiveDocument.1">
                  <p:embed/>
                </p:oleObj>
              </mc:Choice>
              <mc:Fallback>
                <p:oleObj name="think-cell Slide" r:id="rId6" imgW="381" imgH="381" progId="TCLayout.ActiveDocument.1">
                  <p:embed/>
                  <p:pic>
                    <p:nvPicPr>
                      <p:cNvPr id="5" name="Object 4" hidden="1">
                        <a:extLst>
                          <a:ext uri="{FF2B5EF4-FFF2-40B4-BE49-F238E27FC236}">
                            <a16:creationId xmlns:a16="http://schemas.microsoft.com/office/drawing/2014/main" id="{E53458A8-66C6-4F55-99B2-E877B442A6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622800"/>
            <a:ext cx="10933200" cy="1329595"/>
          </a:xfrm>
        </p:spPr>
        <p:txBody>
          <a:bodyPr vert="horz"/>
          <a:lstStyle/>
          <a:p>
            <a:r>
              <a:rPr lang="en-US" dirty="0"/>
              <a:t>Introduction to Hub and Spoke operating model</a:t>
            </a:r>
            <a:br>
              <a:rPr lang="en-US" dirty="0"/>
            </a:br>
            <a:r>
              <a:rPr lang="en-US" sz="1600" b="0" dirty="0">
                <a:solidFill>
                  <a:srgbClr val="55555A"/>
                </a:solidFill>
              </a:rPr>
              <a:t>Scaling Digital is enabled with tight integration between a centralized Digital hub and independent business unit teams driving their business strategy with Digital as a key component.</a:t>
            </a:r>
            <a:br>
              <a:rPr lang="en-US" sz="1600" dirty="0"/>
            </a:br>
            <a:endParaRPr lang="en-US" dirty="0"/>
          </a:p>
        </p:txBody>
      </p:sp>
      <p:sp>
        <p:nvSpPr>
          <p:cNvPr id="12" name="Rectangle 11">
            <a:extLst>
              <a:ext uri="{FF2B5EF4-FFF2-40B4-BE49-F238E27FC236}">
                <a16:creationId xmlns:a16="http://schemas.microsoft.com/office/drawing/2014/main" id="{0F4FE6C5-04CF-4B36-AC91-9174B5116054}"/>
              </a:ext>
            </a:extLst>
          </p:cNvPr>
          <p:cNvSpPr/>
          <p:nvPr/>
        </p:nvSpPr>
        <p:spPr>
          <a:xfrm>
            <a:off x="594820" y="2166395"/>
            <a:ext cx="2772730" cy="3416320"/>
          </a:xfrm>
          <a:prstGeom prst="rect">
            <a:avLst/>
          </a:prstGeom>
        </p:spPr>
        <p:txBody>
          <a:bodyPr wrap="square">
            <a:spAutoFit/>
          </a:bodyPr>
          <a:lstStyle/>
          <a:p>
            <a:r>
              <a:rPr lang="en-GB" sz="1600" b="1" dirty="0">
                <a:solidFill>
                  <a:schemeClr val="tx2"/>
                </a:solidFill>
                <a:latin typeface="Arial" panose="020B0604020202020204" pitchFamily="34" charset="0"/>
                <a:ea typeface="Times New Roman" panose="02020603050405020304" pitchFamily="18" charset="0"/>
              </a:rPr>
              <a:t>What is the Hub?</a:t>
            </a:r>
          </a:p>
          <a:p>
            <a:endParaRPr lang="en-GB" sz="1600" b="1" dirty="0">
              <a:solidFill>
                <a:schemeClr val="tx2"/>
              </a:solidFill>
              <a:latin typeface="Arial" panose="020B0604020202020204" pitchFamily="34" charset="0"/>
              <a:ea typeface="Times New Roman" panose="02020603050405020304" pitchFamily="18" charset="0"/>
            </a:endParaRPr>
          </a:p>
          <a:p>
            <a:r>
              <a:rPr lang="en-US" sz="1400" b="1" dirty="0">
                <a:solidFill>
                  <a:srgbClr val="000000"/>
                </a:solidFill>
                <a:latin typeface="Arial" panose="020B0604020202020204" pitchFamily="34" charset="0"/>
                <a:ea typeface="Times New Roman" panose="02020603050405020304" pitchFamily="18" charset="0"/>
              </a:rPr>
              <a:t>Centralized resources,  capabilities and platform products </a:t>
            </a:r>
            <a:r>
              <a:rPr lang="en-US" sz="1400" dirty="0">
                <a:solidFill>
                  <a:srgbClr val="000000"/>
                </a:solidFill>
                <a:latin typeface="Arial" panose="020B0604020202020204" pitchFamily="34" charset="0"/>
                <a:ea typeface="Times New Roman" panose="02020603050405020304" pitchFamily="18" charset="0"/>
              </a:rPr>
              <a:t>that accelerate digital adoption, challenge roadmaps, test value cases, and maintain standards in the Business units</a:t>
            </a:r>
          </a:p>
          <a:p>
            <a:endParaRPr lang="en-GB" sz="1400" dirty="0">
              <a:solidFill>
                <a:srgbClr val="000000"/>
              </a:solidFill>
              <a:latin typeface="Arial" panose="020B0604020202020204" pitchFamily="34" charset="0"/>
              <a:ea typeface="Times New Roman" panose="02020603050405020304" pitchFamily="18" charset="0"/>
            </a:endParaRPr>
          </a:p>
          <a:p>
            <a:r>
              <a:rPr lang="en-GB" sz="1400" b="1" dirty="0">
                <a:solidFill>
                  <a:schemeClr val="tx2"/>
                </a:solidFill>
                <a:latin typeface="Arial" panose="020B0604020202020204" pitchFamily="34" charset="0"/>
                <a:ea typeface="Times New Roman" panose="02020603050405020304" pitchFamily="18" charset="0"/>
              </a:rPr>
              <a:t>Why is it needed?</a:t>
            </a:r>
          </a:p>
          <a:p>
            <a:endParaRPr lang="en-GB" sz="1400" dirty="0">
              <a:solidFill>
                <a:srgbClr val="000000"/>
              </a:solidFill>
              <a:latin typeface="Arial" panose="020B0604020202020204" pitchFamily="34" charset="0"/>
              <a:ea typeface="Times New Roman" panose="02020603050405020304" pitchFamily="18" charset="0"/>
            </a:endParaRPr>
          </a:p>
          <a:p>
            <a:r>
              <a:rPr lang="en-GB" sz="1400" b="1" dirty="0">
                <a:solidFill>
                  <a:srgbClr val="000000"/>
                </a:solidFill>
                <a:ea typeface="Times New Roman" panose="02020603050405020304" pitchFamily="18" charset="0"/>
                <a:cs typeface="Arial"/>
              </a:rPr>
              <a:t>Essential coordination to drive consistent scaling of Digital </a:t>
            </a:r>
            <a:r>
              <a:rPr lang="en-GB" sz="1400" dirty="0">
                <a:solidFill>
                  <a:srgbClr val="000000"/>
                </a:solidFill>
                <a:ea typeface="Times New Roman" panose="02020603050405020304" pitchFamily="18" charset="0"/>
                <a:cs typeface="Arial"/>
              </a:rPr>
              <a:t>to produce business outcomes </a:t>
            </a:r>
          </a:p>
          <a:p>
            <a:endParaRPr lang="en-GB" sz="1600" dirty="0">
              <a:solidFill>
                <a:srgbClr val="000000"/>
              </a:solidFill>
              <a:latin typeface="Arial" panose="020B0604020202020204" pitchFamily="34" charset="0"/>
            </a:endParaRPr>
          </a:p>
        </p:txBody>
      </p:sp>
      <p:sp>
        <p:nvSpPr>
          <p:cNvPr id="13" name="Rectangle 12">
            <a:extLst>
              <a:ext uri="{FF2B5EF4-FFF2-40B4-BE49-F238E27FC236}">
                <a16:creationId xmlns:a16="http://schemas.microsoft.com/office/drawing/2014/main" id="{A32095C3-C4DA-4319-8353-76F50F02F509}"/>
              </a:ext>
            </a:extLst>
          </p:cNvPr>
          <p:cNvSpPr/>
          <p:nvPr/>
        </p:nvSpPr>
        <p:spPr>
          <a:xfrm>
            <a:off x="8834006" y="2166395"/>
            <a:ext cx="2916739" cy="2954655"/>
          </a:xfrm>
          <a:prstGeom prst="rect">
            <a:avLst/>
          </a:prstGeom>
        </p:spPr>
        <p:txBody>
          <a:bodyPr wrap="square">
            <a:spAutoFit/>
          </a:bodyPr>
          <a:lstStyle/>
          <a:p>
            <a:r>
              <a:rPr lang="en-GB" sz="1600" b="1" dirty="0">
                <a:solidFill>
                  <a:schemeClr val="tx2"/>
                </a:solidFill>
                <a:latin typeface="Arial" panose="020B0604020202020204" pitchFamily="34" charset="0"/>
                <a:ea typeface="Times New Roman" panose="02020603050405020304" pitchFamily="18" charset="0"/>
              </a:rPr>
              <a:t>What is a Spoke?</a:t>
            </a:r>
          </a:p>
          <a:p>
            <a:endParaRPr lang="en-GB" sz="1600" b="1" dirty="0">
              <a:solidFill>
                <a:schemeClr val="tx2"/>
              </a:solidFill>
              <a:latin typeface="Arial" panose="020B0604020202020204" pitchFamily="34" charset="0"/>
              <a:ea typeface="Times New Roman" panose="02020603050405020304" pitchFamily="18" charset="0"/>
            </a:endParaRPr>
          </a:p>
          <a:p>
            <a:r>
              <a:rPr lang="en-GB" sz="1400" b="1" dirty="0">
                <a:solidFill>
                  <a:srgbClr val="000000"/>
                </a:solidFill>
                <a:cs typeface="Arial"/>
              </a:rPr>
              <a:t>Business aligned IT product teams that manage their digital portfolio </a:t>
            </a:r>
            <a:r>
              <a:rPr lang="en-GB" sz="1400" dirty="0">
                <a:solidFill>
                  <a:srgbClr val="000000"/>
                </a:solidFill>
                <a:cs typeface="Arial"/>
              </a:rPr>
              <a:t>and drive realization of digital priorities</a:t>
            </a:r>
          </a:p>
          <a:p>
            <a:endParaRPr lang="en-GB" sz="1400" dirty="0">
              <a:solidFill>
                <a:srgbClr val="000000"/>
              </a:solidFill>
              <a:latin typeface="Arial" panose="020B0604020202020204" pitchFamily="34" charset="0"/>
            </a:endParaRPr>
          </a:p>
          <a:p>
            <a:r>
              <a:rPr lang="en-GB" sz="1400" b="1" dirty="0">
                <a:solidFill>
                  <a:schemeClr val="tx2"/>
                </a:solidFill>
                <a:latin typeface="Arial" panose="020B0604020202020204" pitchFamily="34" charset="0"/>
                <a:ea typeface="Times New Roman" panose="02020603050405020304" pitchFamily="18" charset="0"/>
              </a:rPr>
              <a:t>Why is it needed?</a:t>
            </a:r>
          </a:p>
          <a:p>
            <a:endParaRPr lang="en-GB" sz="1400" b="1" dirty="0">
              <a:solidFill>
                <a:srgbClr val="000000"/>
              </a:solidFill>
              <a:latin typeface="Arial" panose="020B0604020202020204" pitchFamily="34" charset="0"/>
              <a:ea typeface="Times New Roman" panose="02020603050405020304" pitchFamily="18" charset="0"/>
            </a:endParaRPr>
          </a:p>
          <a:p>
            <a:r>
              <a:rPr lang="en-GB" sz="1400" b="1" dirty="0">
                <a:solidFill>
                  <a:srgbClr val="000000"/>
                </a:solidFill>
                <a:ea typeface="Times New Roman" panose="02020603050405020304" pitchFamily="18" charset="0"/>
                <a:cs typeface="Arial"/>
              </a:rPr>
              <a:t>Business-owned Digital outcomes </a:t>
            </a:r>
            <a:r>
              <a:rPr lang="en-GB" sz="1400" dirty="0">
                <a:solidFill>
                  <a:srgbClr val="000000"/>
                </a:solidFill>
                <a:ea typeface="Times New Roman" panose="02020603050405020304" pitchFamily="18" charset="0"/>
                <a:cs typeface="Arial"/>
              </a:rPr>
              <a:t>enabled by cross functional teams</a:t>
            </a:r>
            <a:endParaRPr lang="en-GB" sz="1400" dirty="0">
              <a:solidFill>
                <a:srgbClr val="000000"/>
              </a:solidFill>
              <a:cs typeface="Arial"/>
            </a:endParaRPr>
          </a:p>
          <a:p>
            <a:pPr>
              <a:spcAft>
                <a:spcPts val="600"/>
              </a:spcAft>
            </a:pPr>
            <a:endParaRPr lang="en-GB" sz="1400" dirty="0">
              <a:solidFill>
                <a:srgbClr val="000000"/>
              </a:solidFill>
              <a:latin typeface="Arial" panose="020B0604020202020204" pitchFamily="34" charset="0"/>
            </a:endParaRPr>
          </a:p>
        </p:txBody>
      </p:sp>
      <p:sp>
        <p:nvSpPr>
          <p:cNvPr id="14" name="Rectangle: Rounded Corners 94">
            <a:extLst>
              <a:ext uri="{FF2B5EF4-FFF2-40B4-BE49-F238E27FC236}">
                <a16:creationId xmlns:a16="http://schemas.microsoft.com/office/drawing/2014/main" id="{ADE9BA6A-0431-4084-88A0-B4CE08CB95C2}"/>
              </a:ext>
            </a:extLst>
          </p:cNvPr>
          <p:cNvSpPr/>
          <p:nvPr/>
        </p:nvSpPr>
        <p:spPr>
          <a:xfrm>
            <a:off x="6509654" y="3334380"/>
            <a:ext cx="1829946" cy="2355498"/>
          </a:xfrm>
          <a:prstGeom prst="roundRect">
            <a:avLst/>
          </a:prstGeom>
          <a:solidFill>
            <a:schemeClr val="tx1">
              <a:lumMod val="20000"/>
              <a:lumOff val="80000"/>
              <a:alpha val="85000"/>
            </a:schemeClr>
          </a:solidFill>
          <a:ln w="15717" cap="rnd" cmpd="sng" algn="ctr">
            <a:solidFill>
              <a:srgbClr val="005F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15" name="Rectangle: Rounded Corners 94">
            <a:extLst>
              <a:ext uri="{FF2B5EF4-FFF2-40B4-BE49-F238E27FC236}">
                <a16:creationId xmlns:a16="http://schemas.microsoft.com/office/drawing/2014/main" id="{68EF3E9D-43DE-4291-8E4B-F0DC235A153C}"/>
              </a:ext>
            </a:extLst>
          </p:cNvPr>
          <p:cNvSpPr/>
          <p:nvPr/>
        </p:nvSpPr>
        <p:spPr>
          <a:xfrm>
            <a:off x="6448335" y="3226899"/>
            <a:ext cx="1820830" cy="2408193"/>
          </a:xfrm>
          <a:prstGeom prst="roundRect">
            <a:avLst/>
          </a:prstGeom>
          <a:solidFill>
            <a:schemeClr val="bg2">
              <a:lumMod val="20000"/>
              <a:lumOff val="80000"/>
              <a:alpha val="85000"/>
            </a:schemeClr>
          </a:solidFill>
          <a:ln w="15717" cap="rnd" cmpd="sng" algn="ctr">
            <a:solidFill>
              <a:srgbClr val="005F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16" name="Rectangle: Rounded Corners 94">
            <a:extLst>
              <a:ext uri="{FF2B5EF4-FFF2-40B4-BE49-F238E27FC236}">
                <a16:creationId xmlns:a16="http://schemas.microsoft.com/office/drawing/2014/main" id="{2648E34F-5694-4BA8-8762-D0D17A97C3FB}"/>
              </a:ext>
            </a:extLst>
          </p:cNvPr>
          <p:cNvSpPr/>
          <p:nvPr/>
        </p:nvSpPr>
        <p:spPr>
          <a:xfrm>
            <a:off x="6374203" y="3153054"/>
            <a:ext cx="1820830" cy="2408193"/>
          </a:xfrm>
          <a:prstGeom prst="roundRect">
            <a:avLst/>
          </a:prstGeom>
          <a:solidFill>
            <a:schemeClr val="bg1">
              <a:lumMod val="95000"/>
              <a:alpha val="85000"/>
            </a:schemeClr>
          </a:solidFill>
          <a:ln w="15717" cap="rnd" cmpd="sng" algn="ctr">
            <a:solidFill>
              <a:srgbClr val="005F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17" name="Rectangle: Rounded Corners 94">
            <a:extLst>
              <a:ext uri="{FF2B5EF4-FFF2-40B4-BE49-F238E27FC236}">
                <a16:creationId xmlns:a16="http://schemas.microsoft.com/office/drawing/2014/main" id="{AB43A6E6-A1EC-4C0C-890E-DC705C5D0EFA}"/>
              </a:ext>
            </a:extLst>
          </p:cNvPr>
          <p:cNvSpPr/>
          <p:nvPr/>
        </p:nvSpPr>
        <p:spPr>
          <a:xfrm>
            <a:off x="6235859" y="2922227"/>
            <a:ext cx="1835151" cy="2408194"/>
          </a:xfrm>
          <a:prstGeom prst="roundRect">
            <a:avLst/>
          </a:prstGeom>
          <a:solidFill>
            <a:srgbClr val="E7FFFE">
              <a:alpha val="63922"/>
            </a:srgbClr>
          </a:solidFill>
          <a:ln w="15717" cap="rnd" cmpd="sng" algn="ctr">
            <a:solidFill>
              <a:srgbClr val="005F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18" name="Rectangle: Rounded Corners 101">
            <a:extLst>
              <a:ext uri="{FF2B5EF4-FFF2-40B4-BE49-F238E27FC236}">
                <a16:creationId xmlns:a16="http://schemas.microsoft.com/office/drawing/2014/main" id="{6CB53E49-539B-458F-9F96-9ABC9FE6CC2F}"/>
              </a:ext>
            </a:extLst>
          </p:cNvPr>
          <p:cNvSpPr/>
          <p:nvPr/>
        </p:nvSpPr>
        <p:spPr>
          <a:xfrm>
            <a:off x="3835619" y="2922227"/>
            <a:ext cx="1746891" cy="2408194"/>
          </a:xfrm>
          <a:prstGeom prst="roundRect">
            <a:avLst/>
          </a:prstGeom>
          <a:solidFill>
            <a:srgbClr val="00AFF0">
              <a:alpha val="23000"/>
            </a:srgbClr>
          </a:solidFill>
          <a:ln w="37719"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19" name="TextBox 18">
            <a:extLst>
              <a:ext uri="{FF2B5EF4-FFF2-40B4-BE49-F238E27FC236}">
                <a16:creationId xmlns:a16="http://schemas.microsoft.com/office/drawing/2014/main" id="{FDC0A267-9A0A-40BF-8078-419BDC07A37E}"/>
              </a:ext>
            </a:extLst>
          </p:cNvPr>
          <p:cNvSpPr txBox="1"/>
          <p:nvPr/>
        </p:nvSpPr>
        <p:spPr>
          <a:xfrm>
            <a:off x="4409883" y="3576104"/>
            <a:ext cx="862134" cy="1712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0701" tIns="60350" rIns="120701" bIns="60350" numCol="1" spcCol="0" rtlCol="0" fromWordArt="0" anchor="ctr" anchorCtr="0" forceAA="0" compatLnSpc="1">
            <a:prstTxWarp prst="textNoShape">
              <a:avLst/>
            </a:prstTxWarp>
            <a:noAutofit/>
          </a:bodyPr>
          <a:lstStyle/>
          <a:p>
            <a:pPr algn="ctr" defTabSz="914377"/>
            <a:r>
              <a:rPr lang="en-US" sz="1200" b="1" dirty="0">
                <a:solidFill>
                  <a:srgbClr val="00148C"/>
                </a:solidFill>
                <a:latin typeface="Arial" panose="020B0604020202020204"/>
              </a:rPr>
              <a:t>DIGITAL HUB</a:t>
            </a:r>
          </a:p>
        </p:txBody>
      </p:sp>
      <p:sp>
        <p:nvSpPr>
          <p:cNvPr id="20" name="TextBox 19">
            <a:extLst>
              <a:ext uri="{FF2B5EF4-FFF2-40B4-BE49-F238E27FC236}">
                <a16:creationId xmlns:a16="http://schemas.microsoft.com/office/drawing/2014/main" id="{A83D5412-E197-4FA9-BD1F-17B5667B1D3C}"/>
              </a:ext>
            </a:extLst>
          </p:cNvPr>
          <p:cNvSpPr txBox="1"/>
          <p:nvPr/>
        </p:nvSpPr>
        <p:spPr>
          <a:xfrm>
            <a:off x="7795147" y="3773117"/>
            <a:ext cx="481749" cy="1712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0701" tIns="60350" rIns="120701" bIns="60350" numCol="1" spcCol="0" rtlCol="0" fromWordArt="0" anchor="ctr" anchorCtr="0" forceAA="0" compatLnSpc="1">
            <a:prstTxWarp prst="textNoShape">
              <a:avLst/>
            </a:prstTxWarp>
            <a:noAutofit/>
          </a:bodyPr>
          <a:lstStyle/>
          <a:p>
            <a:pPr algn="ctr" defTabSz="914377"/>
            <a:endParaRPr lang="en-US" sz="900" b="1" dirty="0">
              <a:solidFill>
                <a:srgbClr val="00BEB4">
                  <a:lumMod val="50000"/>
                </a:srgbClr>
              </a:solidFill>
              <a:latin typeface="Arial" panose="020B0604020202020204"/>
            </a:endParaRPr>
          </a:p>
        </p:txBody>
      </p:sp>
      <p:grpSp>
        <p:nvGrpSpPr>
          <p:cNvPr id="21" name="Group 20">
            <a:extLst>
              <a:ext uri="{FF2B5EF4-FFF2-40B4-BE49-F238E27FC236}">
                <a16:creationId xmlns:a16="http://schemas.microsoft.com/office/drawing/2014/main" id="{A70EE5BF-420D-474C-B6A6-D6383206CD62}"/>
              </a:ext>
            </a:extLst>
          </p:cNvPr>
          <p:cNvGrpSpPr/>
          <p:nvPr/>
        </p:nvGrpSpPr>
        <p:grpSpPr>
          <a:xfrm>
            <a:off x="3986499" y="2413146"/>
            <a:ext cx="3310196" cy="3210179"/>
            <a:chOff x="2674872" y="864553"/>
            <a:chExt cx="3510871" cy="3404790"/>
          </a:xfrm>
        </p:grpSpPr>
        <p:sp>
          <p:nvSpPr>
            <p:cNvPr id="22" name="Oval 21">
              <a:extLst>
                <a:ext uri="{FF2B5EF4-FFF2-40B4-BE49-F238E27FC236}">
                  <a16:creationId xmlns:a16="http://schemas.microsoft.com/office/drawing/2014/main" id="{C4BD2975-7A14-4C5F-8D47-DBC87ECE6F16}"/>
                </a:ext>
              </a:extLst>
            </p:cNvPr>
            <p:cNvSpPr>
              <a:spLocks noChangeAspect="1"/>
            </p:cNvSpPr>
            <p:nvPr/>
          </p:nvSpPr>
          <p:spPr>
            <a:xfrm>
              <a:off x="2780953" y="864553"/>
              <a:ext cx="3404790" cy="3404790"/>
            </a:xfrm>
            <a:prstGeom prst="ellipse">
              <a:avLst/>
            </a:prstGeom>
            <a:noFill/>
            <a:ln w="37719" cap="flat" cmpd="sng" algn="ctr">
              <a:gradFill flip="none" rotWithShape="1">
                <a:gsLst>
                  <a:gs pos="0">
                    <a:srgbClr val="37373A"/>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7">
                <a:lnSpc>
                  <a:spcPct val="95000"/>
                </a:lnSpc>
              </a:pPr>
              <a:endParaRPr lang="en-US" sz="3600" dirty="0">
                <a:solidFill>
                  <a:srgbClr val="00BEB4">
                    <a:lumMod val="100000"/>
                  </a:srgbClr>
                </a:solidFill>
                <a:latin typeface="Arial" panose="020B0604020202020204"/>
              </a:endParaRPr>
            </a:p>
          </p:txBody>
        </p:sp>
        <p:sp>
          <p:nvSpPr>
            <p:cNvPr id="23" name="Arrow: Chevron 383">
              <a:extLst>
                <a:ext uri="{FF2B5EF4-FFF2-40B4-BE49-F238E27FC236}">
                  <a16:creationId xmlns:a16="http://schemas.microsoft.com/office/drawing/2014/main" id="{28C00113-DC01-480B-83C6-B5B6C2FB9E18}"/>
                </a:ext>
              </a:extLst>
            </p:cNvPr>
            <p:cNvSpPr/>
            <p:nvPr/>
          </p:nvSpPr>
          <p:spPr>
            <a:xfrm rot="12726743">
              <a:off x="5268884" y="999588"/>
              <a:ext cx="97664" cy="211798"/>
            </a:xfrm>
            <a:prstGeom prst="chevron">
              <a:avLst/>
            </a:prstGeom>
            <a:solidFill>
              <a:schemeClr val="tx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24" name="Arrow: Chevron 384">
              <a:extLst>
                <a:ext uri="{FF2B5EF4-FFF2-40B4-BE49-F238E27FC236}">
                  <a16:creationId xmlns:a16="http://schemas.microsoft.com/office/drawing/2014/main" id="{AE3B79B8-5271-4AA9-A146-115C91940662}"/>
                </a:ext>
              </a:extLst>
            </p:cNvPr>
            <p:cNvSpPr/>
            <p:nvPr/>
          </p:nvSpPr>
          <p:spPr>
            <a:xfrm rot="9207127">
              <a:off x="3659821" y="961977"/>
              <a:ext cx="97664" cy="211798"/>
            </a:xfrm>
            <a:prstGeom prst="chevron">
              <a:avLst/>
            </a:prstGeom>
            <a:solidFill>
              <a:schemeClr val="tx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25" name="Arrow: Chevron 385">
              <a:extLst>
                <a:ext uri="{FF2B5EF4-FFF2-40B4-BE49-F238E27FC236}">
                  <a16:creationId xmlns:a16="http://schemas.microsoft.com/office/drawing/2014/main" id="{6FBBA3C5-5615-41A5-8A30-09ED2805DD8F}"/>
                </a:ext>
              </a:extLst>
            </p:cNvPr>
            <p:cNvSpPr/>
            <p:nvPr/>
          </p:nvSpPr>
          <p:spPr>
            <a:xfrm rot="5185484">
              <a:off x="2731939" y="2521192"/>
              <a:ext cx="97664" cy="211798"/>
            </a:xfrm>
            <a:prstGeom prst="chevron">
              <a:avLst/>
            </a:prstGeom>
            <a:solidFill>
              <a:schemeClr val="tx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26" name="Arrow: Chevron 386">
              <a:extLst>
                <a:ext uri="{FF2B5EF4-FFF2-40B4-BE49-F238E27FC236}">
                  <a16:creationId xmlns:a16="http://schemas.microsoft.com/office/drawing/2014/main" id="{16635C18-13C3-4A17-AAFA-9624EE308D8C}"/>
                </a:ext>
              </a:extLst>
            </p:cNvPr>
            <p:cNvSpPr/>
            <p:nvPr/>
          </p:nvSpPr>
          <p:spPr>
            <a:xfrm rot="1827474">
              <a:off x="3661400" y="3968822"/>
              <a:ext cx="97664" cy="211798"/>
            </a:xfrm>
            <a:prstGeom prst="chevron">
              <a:avLst/>
            </a:prstGeom>
            <a:solidFill>
              <a:schemeClr val="tx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27" name="Arrow: Chevron 387">
              <a:extLst>
                <a:ext uri="{FF2B5EF4-FFF2-40B4-BE49-F238E27FC236}">
                  <a16:creationId xmlns:a16="http://schemas.microsoft.com/office/drawing/2014/main" id="{C8CA2926-5FEA-4355-8F61-64CF72F14E7D}"/>
                </a:ext>
              </a:extLst>
            </p:cNvPr>
            <p:cNvSpPr/>
            <p:nvPr/>
          </p:nvSpPr>
          <p:spPr>
            <a:xfrm rot="19509496">
              <a:off x="5263144" y="3953739"/>
              <a:ext cx="97664" cy="211798"/>
            </a:xfrm>
            <a:prstGeom prst="chevron">
              <a:avLst/>
            </a:prstGeom>
            <a:solidFill>
              <a:schemeClr val="tx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28" name="Arrow: Chevron 387">
              <a:extLst>
                <a:ext uri="{FF2B5EF4-FFF2-40B4-BE49-F238E27FC236}">
                  <a16:creationId xmlns:a16="http://schemas.microsoft.com/office/drawing/2014/main" id="{22B9AA32-5C96-4E22-9988-10E54AD505DD}"/>
                </a:ext>
              </a:extLst>
            </p:cNvPr>
            <p:cNvSpPr/>
            <p:nvPr/>
          </p:nvSpPr>
          <p:spPr>
            <a:xfrm rot="17692715">
              <a:off x="6012562" y="2992895"/>
              <a:ext cx="97664" cy="211798"/>
            </a:xfrm>
            <a:prstGeom prst="chevron">
              <a:avLst/>
            </a:prstGeom>
            <a:solidFill>
              <a:schemeClr val="tx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grpSp>
      <p:sp>
        <p:nvSpPr>
          <p:cNvPr id="29" name="Title 2">
            <a:extLst>
              <a:ext uri="{FF2B5EF4-FFF2-40B4-BE49-F238E27FC236}">
                <a16:creationId xmlns:a16="http://schemas.microsoft.com/office/drawing/2014/main" id="{CBACBF2F-72A0-4033-AEAC-2CD793396E22}"/>
              </a:ext>
            </a:extLst>
          </p:cNvPr>
          <p:cNvSpPr txBox="1">
            <a:spLocks/>
          </p:cNvSpPr>
          <p:nvPr/>
        </p:nvSpPr>
        <p:spPr>
          <a:xfrm>
            <a:off x="6489015" y="3767096"/>
            <a:ext cx="539273" cy="171269"/>
          </a:xfrm>
          <a:prstGeom prst="rect">
            <a:avLst/>
          </a:prstGeom>
          <a:solidFill>
            <a:srgbClr val="DEF6EB"/>
          </a:solidFill>
          <a:ln>
            <a:noFill/>
          </a:ln>
        </p:spPr>
        <p:txBody>
          <a:bodyPr spcFirstLastPara="1" vert="horz" wrap="square" lIns="0" tIns="0" rIns="0" bIns="0" rtlCol="0" anchor="t" anchorCtr="0">
            <a:noAutofit/>
          </a:bodyPr>
          <a:lstStyle>
            <a:lvl1pPr lvl="0" algn="l" defTabSz="914377" rtl="0" eaLnBrk="1" latinLnBrk="0" hangingPunct="1">
              <a:lnSpc>
                <a:spcPct val="95000"/>
              </a:lnSpc>
              <a:spcBef>
                <a:spcPts val="0"/>
              </a:spcBef>
              <a:spcAft>
                <a:spcPts val="0"/>
              </a:spcAft>
              <a:buClr>
                <a:schemeClr val="accent4"/>
              </a:buClr>
              <a:buSzPts val="1400"/>
              <a:buNone/>
              <a:defRPr sz="2400" b="1" kern="1200">
                <a:solidFill>
                  <a:schemeClr val="accent4"/>
                </a:solidFill>
                <a:latin typeface="Century Gothic" charset="0"/>
                <a:ea typeface="Century Gothic" charset="0"/>
                <a:cs typeface="Century Gothic" charset="0"/>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pPr algn="ctr" defTabSz="914354">
              <a:buClr>
                <a:srgbClr val="6B80FF"/>
              </a:buClr>
            </a:pPr>
            <a:r>
              <a:rPr lang="en-US" sz="1200" dirty="0">
                <a:solidFill>
                  <a:srgbClr val="000000"/>
                </a:solidFill>
                <a:latin typeface="Arial"/>
              </a:rPr>
              <a:t>SPOKE</a:t>
            </a:r>
          </a:p>
        </p:txBody>
      </p:sp>
      <p:sp>
        <p:nvSpPr>
          <p:cNvPr id="30" name="Rectangle 29">
            <a:extLst>
              <a:ext uri="{FF2B5EF4-FFF2-40B4-BE49-F238E27FC236}">
                <a16:creationId xmlns:a16="http://schemas.microsoft.com/office/drawing/2014/main" id="{A2625684-B79E-407B-B484-209789E6FE93}"/>
              </a:ext>
            </a:extLst>
          </p:cNvPr>
          <p:cNvSpPr/>
          <p:nvPr/>
        </p:nvSpPr>
        <p:spPr>
          <a:xfrm>
            <a:off x="4347129" y="3853725"/>
            <a:ext cx="1280182" cy="206918"/>
          </a:xfrm>
          <a:prstGeom prst="rect">
            <a:avLst/>
          </a:prstGeom>
        </p:spPr>
        <p:txBody>
          <a:bodyPr wrap="square" lIns="90526" tIns="45263" rIns="90526" bIns="45263">
            <a:spAutoFit/>
          </a:bodyPr>
          <a:lstStyle/>
          <a:p>
            <a:pPr defTabSz="914377"/>
            <a:endParaRPr lang="en-US" sz="900" i="1" dirty="0">
              <a:latin typeface="Arial" panose="020B0604020202020204"/>
              <a:cs typeface="Arial"/>
            </a:endParaRPr>
          </a:p>
        </p:txBody>
      </p:sp>
      <p:grpSp>
        <p:nvGrpSpPr>
          <p:cNvPr id="31" name="Group 30">
            <a:extLst>
              <a:ext uri="{FF2B5EF4-FFF2-40B4-BE49-F238E27FC236}">
                <a16:creationId xmlns:a16="http://schemas.microsoft.com/office/drawing/2014/main" id="{CD3CD6DC-EFD1-4B67-93E4-6116E07A9680}"/>
              </a:ext>
            </a:extLst>
          </p:cNvPr>
          <p:cNvGrpSpPr>
            <a:grpSpLocks noChangeAspect="1"/>
          </p:cNvGrpSpPr>
          <p:nvPr/>
        </p:nvGrpSpPr>
        <p:grpSpPr>
          <a:xfrm>
            <a:off x="5535691" y="1948277"/>
            <a:ext cx="286908" cy="286908"/>
            <a:chOff x="5273675" y="2606675"/>
            <a:chExt cx="1644650" cy="1644650"/>
          </a:xfrm>
        </p:grpSpPr>
        <p:sp>
          <p:nvSpPr>
            <p:cNvPr id="32" name="AutoShape 3">
              <a:extLst>
                <a:ext uri="{FF2B5EF4-FFF2-40B4-BE49-F238E27FC236}">
                  <a16:creationId xmlns:a16="http://schemas.microsoft.com/office/drawing/2014/main" id="{C80E83F8-F2E7-464B-9C5E-EA364DC774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140" tIns="12070" rIns="24140" bIns="12070" numCol="1" anchor="t" anchorCtr="0" compatLnSpc="1">
              <a:prstTxWarp prst="textNoShape">
                <a:avLst/>
              </a:prstTxWarp>
            </a:bodyPr>
            <a:lstStyle/>
            <a:p>
              <a:pPr defTabSz="1219170"/>
              <a:endParaRPr lang="en-US" sz="1200" dirty="0">
                <a:solidFill>
                  <a:srgbClr val="000000"/>
                </a:solidFill>
                <a:latin typeface="Arial" panose="020B0604020202020204"/>
                <a:cs typeface="Arial"/>
              </a:endParaRPr>
            </a:p>
          </p:txBody>
        </p:sp>
        <p:sp>
          <p:nvSpPr>
            <p:cNvPr id="33" name="Freeform 7">
              <a:extLst>
                <a:ext uri="{FF2B5EF4-FFF2-40B4-BE49-F238E27FC236}">
                  <a16:creationId xmlns:a16="http://schemas.microsoft.com/office/drawing/2014/main" id="{32CCFC4E-2023-4874-AAFD-B761095EF4C8}"/>
                </a:ext>
              </a:extLst>
            </p:cNvPr>
            <p:cNvSpPr>
              <a:spLocks/>
            </p:cNvSpPr>
            <p:nvPr/>
          </p:nvSpPr>
          <p:spPr bwMode="auto">
            <a:xfrm>
              <a:off x="5754885" y="2776540"/>
              <a:ext cx="683845" cy="1303335"/>
            </a:xfrm>
            <a:custGeom>
              <a:avLst/>
              <a:gdLst>
                <a:gd name="connsiteX0" fmla="*/ 169085 w 683844"/>
                <a:gd name="connsiteY0" fmla="*/ 1196974 h 1303337"/>
                <a:gd name="connsiteX1" fmla="*/ 512112 w 683844"/>
                <a:gd name="connsiteY1" fmla="*/ 1196974 h 1303337"/>
                <a:gd name="connsiteX2" fmla="*/ 527089 w 683844"/>
                <a:gd name="connsiteY2" fmla="*/ 1212679 h 1303337"/>
                <a:gd name="connsiteX3" fmla="*/ 527089 w 683844"/>
                <a:gd name="connsiteY3" fmla="*/ 1223386 h 1303337"/>
                <a:gd name="connsiteX4" fmla="*/ 555615 w 683844"/>
                <a:gd name="connsiteY4" fmla="*/ 1223386 h 1303337"/>
                <a:gd name="connsiteX5" fmla="*/ 571304 w 683844"/>
                <a:gd name="connsiteY5" fmla="*/ 1238377 h 1303337"/>
                <a:gd name="connsiteX6" fmla="*/ 571304 w 683844"/>
                <a:gd name="connsiteY6" fmla="*/ 1287633 h 1303337"/>
                <a:gd name="connsiteX7" fmla="*/ 555615 w 683844"/>
                <a:gd name="connsiteY7" fmla="*/ 1303337 h 1303337"/>
                <a:gd name="connsiteX8" fmla="*/ 123444 w 683844"/>
                <a:gd name="connsiteY8" fmla="*/ 1303337 h 1303337"/>
                <a:gd name="connsiteX9" fmla="*/ 107754 w 683844"/>
                <a:gd name="connsiteY9" fmla="*/ 1287633 h 1303337"/>
                <a:gd name="connsiteX10" fmla="*/ 107754 w 683844"/>
                <a:gd name="connsiteY10" fmla="*/ 1238377 h 1303337"/>
                <a:gd name="connsiteX11" fmla="*/ 123444 w 683844"/>
                <a:gd name="connsiteY11" fmla="*/ 1223386 h 1303337"/>
                <a:gd name="connsiteX12" fmla="*/ 153396 w 683844"/>
                <a:gd name="connsiteY12" fmla="*/ 1223386 h 1303337"/>
                <a:gd name="connsiteX13" fmla="*/ 153396 w 683844"/>
                <a:gd name="connsiteY13" fmla="*/ 1212679 h 1303337"/>
                <a:gd name="connsiteX14" fmla="*/ 169085 w 683844"/>
                <a:gd name="connsiteY14" fmla="*/ 1196974 h 1303337"/>
                <a:gd name="connsiteX15" fmla="*/ 199829 w 683844"/>
                <a:gd name="connsiteY15" fmla="*/ 620712 h 1303337"/>
                <a:gd name="connsiteX16" fmla="*/ 214117 w 683844"/>
                <a:gd name="connsiteY16" fmla="*/ 620712 h 1303337"/>
                <a:gd name="connsiteX17" fmla="*/ 229992 w 683844"/>
                <a:gd name="connsiteY17" fmla="*/ 620712 h 1303337"/>
                <a:gd name="connsiteX18" fmla="*/ 449067 w 683844"/>
                <a:gd name="connsiteY18" fmla="*/ 620712 h 1303337"/>
                <a:gd name="connsiteX19" fmla="*/ 464942 w 683844"/>
                <a:gd name="connsiteY19" fmla="*/ 620712 h 1303337"/>
                <a:gd name="connsiteX20" fmla="*/ 479230 w 683844"/>
                <a:gd name="connsiteY20" fmla="*/ 620712 h 1303337"/>
                <a:gd name="connsiteX21" fmla="*/ 480817 w 683844"/>
                <a:gd name="connsiteY21" fmla="*/ 620712 h 1303337"/>
                <a:gd name="connsiteX22" fmla="*/ 480817 w 683844"/>
                <a:gd name="connsiteY22" fmla="*/ 1166812 h 1303337"/>
                <a:gd name="connsiteX23" fmla="*/ 464942 w 683844"/>
                <a:gd name="connsiteY23" fmla="*/ 1166812 h 1303337"/>
                <a:gd name="connsiteX24" fmla="*/ 449067 w 683844"/>
                <a:gd name="connsiteY24" fmla="*/ 1166812 h 1303337"/>
                <a:gd name="connsiteX25" fmla="*/ 229992 w 683844"/>
                <a:gd name="connsiteY25" fmla="*/ 1166812 h 1303337"/>
                <a:gd name="connsiteX26" fmla="*/ 214117 w 683844"/>
                <a:gd name="connsiteY26" fmla="*/ 1166812 h 1303337"/>
                <a:gd name="connsiteX27" fmla="*/ 199829 w 683844"/>
                <a:gd name="connsiteY27" fmla="*/ 1166812 h 1303337"/>
                <a:gd name="connsiteX28" fmla="*/ 522080 w 683844"/>
                <a:gd name="connsiteY28" fmla="*/ 261936 h 1303337"/>
                <a:gd name="connsiteX29" fmla="*/ 449066 w 683844"/>
                <a:gd name="connsiteY29" fmla="*/ 555624 h 1303337"/>
                <a:gd name="connsiteX30" fmla="*/ 464098 w 683844"/>
                <a:gd name="connsiteY30" fmla="*/ 555624 h 1303337"/>
                <a:gd name="connsiteX31" fmla="*/ 571471 w 683844"/>
                <a:gd name="connsiteY31" fmla="*/ 555624 h 1303337"/>
                <a:gd name="connsiteX32" fmla="*/ 645916 w 683844"/>
                <a:gd name="connsiteY32" fmla="*/ 261936 h 1303337"/>
                <a:gd name="connsiteX33" fmla="*/ 522080 w 683844"/>
                <a:gd name="connsiteY33" fmla="*/ 261936 h 1303337"/>
                <a:gd name="connsiteX34" fmla="*/ 196654 w 683844"/>
                <a:gd name="connsiteY34" fmla="*/ 261936 h 1303337"/>
                <a:gd name="connsiteX35" fmla="*/ 268209 w 683844"/>
                <a:gd name="connsiteY35" fmla="*/ 555624 h 1303337"/>
                <a:gd name="connsiteX36" fmla="*/ 414181 w 683844"/>
                <a:gd name="connsiteY36" fmla="*/ 555624 h 1303337"/>
                <a:gd name="connsiteX37" fmla="*/ 487167 w 683844"/>
                <a:gd name="connsiteY37" fmla="*/ 261936 h 1303337"/>
                <a:gd name="connsiteX38" fmla="*/ 196654 w 683844"/>
                <a:gd name="connsiteY38" fmla="*/ 261936 h 1303337"/>
                <a:gd name="connsiteX39" fmla="*/ 37904 w 683844"/>
                <a:gd name="connsiteY39" fmla="*/ 261936 h 1303337"/>
                <a:gd name="connsiteX40" fmla="*/ 109486 w 683844"/>
                <a:gd name="connsiteY40" fmla="*/ 555624 h 1303337"/>
                <a:gd name="connsiteX41" fmla="*/ 215427 w 683844"/>
                <a:gd name="connsiteY41" fmla="*/ 555624 h 1303337"/>
                <a:gd name="connsiteX42" fmla="*/ 234754 w 683844"/>
                <a:gd name="connsiteY42" fmla="*/ 555624 h 1303337"/>
                <a:gd name="connsiteX43" fmla="*/ 160309 w 683844"/>
                <a:gd name="connsiteY43" fmla="*/ 261936 h 1303337"/>
                <a:gd name="connsiteX44" fmla="*/ 37904 w 683844"/>
                <a:gd name="connsiteY44" fmla="*/ 261936 h 1303337"/>
                <a:gd name="connsiteX45" fmla="*/ 16043 w 683844"/>
                <a:gd name="connsiteY45" fmla="*/ 228599 h 1303337"/>
                <a:gd name="connsiteX46" fmla="*/ 114445 w 683844"/>
                <a:gd name="connsiteY46" fmla="*/ 228599 h 1303337"/>
                <a:gd name="connsiteX47" fmla="*/ 130845 w 683844"/>
                <a:gd name="connsiteY47" fmla="*/ 228599 h 1303337"/>
                <a:gd name="connsiteX48" fmla="*/ 551549 w 683844"/>
                <a:gd name="connsiteY48" fmla="*/ 228599 h 1303337"/>
                <a:gd name="connsiteX49" fmla="*/ 565810 w 683844"/>
                <a:gd name="connsiteY49" fmla="*/ 228599 h 1303337"/>
                <a:gd name="connsiteX50" fmla="*/ 667778 w 683844"/>
                <a:gd name="connsiteY50" fmla="*/ 228599 h 1303337"/>
                <a:gd name="connsiteX51" fmla="*/ 683465 w 683844"/>
                <a:gd name="connsiteY51" fmla="*/ 247828 h 1303337"/>
                <a:gd name="connsiteX52" fmla="*/ 600750 w 683844"/>
                <a:gd name="connsiteY52" fmla="*/ 576855 h 1303337"/>
                <a:gd name="connsiteX53" fmla="*/ 585776 w 683844"/>
                <a:gd name="connsiteY53" fmla="*/ 588962 h 1303337"/>
                <a:gd name="connsiteX54" fmla="*/ 479530 w 683844"/>
                <a:gd name="connsiteY54" fmla="*/ 588962 h 1303337"/>
                <a:gd name="connsiteX55" fmla="*/ 478817 w 683844"/>
                <a:gd name="connsiteY55" fmla="*/ 588962 h 1303337"/>
                <a:gd name="connsiteX56" fmla="*/ 463843 w 683844"/>
                <a:gd name="connsiteY56" fmla="*/ 588962 h 1303337"/>
                <a:gd name="connsiteX57" fmla="*/ 448156 w 683844"/>
                <a:gd name="connsiteY57" fmla="*/ 588962 h 1303337"/>
                <a:gd name="connsiteX58" fmla="*/ 231386 w 683844"/>
                <a:gd name="connsiteY58" fmla="*/ 588962 h 1303337"/>
                <a:gd name="connsiteX59" fmla="*/ 215699 w 683844"/>
                <a:gd name="connsiteY59" fmla="*/ 588962 h 1303337"/>
                <a:gd name="connsiteX60" fmla="*/ 200012 w 683844"/>
                <a:gd name="connsiteY60" fmla="*/ 588962 h 1303337"/>
                <a:gd name="connsiteX61" fmla="*/ 96618 w 683844"/>
                <a:gd name="connsiteY61" fmla="*/ 588962 h 1303337"/>
                <a:gd name="connsiteX62" fmla="*/ 81644 w 683844"/>
                <a:gd name="connsiteY62" fmla="*/ 576855 h 1303337"/>
                <a:gd name="connsiteX63" fmla="*/ 355 w 683844"/>
                <a:gd name="connsiteY63" fmla="*/ 247828 h 1303337"/>
                <a:gd name="connsiteX64" fmla="*/ 16043 w 683844"/>
                <a:gd name="connsiteY64" fmla="*/ 228599 h 1303337"/>
                <a:gd name="connsiteX65" fmla="*/ 234414 w 683844"/>
                <a:gd name="connsiteY65" fmla="*/ 0 h 1303337"/>
                <a:gd name="connsiteX66" fmla="*/ 339684 w 683844"/>
                <a:gd name="connsiteY66" fmla="*/ 0 h 1303337"/>
                <a:gd name="connsiteX67" fmla="*/ 444955 w 683844"/>
                <a:gd name="connsiteY67" fmla="*/ 0 h 1303337"/>
                <a:gd name="connsiteX68" fmla="*/ 460710 w 683844"/>
                <a:gd name="connsiteY68" fmla="*/ 15748 h 1303337"/>
                <a:gd name="connsiteX69" fmla="*/ 444955 w 683844"/>
                <a:gd name="connsiteY69" fmla="*/ 31496 h 1303337"/>
                <a:gd name="connsiteX70" fmla="*/ 355439 w 683844"/>
                <a:gd name="connsiteY70" fmla="*/ 31496 h 1303337"/>
                <a:gd name="connsiteX71" fmla="*/ 355439 w 683844"/>
                <a:gd name="connsiteY71" fmla="*/ 105225 h 1303337"/>
                <a:gd name="connsiteX72" fmla="*/ 552374 w 683844"/>
                <a:gd name="connsiteY72" fmla="*/ 105225 h 1303337"/>
                <a:gd name="connsiteX73" fmla="*/ 568129 w 683844"/>
                <a:gd name="connsiteY73" fmla="*/ 120257 h 1303337"/>
                <a:gd name="connsiteX74" fmla="*/ 568129 w 683844"/>
                <a:gd name="connsiteY74" fmla="*/ 196850 h 1303337"/>
                <a:gd name="connsiteX75" fmla="*/ 566697 w 683844"/>
                <a:gd name="connsiteY75" fmla="*/ 196850 h 1303337"/>
                <a:gd name="connsiteX76" fmla="*/ 114104 w 683844"/>
                <a:gd name="connsiteY76" fmla="*/ 196850 h 1303337"/>
                <a:gd name="connsiteX77" fmla="*/ 114104 w 683844"/>
                <a:gd name="connsiteY77" fmla="*/ 120257 h 1303337"/>
                <a:gd name="connsiteX78" fmla="*/ 129859 w 683844"/>
                <a:gd name="connsiteY78" fmla="*/ 105225 h 1303337"/>
                <a:gd name="connsiteX79" fmla="*/ 323930 w 683844"/>
                <a:gd name="connsiteY79" fmla="*/ 105225 h 1303337"/>
                <a:gd name="connsiteX80" fmla="*/ 323930 w 683844"/>
                <a:gd name="connsiteY80" fmla="*/ 31496 h 1303337"/>
                <a:gd name="connsiteX81" fmla="*/ 234414 w 683844"/>
                <a:gd name="connsiteY81" fmla="*/ 31496 h 1303337"/>
                <a:gd name="connsiteX82" fmla="*/ 218659 w 683844"/>
                <a:gd name="connsiteY82" fmla="*/ 15748 h 1303337"/>
                <a:gd name="connsiteX83" fmla="*/ 234414 w 683844"/>
                <a:gd name="connsiteY83" fmla="*/ 0 h 130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83844" h="1303337">
                  <a:moveTo>
                    <a:pt x="169085" y="1196974"/>
                  </a:moveTo>
                  <a:cubicBezTo>
                    <a:pt x="169085" y="1196974"/>
                    <a:pt x="479307" y="1196974"/>
                    <a:pt x="512112" y="1196974"/>
                  </a:cubicBezTo>
                  <a:cubicBezTo>
                    <a:pt x="521383" y="1196974"/>
                    <a:pt x="527089" y="1204113"/>
                    <a:pt x="527089" y="1212679"/>
                  </a:cubicBezTo>
                  <a:cubicBezTo>
                    <a:pt x="527089" y="1212679"/>
                    <a:pt x="527089" y="1212679"/>
                    <a:pt x="527089" y="1223386"/>
                  </a:cubicBezTo>
                  <a:cubicBezTo>
                    <a:pt x="527089" y="1223386"/>
                    <a:pt x="527089" y="1223386"/>
                    <a:pt x="555615" y="1223386"/>
                  </a:cubicBezTo>
                  <a:cubicBezTo>
                    <a:pt x="564173" y="1223386"/>
                    <a:pt x="571304" y="1230525"/>
                    <a:pt x="571304" y="1238377"/>
                  </a:cubicBezTo>
                  <a:cubicBezTo>
                    <a:pt x="571304" y="1238377"/>
                    <a:pt x="571304" y="1238377"/>
                    <a:pt x="571304" y="1287633"/>
                  </a:cubicBezTo>
                  <a:cubicBezTo>
                    <a:pt x="571304" y="1296199"/>
                    <a:pt x="564173" y="1303337"/>
                    <a:pt x="555615" y="1303337"/>
                  </a:cubicBezTo>
                  <a:cubicBezTo>
                    <a:pt x="555615" y="1303337"/>
                    <a:pt x="555615" y="1303337"/>
                    <a:pt x="123444" y="1303337"/>
                  </a:cubicBezTo>
                  <a:cubicBezTo>
                    <a:pt x="114886" y="1303337"/>
                    <a:pt x="107754" y="1296199"/>
                    <a:pt x="107754" y="1287633"/>
                  </a:cubicBezTo>
                  <a:cubicBezTo>
                    <a:pt x="107754" y="1287633"/>
                    <a:pt x="107754" y="1287633"/>
                    <a:pt x="107754" y="1238377"/>
                  </a:cubicBezTo>
                  <a:cubicBezTo>
                    <a:pt x="107754" y="1230525"/>
                    <a:pt x="114886" y="1223386"/>
                    <a:pt x="123444" y="1223386"/>
                  </a:cubicBezTo>
                  <a:cubicBezTo>
                    <a:pt x="123444" y="1223386"/>
                    <a:pt x="123444" y="1223386"/>
                    <a:pt x="153396" y="1223386"/>
                  </a:cubicBezTo>
                  <a:cubicBezTo>
                    <a:pt x="153396" y="1223386"/>
                    <a:pt x="153396" y="1223386"/>
                    <a:pt x="153396" y="1212679"/>
                  </a:cubicBezTo>
                  <a:cubicBezTo>
                    <a:pt x="153396" y="1204113"/>
                    <a:pt x="159814" y="1196974"/>
                    <a:pt x="169085" y="1196974"/>
                  </a:cubicBezTo>
                  <a:close/>
                  <a:moveTo>
                    <a:pt x="199829" y="620712"/>
                  </a:moveTo>
                  <a:lnTo>
                    <a:pt x="214117" y="620712"/>
                  </a:lnTo>
                  <a:lnTo>
                    <a:pt x="229992" y="620712"/>
                  </a:lnTo>
                  <a:lnTo>
                    <a:pt x="449067" y="620712"/>
                  </a:lnTo>
                  <a:lnTo>
                    <a:pt x="464942" y="620712"/>
                  </a:lnTo>
                  <a:lnTo>
                    <a:pt x="479230" y="620712"/>
                  </a:lnTo>
                  <a:lnTo>
                    <a:pt x="480817" y="620712"/>
                  </a:lnTo>
                  <a:lnTo>
                    <a:pt x="480817" y="1166812"/>
                  </a:lnTo>
                  <a:lnTo>
                    <a:pt x="464942" y="1166812"/>
                  </a:lnTo>
                  <a:lnTo>
                    <a:pt x="449067" y="1166812"/>
                  </a:lnTo>
                  <a:lnTo>
                    <a:pt x="229992" y="1166812"/>
                  </a:lnTo>
                  <a:lnTo>
                    <a:pt x="214117" y="1166812"/>
                  </a:lnTo>
                  <a:lnTo>
                    <a:pt x="199829" y="1166812"/>
                  </a:lnTo>
                  <a:close/>
                  <a:moveTo>
                    <a:pt x="522080" y="261936"/>
                  </a:moveTo>
                  <a:cubicBezTo>
                    <a:pt x="522080" y="261936"/>
                    <a:pt x="522080" y="261936"/>
                    <a:pt x="449066" y="555624"/>
                  </a:cubicBezTo>
                  <a:cubicBezTo>
                    <a:pt x="449066" y="555624"/>
                    <a:pt x="449066" y="555624"/>
                    <a:pt x="464098" y="555624"/>
                  </a:cubicBezTo>
                  <a:cubicBezTo>
                    <a:pt x="464098" y="555624"/>
                    <a:pt x="464098" y="555624"/>
                    <a:pt x="571471" y="555624"/>
                  </a:cubicBezTo>
                  <a:cubicBezTo>
                    <a:pt x="571471" y="555624"/>
                    <a:pt x="571471" y="555624"/>
                    <a:pt x="645916" y="261936"/>
                  </a:cubicBezTo>
                  <a:cubicBezTo>
                    <a:pt x="645916" y="261936"/>
                    <a:pt x="645916" y="261936"/>
                    <a:pt x="522080" y="261936"/>
                  </a:cubicBezTo>
                  <a:close/>
                  <a:moveTo>
                    <a:pt x="196654" y="261936"/>
                  </a:moveTo>
                  <a:cubicBezTo>
                    <a:pt x="196654" y="261936"/>
                    <a:pt x="196654" y="261936"/>
                    <a:pt x="268209" y="555624"/>
                  </a:cubicBezTo>
                  <a:cubicBezTo>
                    <a:pt x="268209" y="555624"/>
                    <a:pt x="268209" y="555624"/>
                    <a:pt x="414181" y="555624"/>
                  </a:cubicBezTo>
                  <a:cubicBezTo>
                    <a:pt x="414181" y="555624"/>
                    <a:pt x="414181" y="555624"/>
                    <a:pt x="487167" y="261936"/>
                  </a:cubicBezTo>
                  <a:cubicBezTo>
                    <a:pt x="487167" y="261936"/>
                    <a:pt x="487167" y="261936"/>
                    <a:pt x="196654" y="261936"/>
                  </a:cubicBezTo>
                  <a:close/>
                  <a:moveTo>
                    <a:pt x="37904" y="261936"/>
                  </a:moveTo>
                  <a:cubicBezTo>
                    <a:pt x="37904" y="261936"/>
                    <a:pt x="37904" y="261936"/>
                    <a:pt x="109486" y="555624"/>
                  </a:cubicBezTo>
                  <a:cubicBezTo>
                    <a:pt x="109486" y="555624"/>
                    <a:pt x="109486" y="555624"/>
                    <a:pt x="215427" y="555624"/>
                  </a:cubicBezTo>
                  <a:cubicBezTo>
                    <a:pt x="215427" y="555624"/>
                    <a:pt x="215427" y="555624"/>
                    <a:pt x="234754" y="555624"/>
                  </a:cubicBezTo>
                  <a:cubicBezTo>
                    <a:pt x="234754" y="555624"/>
                    <a:pt x="234754" y="555624"/>
                    <a:pt x="160309" y="261936"/>
                  </a:cubicBezTo>
                  <a:cubicBezTo>
                    <a:pt x="160309" y="261936"/>
                    <a:pt x="160309" y="261936"/>
                    <a:pt x="37904" y="261936"/>
                  </a:cubicBezTo>
                  <a:close/>
                  <a:moveTo>
                    <a:pt x="16043" y="228599"/>
                  </a:moveTo>
                  <a:cubicBezTo>
                    <a:pt x="16043" y="228599"/>
                    <a:pt x="16043" y="228599"/>
                    <a:pt x="114445" y="228599"/>
                  </a:cubicBezTo>
                  <a:cubicBezTo>
                    <a:pt x="114445" y="228599"/>
                    <a:pt x="114445" y="228599"/>
                    <a:pt x="130845" y="228599"/>
                  </a:cubicBezTo>
                  <a:cubicBezTo>
                    <a:pt x="130845" y="228599"/>
                    <a:pt x="130845" y="228599"/>
                    <a:pt x="551549" y="228599"/>
                  </a:cubicBezTo>
                  <a:cubicBezTo>
                    <a:pt x="551549" y="228599"/>
                    <a:pt x="551549" y="228599"/>
                    <a:pt x="565810" y="228599"/>
                  </a:cubicBezTo>
                  <a:cubicBezTo>
                    <a:pt x="565810" y="228599"/>
                    <a:pt x="565810" y="228599"/>
                    <a:pt x="667778" y="228599"/>
                  </a:cubicBezTo>
                  <a:cubicBezTo>
                    <a:pt x="678474" y="228599"/>
                    <a:pt x="685604" y="237857"/>
                    <a:pt x="683465" y="247828"/>
                  </a:cubicBezTo>
                  <a:cubicBezTo>
                    <a:pt x="683465" y="247828"/>
                    <a:pt x="683465" y="247828"/>
                    <a:pt x="600750" y="576855"/>
                  </a:cubicBezTo>
                  <a:cubicBezTo>
                    <a:pt x="599324" y="583977"/>
                    <a:pt x="592907" y="588962"/>
                    <a:pt x="585776" y="588962"/>
                  </a:cubicBezTo>
                  <a:cubicBezTo>
                    <a:pt x="585776" y="588962"/>
                    <a:pt x="585776" y="588962"/>
                    <a:pt x="479530" y="588962"/>
                  </a:cubicBezTo>
                  <a:cubicBezTo>
                    <a:pt x="479530" y="588962"/>
                    <a:pt x="479530" y="588962"/>
                    <a:pt x="478817" y="588962"/>
                  </a:cubicBezTo>
                  <a:cubicBezTo>
                    <a:pt x="478817" y="588962"/>
                    <a:pt x="478817" y="588962"/>
                    <a:pt x="463843" y="588962"/>
                  </a:cubicBezTo>
                  <a:cubicBezTo>
                    <a:pt x="463843" y="588962"/>
                    <a:pt x="463843" y="588962"/>
                    <a:pt x="448156" y="588962"/>
                  </a:cubicBezTo>
                  <a:cubicBezTo>
                    <a:pt x="448156" y="588962"/>
                    <a:pt x="448156" y="588962"/>
                    <a:pt x="231386" y="588962"/>
                  </a:cubicBezTo>
                  <a:cubicBezTo>
                    <a:pt x="231386" y="588962"/>
                    <a:pt x="231386" y="588962"/>
                    <a:pt x="215699" y="588962"/>
                  </a:cubicBezTo>
                  <a:cubicBezTo>
                    <a:pt x="215699" y="588962"/>
                    <a:pt x="215699" y="588962"/>
                    <a:pt x="200012" y="588962"/>
                  </a:cubicBezTo>
                  <a:cubicBezTo>
                    <a:pt x="200012" y="588962"/>
                    <a:pt x="200012" y="588962"/>
                    <a:pt x="96618" y="588962"/>
                  </a:cubicBezTo>
                  <a:cubicBezTo>
                    <a:pt x="89488" y="588962"/>
                    <a:pt x="83070" y="583977"/>
                    <a:pt x="81644" y="576855"/>
                  </a:cubicBezTo>
                  <a:cubicBezTo>
                    <a:pt x="81644" y="576855"/>
                    <a:pt x="81644" y="576855"/>
                    <a:pt x="355" y="247828"/>
                  </a:cubicBezTo>
                  <a:cubicBezTo>
                    <a:pt x="-1784" y="237857"/>
                    <a:pt x="6060" y="228599"/>
                    <a:pt x="16043" y="228599"/>
                  </a:cubicBezTo>
                  <a:close/>
                  <a:moveTo>
                    <a:pt x="234414" y="0"/>
                  </a:moveTo>
                  <a:cubicBezTo>
                    <a:pt x="234414" y="0"/>
                    <a:pt x="234414" y="0"/>
                    <a:pt x="339684" y="0"/>
                  </a:cubicBezTo>
                  <a:cubicBezTo>
                    <a:pt x="339684" y="0"/>
                    <a:pt x="339684" y="0"/>
                    <a:pt x="444955" y="0"/>
                  </a:cubicBezTo>
                  <a:cubicBezTo>
                    <a:pt x="453549" y="0"/>
                    <a:pt x="460710" y="7158"/>
                    <a:pt x="460710" y="15748"/>
                  </a:cubicBezTo>
                  <a:cubicBezTo>
                    <a:pt x="460710" y="24338"/>
                    <a:pt x="453549" y="31496"/>
                    <a:pt x="444955" y="31496"/>
                  </a:cubicBezTo>
                  <a:cubicBezTo>
                    <a:pt x="444955" y="31496"/>
                    <a:pt x="444955" y="31496"/>
                    <a:pt x="355439" y="31496"/>
                  </a:cubicBezTo>
                  <a:cubicBezTo>
                    <a:pt x="355439" y="31496"/>
                    <a:pt x="355439" y="31496"/>
                    <a:pt x="355439" y="105225"/>
                  </a:cubicBezTo>
                  <a:cubicBezTo>
                    <a:pt x="355439" y="105225"/>
                    <a:pt x="355439" y="105225"/>
                    <a:pt x="552374" y="105225"/>
                  </a:cubicBezTo>
                  <a:cubicBezTo>
                    <a:pt x="561684" y="105225"/>
                    <a:pt x="568129" y="111668"/>
                    <a:pt x="568129" y="120257"/>
                  </a:cubicBezTo>
                  <a:cubicBezTo>
                    <a:pt x="568129" y="120257"/>
                    <a:pt x="568129" y="120257"/>
                    <a:pt x="568129" y="196850"/>
                  </a:cubicBezTo>
                  <a:cubicBezTo>
                    <a:pt x="568129" y="196850"/>
                    <a:pt x="568129" y="196850"/>
                    <a:pt x="566697" y="196850"/>
                  </a:cubicBezTo>
                  <a:cubicBezTo>
                    <a:pt x="566697" y="196850"/>
                    <a:pt x="566697" y="196850"/>
                    <a:pt x="114104" y="196850"/>
                  </a:cubicBezTo>
                  <a:cubicBezTo>
                    <a:pt x="114104" y="196850"/>
                    <a:pt x="114104" y="196850"/>
                    <a:pt x="114104" y="120257"/>
                  </a:cubicBezTo>
                  <a:cubicBezTo>
                    <a:pt x="114104" y="111668"/>
                    <a:pt x="120549" y="105225"/>
                    <a:pt x="129859" y="105225"/>
                  </a:cubicBezTo>
                  <a:cubicBezTo>
                    <a:pt x="129859" y="105225"/>
                    <a:pt x="129859" y="105225"/>
                    <a:pt x="323930" y="105225"/>
                  </a:cubicBezTo>
                  <a:cubicBezTo>
                    <a:pt x="323930" y="105225"/>
                    <a:pt x="323930" y="105225"/>
                    <a:pt x="323930" y="31496"/>
                  </a:cubicBezTo>
                  <a:cubicBezTo>
                    <a:pt x="323930" y="31496"/>
                    <a:pt x="323930" y="31496"/>
                    <a:pt x="234414" y="31496"/>
                  </a:cubicBezTo>
                  <a:cubicBezTo>
                    <a:pt x="225820" y="31496"/>
                    <a:pt x="218659" y="24338"/>
                    <a:pt x="218659" y="15748"/>
                  </a:cubicBezTo>
                  <a:cubicBezTo>
                    <a:pt x="218659" y="7158"/>
                    <a:pt x="225820" y="0"/>
                    <a:pt x="234414" y="0"/>
                  </a:cubicBezTo>
                  <a:close/>
                </a:path>
              </a:pathLst>
            </a:custGeom>
            <a:solidFill>
              <a:srgbClr val="FFFFFF"/>
            </a:solidFill>
            <a:ln>
              <a:noFill/>
            </a:ln>
          </p:spPr>
          <p:txBody>
            <a:bodyPr vert="horz" wrap="square" lIns="24140" tIns="12070" rIns="24140" bIns="12070" numCol="1" anchor="t" anchorCtr="0" compatLnSpc="1">
              <a:prstTxWarp prst="textNoShape">
                <a:avLst/>
              </a:prstTxWarp>
              <a:noAutofit/>
            </a:bodyPr>
            <a:lstStyle/>
            <a:p>
              <a:pPr defTabSz="1219170"/>
              <a:endParaRPr lang="en-US" sz="1200" dirty="0">
                <a:solidFill>
                  <a:srgbClr val="000000"/>
                </a:solidFill>
                <a:latin typeface="Arial" panose="020B0604020202020204"/>
                <a:cs typeface="Arial"/>
              </a:endParaRPr>
            </a:p>
          </p:txBody>
        </p:sp>
      </p:grpSp>
      <p:sp>
        <p:nvSpPr>
          <p:cNvPr id="34" name="Oval 33">
            <a:extLst>
              <a:ext uri="{FF2B5EF4-FFF2-40B4-BE49-F238E27FC236}">
                <a16:creationId xmlns:a16="http://schemas.microsoft.com/office/drawing/2014/main" id="{B7450ED3-E92A-40CC-A701-80CCDA63CC5C}"/>
              </a:ext>
            </a:extLst>
          </p:cNvPr>
          <p:cNvSpPr/>
          <p:nvPr/>
        </p:nvSpPr>
        <p:spPr>
          <a:xfrm>
            <a:off x="3942181" y="2288594"/>
            <a:ext cx="3462424" cy="3462423"/>
          </a:xfrm>
          <a:prstGeom prst="ellipse">
            <a:avLst/>
          </a:prstGeom>
          <a:noFill/>
          <a:ln w="12573" cap="rnd" cmpd="sng" algn="ctr">
            <a:solidFill>
              <a:srgbClr val="00B0F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35" name="Oval 34">
            <a:extLst>
              <a:ext uri="{FF2B5EF4-FFF2-40B4-BE49-F238E27FC236}">
                <a16:creationId xmlns:a16="http://schemas.microsoft.com/office/drawing/2014/main" id="{2E25ED20-647E-4DEC-BE9F-EE58130D55FF}"/>
              </a:ext>
            </a:extLst>
          </p:cNvPr>
          <p:cNvSpPr/>
          <p:nvPr/>
        </p:nvSpPr>
        <p:spPr>
          <a:xfrm>
            <a:off x="4188869" y="2553221"/>
            <a:ext cx="2948308" cy="2948308"/>
          </a:xfrm>
          <a:prstGeom prst="ellipse">
            <a:avLst/>
          </a:prstGeom>
          <a:noFill/>
          <a:ln w="12573" cap="rnd" cmpd="sng" algn="ctr">
            <a:solidFill>
              <a:srgbClr val="00B0F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701" tIns="60350" rIns="120701" bIns="60350" numCol="1" spcCol="0" rtlCol="0" fromWordArt="0" anchor="ctr" anchorCtr="0" forceAA="0" compatLnSpc="1">
            <a:prstTxWarp prst="textNoShape">
              <a:avLst/>
            </a:prstTxWarp>
            <a:noAutofit/>
          </a:bodyPr>
          <a:lstStyle/>
          <a:p>
            <a:pPr algn="ctr" defTabSz="914377"/>
            <a:endParaRPr lang="en-US" sz="1000" dirty="0">
              <a:solidFill>
                <a:srgbClr val="FFFFFF"/>
              </a:solidFill>
              <a:latin typeface="Arial" panose="020B0604020202020204"/>
            </a:endParaRPr>
          </a:p>
        </p:txBody>
      </p:sp>
      <p:sp>
        <p:nvSpPr>
          <p:cNvPr id="36" name="Title 2">
            <a:extLst>
              <a:ext uri="{FF2B5EF4-FFF2-40B4-BE49-F238E27FC236}">
                <a16:creationId xmlns:a16="http://schemas.microsoft.com/office/drawing/2014/main" id="{743C4304-BE32-46E7-AD2A-EAE587FA676D}"/>
              </a:ext>
            </a:extLst>
          </p:cNvPr>
          <p:cNvSpPr txBox="1">
            <a:spLocks/>
          </p:cNvSpPr>
          <p:nvPr/>
        </p:nvSpPr>
        <p:spPr>
          <a:xfrm>
            <a:off x="6986233" y="2553221"/>
            <a:ext cx="1370147" cy="305654"/>
          </a:xfrm>
          <a:prstGeom prst="rect">
            <a:avLst/>
          </a:prstGeom>
          <a:noFill/>
          <a:ln>
            <a:noFill/>
          </a:ln>
        </p:spPr>
        <p:txBody>
          <a:bodyPr spcFirstLastPara="1" vert="horz" wrap="square" lIns="0" tIns="0" rIns="0" bIns="0" rtlCol="0" anchor="t" anchorCtr="0">
            <a:noAutofit/>
          </a:bodyPr>
          <a:lstStyle>
            <a:lvl1pPr lvl="0" algn="l" defTabSz="914377" rtl="0" eaLnBrk="1" latinLnBrk="0" hangingPunct="1">
              <a:lnSpc>
                <a:spcPct val="95000"/>
              </a:lnSpc>
              <a:spcBef>
                <a:spcPts val="0"/>
              </a:spcBef>
              <a:spcAft>
                <a:spcPts val="0"/>
              </a:spcAft>
              <a:buClr>
                <a:schemeClr val="accent4"/>
              </a:buClr>
              <a:buSzPts val="1400"/>
              <a:buNone/>
              <a:defRPr sz="2400" b="1" kern="1200">
                <a:solidFill>
                  <a:schemeClr val="accent4"/>
                </a:solidFill>
                <a:latin typeface="Century Gothic" charset="0"/>
                <a:ea typeface="Century Gothic" charset="0"/>
                <a:cs typeface="Century Gothic" charset="0"/>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pPr algn="ctr" defTabSz="914354">
              <a:buClr>
                <a:srgbClr val="6B80FF"/>
              </a:buClr>
            </a:pPr>
            <a:r>
              <a:rPr lang="en-US" sz="1200" dirty="0">
                <a:solidFill>
                  <a:srgbClr val="000000"/>
                </a:solidFill>
                <a:latin typeface="Arial"/>
              </a:rPr>
              <a:t>MULTIPLE BUSINESS UNITS</a:t>
            </a:r>
          </a:p>
        </p:txBody>
      </p:sp>
      <p:sp>
        <p:nvSpPr>
          <p:cNvPr id="37" name="TextBox 36">
            <a:extLst>
              <a:ext uri="{FF2B5EF4-FFF2-40B4-BE49-F238E27FC236}">
                <a16:creationId xmlns:a16="http://schemas.microsoft.com/office/drawing/2014/main" id="{E9367F17-FEC5-4AFF-B863-D49B610FCD1F}"/>
              </a:ext>
            </a:extLst>
          </p:cNvPr>
          <p:cNvSpPr txBox="1"/>
          <p:nvPr/>
        </p:nvSpPr>
        <p:spPr>
          <a:xfrm>
            <a:off x="6770043" y="1628503"/>
            <a:ext cx="256286" cy="2195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38" name="Rectangle 37">
            <a:extLst>
              <a:ext uri="{FF2B5EF4-FFF2-40B4-BE49-F238E27FC236}">
                <a16:creationId xmlns:a16="http://schemas.microsoft.com/office/drawing/2014/main" id="{B1D770E3-223F-402C-A52B-8412EA38BB8D}"/>
              </a:ext>
            </a:extLst>
          </p:cNvPr>
          <p:cNvSpPr/>
          <p:nvPr/>
        </p:nvSpPr>
        <p:spPr>
          <a:xfrm>
            <a:off x="4409884" y="3952021"/>
            <a:ext cx="1105532" cy="184460"/>
          </a:xfrm>
          <a:prstGeom prst="rect">
            <a:avLst/>
          </a:prstGeom>
          <a:noFill/>
          <a:ln w="8572" cap="rnd"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rgbClr val="00AFF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1000" dirty="0">
                <a:solidFill>
                  <a:srgbClr val="000000"/>
                </a:solidFill>
              </a:rPr>
              <a:t>Digital talent pool</a:t>
            </a:r>
          </a:p>
        </p:txBody>
      </p:sp>
      <p:sp>
        <p:nvSpPr>
          <p:cNvPr id="39" name="Rectangle 38">
            <a:extLst>
              <a:ext uri="{FF2B5EF4-FFF2-40B4-BE49-F238E27FC236}">
                <a16:creationId xmlns:a16="http://schemas.microsoft.com/office/drawing/2014/main" id="{396C72D1-F7EF-4974-8B31-D129A7AEBA90}"/>
              </a:ext>
            </a:extLst>
          </p:cNvPr>
          <p:cNvSpPr/>
          <p:nvPr/>
        </p:nvSpPr>
        <p:spPr>
          <a:xfrm>
            <a:off x="4409884" y="4184184"/>
            <a:ext cx="1105532" cy="184460"/>
          </a:xfrm>
          <a:prstGeom prst="rect">
            <a:avLst/>
          </a:prstGeom>
          <a:noFill/>
          <a:ln w="8572" cap="rnd"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rgbClr val="00AFF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1000" dirty="0">
                <a:solidFill>
                  <a:srgbClr val="000000"/>
                </a:solidFill>
              </a:rPr>
              <a:t>Shared services</a:t>
            </a:r>
          </a:p>
        </p:txBody>
      </p:sp>
      <p:sp>
        <p:nvSpPr>
          <p:cNvPr id="40" name="Rectangle 39">
            <a:extLst>
              <a:ext uri="{FF2B5EF4-FFF2-40B4-BE49-F238E27FC236}">
                <a16:creationId xmlns:a16="http://schemas.microsoft.com/office/drawing/2014/main" id="{70BE7863-9BF4-41F7-B79C-50A942A3B4A3}"/>
              </a:ext>
            </a:extLst>
          </p:cNvPr>
          <p:cNvSpPr/>
          <p:nvPr/>
        </p:nvSpPr>
        <p:spPr>
          <a:xfrm>
            <a:off x="4409884" y="4416348"/>
            <a:ext cx="1105532" cy="184460"/>
          </a:xfrm>
          <a:prstGeom prst="rect">
            <a:avLst/>
          </a:prstGeom>
          <a:noFill/>
          <a:ln w="8572" cap="rnd"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rgbClr val="00AFF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1000" dirty="0">
                <a:solidFill>
                  <a:srgbClr val="000000"/>
                </a:solidFill>
              </a:rPr>
              <a:t>Standards</a:t>
            </a:r>
          </a:p>
        </p:txBody>
      </p:sp>
      <p:sp>
        <p:nvSpPr>
          <p:cNvPr id="41" name="Rectangle 40">
            <a:extLst>
              <a:ext uri="{FF2B5EF4-FFF2-40B4-BE49-F238E27FC236}">
                <a16:creationId xmlns:a16="http://schemas.microsoft.com/office/drawing/2014/main" id="{E78E81EE-D143-4DA9-98FC-A7C98524D126}"/>
              </a:ext>
            </a:extLst>
          </p:cNvPr>
          <p:cNvSpPr/>
          <p:nvPr/>
        </p:nvSpPr>
        <p:spPr>
          <a:xfrm>
            <a:off x="4409884" y="4648512"/>
            <a:ext cx="1105532" cy="184460"/>
          </a:xfrm>
          <a:prstGeom prst="rect">
            <a:avLst/>
          </a:prstGeom>
          <a:noFill/>
          <a:ln w="8572" cap="rnd" cmpd="sng" algn="ctr">
            <a:solidFill>
              <a:srgbClr val="00148C"/>
            </a:solidFill>
            <a:prstDash val="solid"/>
            <a:round/>
            <a:headEnd type="none" w="med" len="med"/>
            <a:tailEnd type="none" w="med" len="med"/>
          </a:ln>
          <a:effectLst/>
          <a:extLst>
            <a:ext uri="{909E8E84-426E-40DD-AFC4-6F175D3DCCD1}">
              <a14:hiddenFill xmlns:a14="http://schemas.microsoft.com/office/drawing/2010/main">
                <a:solidFill>
                  <a:srgbClr val="00AFF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1000" dirty="0">
                <a:solidFill>
                  <a:srgbClr val="000000"/>
                </a:solidFill>
              </a:rPr>
              <a:t>Platform products</a:t>
            </a:r>
          </a:p>
        </p:txBody>
      </p:sp>
      <p:sp>
        <p:nvSpPr>
          <p:cNvPr id="42" name="Rectangle 41">
            <a:extLst>
              <a:ext uri="{FF2B5EF4-FFF2-40B4-BE49-F238E27FC236}">
                <a16:creationId xmlns:a16="http://schemas.microsoft.com/office/drawing/2014/main" id="{174329A5-1A78-42DB-BE18-5423E9115CD0}"/>
              </a:ext>
            </a:extLst>
          </p:cNvPr>
          <p:cNvSpPr/>
          <p:nvPr/>
        </p:nvSpPr>
        <p:spPr>
          <a:xfrm>
            <a:off x="7097351" y="5105145"/>
            <a:ext cx="720803" cy="18837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C8C8C8"/>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1000" dirty="0">
                <a:solidFill>
                  <a:srgbClr val="000000"/>
                </a:solidFill>
              </a:rPr>
              <a:t>NE Electric</a:t>
            </a:r>
          </a:p>
        </p:txBody>
      </p:sp>
      <p:sp>
        <p:nvSpPr>
          <p:cNvPr id="43" name="Rectangle 42">
            <a:extLst>
              <a:ext uri="{FF2B5EF4-FFF2-40B4-BE49-F238E27FC236}">
                <a16:creationId xmlns:a16="http://schemas.microsoft.com/office/drawing/2014/main" id="{D78FD038-9966-4D5B-BB8A-2C8D3682E339}"/>
              </a:ext>
            </a:extLst>
          </p:cNvPr>
          <p:cNvSpPr/>
          <p:nvPr/>
        </p:nvSpPr>
        <p:spPr>
          <a:xfrm>
            <a:off x="7097351" y="5342232"/>
            <a:ext cx="720803" cy="18837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C8C8C8"/>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1000" dirty="0">
                <a:solidFill>
                  <a:srgbClr val="000000"/>
                </a:solidFill>
              </a:rPr>
              <a:t>US Customer</a:t>
            </a:r>
          </a:p>
        </p:txBody>
      </p:sp>
      <p:sp>
        <p:nvSpPr>
          <p:cNvPr id="46" name="NavigationTriangle">
            <a:extLst>
              <a:ext uri="{FF2B5EF4-FFF2-40B4-BE49-F238E27FC236}">
                <a16:creationId xmlns:a16="http://schemas.microsoft.com/office/drawing/2014/main" id="{140157C4-61B7-4445-9036-3EE0BC7D7332}"/>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NavigationIcon">
            <a:extLst>
              <a:ext uri="{FF2B5EF4-FFF2-40B4-BE49-F238E27FC236}">
                <a16:creationId xmlns:a16="http://schemas.microsoft.com/office/drawing/2014/main" id="{D3415147-C3DE-47E0-9DE2-9C2459948B03}"/>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5</a:t>
            </a:r>
          </a:p>
        </p:txBody>
      </p:sp>
    </p:spTree>
    <p:extLst>
      <p:ext uri="{BB962C8B-B14F-4D97-AF65-F5344CB8AC3E}">
        <p14:creationId xmlns:p14="http://schemas.microsoft.com/office/powerpoint/2010/main" val="3105045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067A4C-7B7D-49E0-9F46-FC03DE985B6C}"/>
              </a:ext>
            </a:extLst>
          </p:cNvPr>
          <p:cNvGraphicFramePr>
            <a:graphicFrameLocks noChangeAspect="1"/>
          </p:cNvGraphicFramePr>
          <p:nvPr>
            <p:custDataLst>
              <p:tags r:id="rId2"/>
            </p:custDataLst>
            <p:extLst>
              <p:ext uri="{D42A27DB-BD31-4B8C-83A1-F6EECF244321}">
                <p14:modId xmlns:p14="http://schemas.microsoft.com/office/powerpoint/2010/main" val="41391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0"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EA067A4C-7B7D-49E0-9F46-FC03DE985B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6DC20F-FCAC-4EC5-B7B5-B457F571FC1F}"/>
              </a:ext>
            </a:extLst>
          </p:cNvPr>
          <p:cNvSpPr>
            <a:spLocks noGrp="1"/>
          </p:cNvSpPr>
          <p:nvPr>
            <p:ph type="title"/>
          </p:nvPr>
        </p:nvSpPr>
        <p:spPr>
          <a:xfrm>
            <a:off x="630000" y="622800"/>
            <a:ext cx="10933200" cy="775597"/>
          </a:xfrm>
          <a:prstGeom prst="rect">
            <a:avLst/>
          </a:prstGeom>
        </p:spPr>
        <p:txBody>
          <a:bodyPr vert="horz">
            <a:spAutoFit/>
          </a:bodyPr>
          <a:lstStyle/>
          <a:p>
            <a:r>
              <a:rPr lang="en-GB" sz="2800" dirty="0"/>
              <a:t>Overview of Hub and Spoke model – Hub deploys tech resources into business product teams in Spokes </a:t>
            </a:r>
            <a:endParaRPr lang="en-US" sz="2800" dirty="0"/>
          </a:p>
        </p:txBody>
      </p:sp>
      <p:sp>
        <p:nvSpPr>
          <p:cNvPr id="4" name="Oval 3">
            <a:extLst>
              <a:ext uri="{FF2B5EF4-FFF2-40B4-BE49-F238E27FC236}">
                <a16:creationId xmlns:a16="http://schemas.microsoft.com/office/drawing/2014/main" id="{37CFE436-DBB8-4D88-9B39-1FD71556736B}"/>
              </a:ext>
            </a:extLst>
          </p:cNvPr>
          <p:cNvSpPr/>
          <p:nvPr/>
        </p:nvSpPr>
        <p:spPr>
          <a:xfrm>
            <a:off x="4759848" y="3059524"/>
            <a:ext cx="2140253" cy="1630876"/>
          </a:xfrm>
          <a:prstGeom prst="ellipse">
            <a:avLst/>
          </a:prstGeom>
          <a:solidFill>
            <a:srgbClr val="EEE89A"/>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rgbClr val="FFFFFF"/>
              </a:solidFill>
            </a:endParaRPr>
          </a:p>
        </p:txBody>
      </p:sp>
      <p:sp>
        <p:nvSpPr>
          <p:cNvPr id="3" name="TextBox 2">
            <a:extLst>
              <a:ext uri="{FF2B5EF4-FFF2-40B4-BE49-F238E27FC236}">
                <a16:creationId xmlns:a16="http://schemas.microsoft.com/office/drawing/2014/main" id="{8E3746B3-C7EF-4D51-BEC9-ADC01DEFD47A}"/>
              </a:ext>
            </a:extLst>
          </p:cNvPr>
          <p:cNvSpPr txBox="1"/>
          <p:nvPr/>
        </p:nvSpPr>
        <p:spPr>
          <a:xfrm>
            <a:off x="4740579" y="3503115"/>
            <a:ext cx="2190181" cy="5276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a:r>
              <a:rPr lang="en-US" sz="1600" b="1" dirty="0">
                <a:solidFill>
                  <a:srgbClr val="00148C"/>
                </a:solidFill>
              </a:rPr>
              <a:t>Digital Platform teams and central capabilities</a:t>
            </a:r>
            <a:r>
              <a:rPr lang="en-US" sz="1600" b="1" baseline="30000" dirty="0">
                <a:solidFill>
                  <a:srgbClr val="00148C"/>
                </a:solidFill>
              </a:rPr>
              <a:t>1</a:t>
            </a:r>
            <a:r>
              <a:rPr lang="en-US" sz="1600" b="1" dirty="0">
                <a:solidFill>
                  <a:srgbClr val="00148C"/>
                </a:solidFill>
              </a:rPr>
              <a:t> </a:t>
            </a:r>
          </a:p>
        </p:txBody>
      </p:sp>
      <p:grpSp>
        <p:nvGrpSpPr>
          <p:cNvPr id="265" name="bcgIcons_CloudReplacesOnPremises">
            <a:extLst>
              <a:ext uri="{FF2B5EF4-FFF2-40B4-BE49-F238E27FC236}">
                <a16:creationId xmlns:a16="http://schemas.microsoft.com/office/drawing/2014/main" id="{310B3BE0-34E1-4100-BA48-EADF8A1F5506}"/>
              </a:ext>
            </a:extLst>
          </p:cNvPr>
          <p:cNvGrpSpPr>
            <a:grpSpLocks noChangeAspect="1"/>
          </p:cNvGrpSpPr>
          <p:nvPr/>
        </p:nvGrpSpPr>
        <p:grpSpPr bwMode="auto">
          <a:xfrm>
            <a:off x="5853185" y="4144984"/>
            <a:ext cx="354072" cy="343216"/>
            <a:chOff x="1682" y="0"/>
            <a:chExt cx="4316" cy="4320"/>
          </a:xfrm>
        </p:grpSpPr>
        <p:sp>
          <p:nvSpPr>
            <p:cNvPr id="283" name="AutoShape 34">
              <a:extLst>
                <a:ext uri="{FF2B5EF4-FFF2-40B4-BE49-F238E27FC236}">
                  <a16:creationId xmlns:a16="http://schemas.microsoft.com/office/drawing/2014/main" id="{62D203EA-9AE3-477F-838C-D5E314C6F86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284" name="Freeform 36">
              <a:extLst>
                <a:ext uri="{FF2B5EF4-FFF2-40B4-BE49-F238E27FC236}">
                  <a16:creationId xmlns:a16="http://schemas.microsoft.com/office/drawing/2014/main" id="{AF247B36-29F1-4D03-8C47-8C46AD31C137}"/>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285" name="Freeform 37">
              <a:extLst>
                <a:ext uri="{FF2B5EF4-FFF2-40B4-BE49-F238E27FC236}">
                  <a16:creationId xmlns:a16="http://schemas.microsoft.com/office/drawing/2014/main" id="{8BFC5B69-A269-4A1A-8926-9C481C233199}"/>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266" name="bcgIcons_Shield">
            <a:extLst>
              <a:ext uri="{FF2B5EF4-FFF2-40B4-BE49-F238E27FC236}">
                <a16:creationId xmlns:a16="http://schemas.microsoft.com/office/drawing/2014/main" id="{0C854530-18D4-42A2-8BBC-5A4C93F2E405}"/>
              </a:ext>
            </a:extLst>
          </p:cNvPr>
          <p:cNvGrpSpPr>
            <a:grpSpLocks noChangeAspect="1"/>
          </p:cNvGrpSpPr>
          <p:nvPr/>
        </p:nvGrpSpPr>
        <p:grpSpPr bwMode="auto">
          <a:xfrm>
            <a:off x="5486306" y="4174785"/>
            <a:ext cx="314731" cy="305081"/>
            <a:chOff x="1682" y="0"/>
            <a:chExt cx="4316" cy="4320"/>
          </a:xfrm>
        </p:grpSpPr>
        <p:sp>
          <p:nvSpPr>
            <p:cNvPr id="280" name="AutoShape 34">
              <a:extLst>
                <a:ext uri="{FF2B5EF4-FFF2-40B4-BE49-F238E27FC236}">
                  <a16:creationId xmlns:a16="http://schemas.microsoft.com/office/drawing/2014/main" id="{475A6F06-9708-4755-8EA3-FB98DD351C1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281" name="Freeform 36">
              <a:extLst>
                <a:ext uri="{FF2B5EF4-FFF2-40B4-BE49-F238E27FC236}">
                  <a16:creationId xmlns:a16="http://schemas.microsoft.com/office/drawing/2014/main" id="{95B389E5-92C9-41B7-9522-950092280F84}"/>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282" name="Freeform 37">
              <a:extLst>
                <a:ext uri="{FF2B5EF4-FFF2-40B4-BE49-F238E27FC236}">
                  <a16:creationId xmlns:a16="http://schemas.microsoft.com/office/drawing/2014/main" id="{8C2DBA09-D198-4664-A122-7E202AD5C2EB}"/>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267" name="Group 266">
            <a:extLst>
              <a:ext uri="{FF2B5EF4-FFF2-40B4-BE49-F238E27FC236}">
                <a16:creationId xmlns:a16="http://schemas.microsoft.com/office/drawing/2014/main" id="{3B0B0CDA-AA89-4536-9B85-770712E43AB7}"/>
              </a:ext>
            </a:extLst>
          </p:cNvPr>
          <p:cNvGrpSpPr>
            <a:grpSpLocks noChangeAspect="1"/>
          </p:cNvGrpSpPr>
          <p:nvPr/>
        </p:nvGrpSpPr>
        <p:grpSpPr>
          <a:xfrm>
            <a:off x="5052308" y="4105243"/>
            <a:ext cx="437531" cy="423724"/>
            <a:chOff x="5274038" y="2605402"/>
            <a:chExt cx="1645200" cy="1645200"/>
          </a:xfrm>
        </p:grpSpPr>
        <p:sp>
          <p:nvSpPr>
            <p:cNvPr id="273" name="AutoShape 3">
              <a:extLst>
                <a:ext uri="{FF2B5EF4-FFF2-40B4-BE49-F238E27FC236}">
                  <a16:creationId xmlns:a16="http://schemas.microsoft.com/office/drawing/2014/main" id="{F4833181-4742-417F-AC0C-9C07B0EEB401}"/>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4" name="Group 273">
              <a:extLst>
                <a:ext uri="{FF2B5EF4-FFF2-40B4-BE49-F238E27FC236}">
                  <a16:creationId xmlns:a16="http://schemas.microsoft.com/office/drawing/2014/main" id="{66AEBE7B-99E0-421E-AF1A-9C0892FDEDEF}"/>
                </a:ext>
              </a:extLst>
            </p:cNvPr>
            <p:cNvGrpSpPr/>
            <p:nvPr/>
          </p:nvGrpSpPr>
          <p:grpSpPr>
            <a:xfrm>
              <a:off x="5577973" y="2880027"/>
              <a:ext cx="1037330" cy="1095951"/>
              <a:chOff x="5577973" y="2880027"/>
              <a:chExt cx="1037330" cy="1095951"/>
            </a:xfrm>
          </p:grpSpPr>
          <p:sp>
            <p:nvSpPr>
              <p:cNvPr id="275" name="Line 5">
                <a:extLst>
                  <a:ext uri="{FF2B5EF4-FFF2-40B4-BE49-F238E27FC236}">
                    <a16:creationId xmlns:a16="http://schemas.microsoft.com/office/drawing/2014/main" id="{B9F06128-FC93-4201-91C2-34959B1999D7}"/>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Line 6">
                <a:extLst>
                  <a:ext uri="{FF2B5EF4-FFF2-40B4-BE49-F238E27FC236}">
                    <a16:creationId xmlns:a16="http://schemas.microsoft.com/office/drawing/2014/main" id="{852A8D31-43D5-44E5-8272-562D80A9F068}"/>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42">
                <a:extLst>
                  <a:ext uri="{FF2B5EF4-FFF2-40B4-BE49-F238E27FC236}">
                    <a16:creationId xmlns:a16="http://schemas.microsoft.com/office/drawing/2014/main" id="{A8D3E1BE-37D5-489D-996D-96322C1C926A}"/>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24">
                <a:extLst>
                  <a:ext uri="{FF2B5EF4-FFF2-40B4-BE49-F238E27FC236}">
                    <a16:creationId xmlns:a16="http://schemas.microsoft.com/office/drawing/2014/main" id="{BE1BD0F7-A659-43CF-9F83-F6BF7F9D42E9}"/>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79" name="Freeform 23">
                <a:extLst>
                  <a:ext uri="{FF2B5EF4-FFF2-40B4-BE49-F238E27FC236}">
                    <a16:creationId xmlns:a16="http://schemas.microsoft.com/office/drawing/2014/main" id="{5935A055-C012-4F4F-AFF8-C23349FEC67A}"/>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68" name="Group 267">
            <a:extLst>
              <a:ext uri="{FF2B5EF4-FFF2-40B4-BE49-F238E27FC236}">
                <a16:creationId xmlns:a16="http://schemas.microsoft.com/office/drawing/2014/main" id="{850FC35B-457D-46CD-8631-530BD7A964EB}"/>
              </a:ext>
            </a:extLst>
          </p:cNvPr>
          <p:cNvGrpSpPr>
            <a:grpSpLocks noChangeAspect="1"/>
          </p:cNvGrpSpPr>
          <p:nvPr/>
        </p:nvGrpSpPr>
        <p:grpSpPr>
          <a:xfrm>
            <a:off x="6243707" y="4163496"/>
            <a:ext cx="364943" cy="353426"/>
            <a:chOff x="5273675" y="2600325"/>
            <a:chExt cx="1644650" cy="1644650"/>
          </a:xfrm>
        </p:grpSpPr>
        <p:sp>
          <p:nvSpPr>
            <p:cNvPr id="269" name="AutoShape 3">
              <a:extLst>
                <a:ext uri="{FF2B5EF4-FFF2-40B4-BE49-F238E27FC236}">
                  <a16:creationId xmlns:a16="http://schemas.microsoft.com/office/drawing/2014/main" id="{042E0FE7-F3D9-4E1B-A467-B3D1E893D064}"/>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0" name="Group 269">
              <a:extLst>
                <a:ext uri="{FF2B5EF4-FFF2-40B4-BE49-F238E27FC236}">
                  <a16:creationId xmlns:a16="http://schemas.microsoft.com/office/drawing/2014/main" id="{F4AB69E4-DFA4-4B71-AB27-8F5429615617}"/>
                </a:ext>
              </a:extLst>
            </p:cNvPr>
            <p:cNvGrpSpPr/>
            <p:nvPr/>
          </p:nvGrpSpPr>
          <p:grpSpPr>
            <a:xfrm>
              <a:off x="5443538" y="2770188"/>
              <a:ext cx="1303338" cy="1303338"/>
              <a:chOff x="5443538" y="2770188"/>
              <a:chExt cx="1303338" cy="1303338"/>
            </a:xfrm>
          </p:grpSpPr>
          <p:sp>
            <p:nvSpPr>
              <p:cNvPr id="271" name="Freeform 26">
                <a:extLst>
                  <a:ext uri="{FF2B5EF4-FFF2-40B4-BE49-F238E27FC236}">
                    <a16:creationId xmlns:a16="http://schemas.microsoft.com/office/drawing/2014/main" id="{71CAECB0-CE13-4146-A9B2-CD964494365E}"/>
                  </a:ext>
                </a:extLst>
              </p:cNvPr>
              <p:cNvSpPr>
                <a:spLocks/>
              </p:cNvSpPr>
              <p:nvPr/>
            </p:nvSpPr>
            <p:spPr bwMode="auto">
              <a:xfrm>
                <a:off x="5707063" y="3082925"/>
                <a:ext cx="776288" cy="674688"/>
              </a:xfrm>
              <a:custGeom>
                <a:avLst/>
                <a:gdLst>
                  <a:gd name="connsiteX0" fmla="*/ 28593 w 776288"/>
                  <a:gd name="connsiteY0" fmla="*/ 381000 h 674688"/>
                  <a:gd name="connsiteX1" fmla="*/ 448189 w 776288"/>
                  <a:gd name="connsiteY1" fmla="*/ 381000 h 674688"/>
                  <a:gd name="connsiteX2" fmla="*/ 489648 w 776288"/>
                  <a:gd name="connsiteY2" fmla="*/ 405949 h 674688"/>
                  <a:gd name="connsiteX3" fmla="*/ 518955 w 776288"/>
                  <a:gd name="connsiteY3" fmla="*/ 522854 h 674688"/>
                  <a:gd name="connsiteX4" fmla="*/ 528963 w 776288"/>
                  <a:gd name="connsiteY4" fmla="*/ 542814 h 674688"/>
                  <a:gd name="connsiteX5" fmla="*/ 533966 w 776288"/>
                  <a:gd name="connsiteY5" fmla="*/ 543527 h 674688"/>
                  <a:gd name="connsiteX6" fmla="*/ 548977 w 776288"/>
                  <a:gd name="connsiteY6" fmla="*/ 532834 h 674688"/>
                  <a:gd name="connsiteX7" fmla="*/ 511092 w 776288"/>
                  <a:gd name="connsiteY7" fmla="*/ 383139 h 674688"/>
                  <a:gd name="connsiteX8" fmla="*/ 508948 w 776288"/>
                  <a:gd name="connsiteY8" fmla="*/ 381000 h 674688"/>
                  <a:gd name="connsiteX9" fmla="*/ 743407 w 776288"/>
                  <a:gd name="connsiteY9" fmla="*/ 381000 h 674688"/>
                  <a:gd name="connsiteX10" fmla="*/ 776288 w 776288"/>
                  <a:gd name="connsiteY10" fmla="*/ 414503 h 674688"/>
                  <a:gd name="connsiteX11" fmla="*/ 732685 w 776288"/>
                  <a:gd name="connsiteY11" fmla="*/ 503608 h 674688"/>
                  <a:gd name="connsiteX12" fmla="*/ 669066 w 776288"/>
                  <a:gd name="connsiteY12" fmla="*/ 547091 h 674688"/>
                  <a:gd name="connsiteX13" fmla="*/ 674785 w 776288"/>
                  <a:gd name="connsiteY13" fmla="*/ 499331 h 674688"/>
                  <a:gd name="connsiteX14" fmla="*/ 659059 w 776288"/>
                  <a:gd name="connsiteY14" fmla="*/ 483648 h 674688"/>
                  <a:gd name="connsiteX15" fmla="*/ 643333 w 776288"/>
                  <a:gd name="connsiteY15" fmla="*/ 499331 h 674688"/>
                  <a:gd name="connsiteX16" fmla="*/ 596155 w 776288"/>
                  <a:gd name="connsiteY16" fmla="*/ 622651 h 674688"/>
                  <a:gd name="connsiteX17" fmla="*/ 574711 w 776288"/>
                  <a:gd name="connsiteY17" fmla="*/ 641898 h 674688"/>
                  <a:gd name="connsiteX18" fmla="*/ 471777 w 776288"/>
                  <a:gd name="connsiteY18" fmla="*/ 674688 h 674688"/>
                  <a:gd name="connsiteX19" fmla="*/ 383855 w 776288"/>
                  <a:gd name="connsiteY19" fmla="*/ 651165 h 674688"/>
                  <a:gd name="connsiteX20" fmla="*/ 375992 w 776288"/>
                  <a:gd name="connsiteY20" fmla="*/ 646888 h 674688"/>
                  <a:gd name="connsiteX21" fmla="*/ 318092 w 776288"/>
                  <a:gd name="connsiteY21" fmla="*/ 573466 h 674688"/>
                  <a:gd name="connsiteX22" fmla="*/ 390289 w 776288"/>
                  <a:gd name="connsiteY22" fmla="*/ 521429 h 674688"/>
                  <a:gd name="connsiteX23" fmla="*/ 386000 w 776288"/>
                  <a:gd name="connsiteY23" fmla="*/ 500044 h 674688"/>
                  <a:gd name="connsiteX24" fmla="*/ 363841 w 776288"/>
                  <a:gd name="connsiteY24" fmla="*/ 504321 h 674688"/>
                  <a:gd name="connsiteX25" fmla="*/ 306655 w 776288"/>
                  <a:gd name="connsiteY25" fmla="*/ 543527 h 674688"/>
                  <a:gd name="connsiteX26" fmla="*/ 238033 w 776288"/>
                  <a:gd name="connsiteY26" fmla="*/ 531408 h 674688"/>
                  <a:gd name="connsiteX27" fmla="*/ 215874 w 776288"/>
                  <a:gd name="connsiteY27" fmla="*/ 535685 h 674688"/>
                  <a:gd name="connsiteX28" fmla="*/ 220878 w 776288"/>
                  <a:gd name="connsiteY28" fmla="*/ 557070 h 674688"/>
                  <a:gd name="connsiteX29" fmla="*/ 285926 w 776288"/>
                  <a:gd name="connsiteY29" fmla="*/ 577030 h 674688"/>
                  <a:gd name="connsiteX30" fmla="*/ 335963 w 776288"/>
                  <a:gd name="connsiteY30" fmla="*/ 654016 h 674688"/>
                  <a:gd name="connsiteX31" fmla="*/ 265911 w 776288"/>
                  <a:gd name="connsiteY31" fmla="*/ 670411 h 674688"/>
                  <a:gd name="connsiteX32" fmla="*/ 168696 w 776288"/>
                  <a:gd name="connsiteY32" fmla="*/ 636195 h 674688"/>
                  <a:gd name="connsiteX33" fmla="*/ 125093 w 776288"/>
                  <a:gd name="connsiteY33" fmla="*/ 572753 h 674688"/>
                  <a:gd name="connsiteX34" fmla="*/ 122233 w 776288"/>
                  <a:gd name="connsiteY34" fmla="*/ 562773 h 674688"/>
                  <a:gd name="connsiteX35" fmla="*/ 117945 w 776288"/>
                  <a:gd name="connsiteY35" fmla="*/ 529983 h 674688"/>
                  <a:gd name="connsiteX36" fmla="*/ 137245 w 776288"/>
                  <a:gd name="connsiteY36" fmla="*/ 457986 h 674688"/>
                  <a:gd name="connsiteX37" fmla="*/ 130811 w 776288"/>
                  <a:gd name="connsiteY37" fmla="*/ 436601 h 674688"/>
                  <a:gd name="connsiteX38" fmla="*/ 109367 w 776288"/>
                  <a:gd name="connsiteY38" fmla="*/ 442304 h 674688"/>
                  <a:gd name="connsiteX39" fmla="*/ 86493 w 776288"/>
                  <a:gd name="connsiteY39" fmla="*/ 529983 h 674688"/>
                  <a:gd name="connsiteX40" fmla="*/ 87208 w 776288"/>
                  <a:gd name="connsiteY40" fmla="*/ 542101 h 674688"/>
                  <a:gd name="connsiteX41" fmla="*/ 0 w 776288"/>
                  <a:gd name="connsiteY41" fmla="*/ 447294 h 674688"/>
                  <a:gd name="connsiteX42" fmla="*/ 28593 w 776288"/>
                  <a:gd name="connsiteY42" fmla="*/ 381000 h 674688"/>
                  <a:gd name="connsiteX43" fmla="*/ 471777 w 776288"/>
                  <a:gd name="connsiteY43" fmla="*/ 0 h 674688"/>
                  <a:gd name="connsiteX44" fmla="*/ 572566 w 776288"/>
                  <a:gd name="connsiteY44" fmla="*/ 31365 h 674688"/>
                  <a:gd name="connsiteX45" fmla="*/ 643333 w 776288"/>
                  <a:gd name="connsiteY45" fmla="*/ 174645 h 674688"/>
                  <a:gd name="connsiteX46" fmla="*/ 659059 w 776288"/>
                  <a:gd name="connsiteY46" fmla="*/ 190327 h 674688"/>
                  <a:gd name="connsiteX47" fmla="*/ 674785 w 776288"/>
                  <a:gd name="connsiteY47" fmla="*/ 174645 h 674688"/>
                  <a:gd name="connsiteX48" fmla="*/ 669066 w 776288"/>
                  <a:gd name="connsiteY48" fmla="*/ 126885 h 674688"/>
                  <a:gd name="connsiteX49" fmla="*/ 776288 w 776288"/>
                  <a:gd name="connsiteY49" fmla="*/ 258046 h 674688"/>
                  <a:gd name="connsiteX50" fmla="*/ 741262 w 776288"/>
                  <a:gd name="connsiteY50" fmla="*/ 293688 h 674688"/>
                  <a:gd name="connsiteX51" fmla="*/ 306655 w 776288"/>
                  <a:gd name="connsiteY51" fmla="*/ 293688 h 674688"/>
                  <a:gd name="connsiteX52" fmla="*/ 268770 w 776288"/>
                  <a:gd name="connsiteY52" fmla="*/ 269452 h 674688"/>
                  <a:gd name="connsiteX53" fmla="*/ 239463 w 776288"/>
                  <a:gd name="connsiteY53" fmla="*/ 152547 h 674688"/>
                  <a:gd name="connsiteX54" fmla="*/ 229456 w 776288"/>
                  <a:gd name="connsiteY54" fmla="*/ 132587 h 674688"/>
                  <a:gd name="connsiteX55" fmla="*/ 209441 w 776288"/>
                  <a:gd name="connsiteY55" fmla="*/ 142567 h 674688"/>
                  <a:gd name="connsiteX56" fmla="*/ 246611 w 776288"/>
                  <a:gd name="connsiteY56" fmla="*/ 292262 h 674688"/>
                  <a:gd name="connsiteX57" fmla="*/ 248041 w 776288"/>
                  <a:gd name="connsiteY57" fmla="*/ 293688 h 674688"/>
                  <a:gd name="connsiteX58" fmla="*/ 28593 w 776288"/>
                  <a:gd name="connsiteY58" fmla="*/ 293688 h 674688"/>
                  <a:gd name="connsiteX59" fmla="*/ 0 w 776288"/>
                  <a:gd name="connsiteY59" fmla="*/ 227394 h 674688"/>
                  <a:gd name="connsiteX60" fmla="*/ 89352 w 776288"/>
                  <a:gd name="connsiteY60" fmla="*/ 131875 h 674688"/>
                  <a:gd name="connsiteX61" fmla="*/ 90067 w 776288"/>
                  <a:gd name="connsiteY61" fmla="*/ 131875 h 674688"/>
                  <a:gd name="connsiteX62" fmla="*/ 89352 w 776288"/>
                  <a:gd name="connsiteY62" fmla="*/ 142567 h 674688"/>
                  <a:gd name="connsiteX63" fmla="*/ 111511 w 776288"/>
                  <a:gd name="connsiteY63" fmla="*/ 229533 h 674688"/>
                  <a:gd name="connsiteX64" fmla="*/ 125808 w 776288"/>
                  <a:gd name="connsiteY64" fmla="*/ 237374 h 674688"/>
                  <a:gd name="connsiteX65" fmla="*/ 132956 w 776288"/>
                  <a:gd name="connsiteY65" fmla="*/ 235949 h 674688"/>
                  <a:gd name="connsiteX66" fmla="*/ 139389 w 776288"/>
                  <a:gd name="connsiteY66" fmla="*/ 214563 h 674688"/>
                  <a:gd name="connsiteX67" fmla="*/ 120804 w 776288"/>
                  <a:gd name="connsiteY67" fmla="*/ 142567 h 674688"/>
                  <a:gd name="connsiteX68" fmla="*/ 136530 w 776288"/>
                  <a:gd name="connsiteY68" fmla="*/ 76273 h 674688"/>
                  <a:gd name="connsiteX69" fmla="*/ 168696 w 776288"/>
                  <a:gd name="connsiteY69" fmla="*/ 38493 h 674688"/>
                  <a:gd name="connsiteX70" fmla="*/ 265911 w 776288"/>
                  <a:gd name="connsiteY70" fmla="*/ 4277 h 674688"/>
                  <a:gd name="connsiteX71" fmla="*/ 340967 w 776288"/>
                  <a:gd name="connsiteY71" fmla="*/ 23524 h 674688"/>
                  <a:gd name="connsiteX72" fmla="*/ 350259 w 776288"/>
                  <a:gd name="connsiteY72" fmla="*/ 27801 h 674688"/>
                  <a:gd name="connsiteX73" fmla="*/ 403870 w 776288"/>
                  <a:gd name="connsiteY73" fmla="*/ 129023 h 674688"/>
                  <a:gd name="connsiteX74" fmla="*/ 365985 w 776288"/>
                  <a:gd name="connsiteY74" fmla="*/ 127598 h 674688"/>
                  <a:gd name="connsiteX75" fmla="*/ 352404 w 776288"/>
                  <a:gd name="connsiteY75" fmla="*/ 145418 h 674688"/>
                  <a:gd name="connsiteX76" fmla="*/ 370274 w 776288"/>
                  <a:gd name="connsiteY76" fmla="*/ 158962 h 674688"/>
                  <a:gd name="connsiteX77" fmla="*/ 472492 w 776288"/>
                  <a:gd name="connsiteY77" fmla="*/ 237374 h 674688"/>
                  <a:gd name="connsiteX78" fmla="*/ 488218 w 776288"/>
                  <a:gd name="connsiteY78" fmla="*/ 250918 h 674688"/>
                  <a:gd name="connsiteX79" fmla="*/ 490363 w 776288"/>
                  <a:gd name="connsiteY79" fmla="*/ 250918 h 674688"/>
                  <a:gd name="connsiteX80" fmla="*/ 503944 w 776288"/>
                  <a:gd name="connsiteY80" fmla="*/ 233097 h 674688"/>
                  <a:gd name="connsiteX81" fmla="*/ 436037 w 776288"/>
                  <a:gd name="connsiteY81" fmla="*/ 139003 h 674688"/>
                  <a:gd name="connsiteX82" fmla="*/ 388144 w 776288"/>
                  <a:gd name="connsiteY82" fmla="*/ 20672 h 674688"/>
                  <a:gd name="connsiteX83" fmla="*/ 471777 w 776288"/>
                  <a:gd name="connsiteY83" fmla="*/ 0 h 6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288" h="674688">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72" name="Freeform 25">
                <a:extLst>
                  <a:ext uri="{FF2B5EF4-FFF2-40B4-BE49-F238E27FC236}">
                    <a16:creationId xmlns:a16="http://schemas.microsoft.com/office/drawing/2014/main" id="{BDF66AAC-9B3B-434B-9A2E-A7C1A8A2EA84}"/>
                  </a:ext>
                </a:extLst>
              </p:cNvPr>
              <p:cNvSpPr>
                <a:spLocks/>
              </p:cNvSpPr>
              <p:nvPr/>
            </p:nvSpPr>
            <p:spPr bwMode="auto">
              <a:xfrm>
                <a:off x="5443538" y="277018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248" name="Rectangle 247">
            <a:extLst>
              <a:ext uri="{FF2B5EF4-FFF2-40B4-BE49-F238E27FC236}">
                <a16:creationId xmlns:a16="http://schemas.microsoft.com/office/drawing/2014/main" id="{F732F6CE-9EC1-4E71-97F2-CD5DA7B8B452}"/>
              </a:ext>
            </a:extLst>
          </p:cNvPr>
          <p:cNvSpPr/>
          <p:nvPr/>
        </p:nvSpPr>
        <p:spPr>
          <a:xfrm>
            <a:off x="9899754" y="5015723"/>
            <a:ext cx="1651096" cy="1328314"/>
          </a:xfrm>
          <a:prstGeom prst="rect">
            <a:avLst/>
          </a:prstGeom>
          <a:solidFill>
            <a:schemeClr val="bg1"/>
          </a:solidFill>
          <a:ln w="9525" cap="rnd"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1000" b="1" dirty="0">
                <a:solidFill>
                  <a:srgbClr val="000000"/>
                </a:solidFill>
              </a:rPr>
              <a:t>Illustrative capabilities</a:t>
            </a:r>
          </a:p>
        </p:txBody>
      </p:sp>
      <p:sp>
        <p:nvSpPr>
          <p:cNvPr id="250" name="Rectangle 249">
            <a:extLst>
              <a:ext uri="{FF2B5EF4-FFF2-40B4-BE49-F238E27FC236}">
                <a16:creationId xmlns:a16="http://schemas.microsoft.com/office/drawing/2014/main" id="{BA8799C6-4C46-41FA-902D-78C81C35D1C3}"/>
              </a:ext>
            </a:extLst>
          </p:cNvPr>
          <p:cNvSpPr/>
          <p:nvPr/>
        </p:nvSpPr>
        <p:spPr>
          <a:xfrm>
            <a:off x="10426234" y="5587366"/>
            <a:ext cx="634308" cy="18226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AFF0"/>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900" dirty="0">
                <a:solidFill>
                  <a:srgbClr val="000000"/>
                </a:solidFill>
              </a:rPr>
              <a:t>Capability B</a:t>
            </a:r>
          </a:p>
        </p:txBody>
      </p:sp>
      <p:sp>
        <p:nvSpPr>
          <p:cNvPr id="254" name="Rectangle 253">
            <a:extLst>
              <a:ext uri="{FF2B5EF4-FFF2-40B4-BE49-F238E27FC236}">
                <a16:creationId xmlns:a16="http://schemas.microsoft.com/office/drawing/2014/main" id="{07C21B2A-50DA-421F-AD38-BA4F0E08C9C7}"/>
              </a:ext>
            </a:extLst>
          </p:cNvPr>
          <p:cNvSpPr/>
          <p:nvPr/>
        </p:nvSpPr>
        <p:spPr>
          <a:xfrm>
            <a:off x="10426234" y="5814510"/>
            <a:ext cx="634308" cy="18226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148C"/>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900" dirty="0">
                <a:solidFill>
                  <a:srgbClr val="000000"/>
                </a:solidFill>
              </a:rPr>
              <a:t>Capability C</a:t>
            </a:r>
          </a:p>
        </p:txBody>
      </p:sp>
      <p:sp>
        <p:nvSpPr>
          <p:cNvPr id="255" name="Rectangle 254">
            <a:extLst>
              <a:ext uri="{FF2B5EF4-FFF2-40B4-BE49-F238E27FC236}">
                <a16:creationId xmlns:a16="http://schemas.microsoft.com/office/drawing/2014/main" id="{B758170E-566E-43D9-BF5C-3044739A7C16}"/>
              </a:ext>
            </a:extLst>
          </p:cNvPr>
          <p:cNvSpPr/>
          <p:nvPr/>
        </p:nvSpPr>
        <p:spPr>
          <a:xfrm>
            <a:off x="10426233" y="6041654"/>
            <a:ext cx="1273899" cy="2334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A2C91"/>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900" dirty="0">
                <a:solidFill>
                  <a:srgbClr val="000000"/>
                </a:solidFill>
              </a:rPr>
              <a:t>Capability D</a:t>
            </a:r>
          </a:p>
        </p:txBody>
      </p:sp>
      <p:sp>
        <p:nvSpPr>
          <p:cNvPr id="258" name="Rectangle 257">
            <a:extLst>
              <a:ext uri="{FF2B5EF4-FFF2-40B4-BE49-F238E27FC236}">
                <a16:creationId xmlns:a16="http://schemas.microsoft.com/office/drawing/2014/main" id="{3B0513B9-BE0E-4CD4-B108-84A96483AC0E}"/>
              </a:ext>
            </a:extLst>
          </p:cNvPr>
          <p:cNvSpPr/>
          <p:nvPr/>
        </p:nvSpPr>
        <p:spPr>
          <a:xfrm>
            <a:off x="10426234" y="5360222"/>
            <a:ext cx="634308" cy="18226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A6A6A6"/>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900" dirty="0">
                <a:solidFill>
                  <a:srgbClr val="000000"/>
                </a:solidFill>
              </a:rPr>
              <a:t>Capability A</a:t>
            </a:r>
          </a:p>
        </p:txBody>
      </p:sp>
      <p:grpSp>
        <p:nvGrpSpPr>
          <p:cNvPr id="259" name="Group 258">
            <a:extLst>
              <a:ext uri="{FF2B5EF4-FFF2-40B4-BE49-F238E27FC236}">
                <a16:creationId xmlns:a16="http://schemas.microsoft.com/office/drawing/2014/main" id="{E7780B0B-BD43-45CC-972D-9FB0FBDE6E7C}"/>
              </a:ext>
            </a:extLst>
          </p:cNvPr>
          <p:cNvGrpSpPr>
            <a:grpSpLocks noChangeAspect="1"/>
          </p:cNvGrpSpPr>
          <p:nvPr/>
        </p:nvGrpSpPr>
        <p:grpSpPr>
          <a:xfrm>
            <a:off x="9970217" y="5302822"/>
            <a:ext cx="306744" cy="297064"/>
            <a:chOff x="5274038" y="2605402"/>
            <a:chExt cx="1645200" cy="1645200"/>
          </a:xfrm>
        </p:grpSpPr>
        <p:sp>
          <p:nvSpPr>
            <p:cNvPr id="260" name="AutoShape 3">
              <a:extLst>
                <a:ext uri="{FF2B5EF4-FFF2-40B4-BE49-F238E27FC236}">
                  <a16:creationId xmlns:a16="http://schemas.microsoft.com/office/drawing/2014/main" id="{F08DDCB0-1D2D-4378-9EEC-E6D52AB9EBCC}"/>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61" name="Group 260">
              <a:extLst>
                <a:ext uri="{FF2B5EF4-FFF2-40B4-BE49-F238E27FC236}">
                  <a16:creationId xmlns:a16="http://schemas.microsoft.com/office/drawing/2014/main" id="{AC058D6A-69F5-496A-BCD1-CBA799ABE075}"/>
                </a:ext>
              </a:extLst>
            </p:cNvPr>
            <p:cNvGrpSpPr/>
            <p:nvPr/>
          </p:nvGrpSpPr>
          <p:grpSpPr>
            <a:xfrm>
              <a:off x="5577973" y="2880027"/>
              <a:ext cx="1037330" cy="1095951"/>
              <a:chOff x="5577973" y="2880027"/>
              <a:chExt cx="1037330" cy="1095951"/>
            </a:xfrm>
          </p:grpSpPr>
          <p:sp>
            <p:nvSpPr>
              <p:cNvPr id="262" name="Line 5">
                <a:extLst>
                  <a:ext uri="{FF2B5EF4-FFF2-40B4-BE49-F238E27FC236}">
                    <a16:creationId xmlns:a16="http://schemas.microsoft.com/office/drawing/2014/main" id="{5E114BE1-0828-4243-B9E3-F5BED9E5E48A}"/>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Line 6">
                <a:extLst>
                  <a:ext uri="{FF2B5EF4-FFF2-40B4-BE49-F238E27FC236}">
                    <a16:creationId xmlns:a16="http://schemas.microsoft.com/office/drawing/2014/main" id="{7C124A23-950D-46E5-B106-860AD1FC95F5}"/>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42">
                <a:extLst>
                  <a:ext uri="{FF2B5EF4-FFF2-40B4-BE49-F238E27FC236}">
                    <a16:creationId xmlns:a16="http://schemas.microsoft.com/office/drawing/2014/main" id="{C6010ACF-52A5-4DA7-8FB8-C692C38A875B}"/>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Freeform 24">
                <a:extLst>
                  <a:ext uri="{FF2B5EF4-FFF2-40B4-BE49-F238E27FC236}">
                    <a16:creationId xmlns:a16="http://schemas.microsoft.com/office/drawing/2014/main" id="{85295EF7-F7DE-443F-9B8B-4B7F553131D3}"/>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87" name="Freeform 23">
                <a:extLst>
                  <a:ext uri="{FF2B5EF4-FFF2-40B4-BE49-F238E27FC236}">
                    <a16:creationId xmlns:a16="http://schemas.microsoft.com/office/drawing/2014/main" id="{27037836-FAFE-4B0B-8282-C267094B7B9F}"/>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88" name="bcgIcons_CloudReplacesOnPremises">
            <a:extLst>
              <a:ext uri="{FF2B5EF4-FFF2-40B4-BE49-F238E27FC236}">
                <a16:creationId xmlns:a16="http://schemas.microsoft.com/office/drawing/2014/main" id="{F2BA6CF1-0FDD-4137-AE6B-6F00883968FA}"/>
              </a:ext>
            </a:extLst>
          </p:cNvPr>
          <p:cNvGrpSpPr>
            <a:grpSpLocks noChangeAspect="1"/>
          </p:cNvGrpSpPr>
          <p:nvPr/>
        </p:nvGrpSpPr>
        <p:grpSpPr bwMode="auto">
          <a:xfrm>
            <a:off x="9999472" y="5800496"/>
            <a:ext cx="248233" cy="240622"/>
            <a:chOff x="1682" y="0"/>
            <a:chExt cx="4316" cy="4320"/>
          </a:xfrm>
        </p:grpSpPr>
        <p:sp>
          <p:nvSpPr>
            <p:cNvPr id="289" name="AutoShape 34">
              <a:extLst>
                <a:ext uri="{FF2B5EF4-FFF2-40B4-BE49-F238E27FC236}">
                  <a16:creationId xmlns:a16="http://schemas.microsoft.com/office/drawing/2014/main" id="{34125B92-E123-458F-8EC7-8142E77ABFB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290" name="Freeform 36">
              <a:extLst>
                <a:ext uri="{FF2B5EF4-FFF2-40B4-BE49-F238E27FC236}">
                  <a16:creationId xmlns:a16="http://schemas.microsoft.com/office/drawing/2014/main" id="{244AF043-6CE3-4E01-8995-370F40D92DE9}"/>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291" name="Freeform 37">
              <a:extLst>
                <a:ext uri="{FF2B5EF4-FFF2-40B4-BE49-F238E27FC236}">
                  <a16:creationId xmlns:a16="http://schemas.microsoft.com/office/drawing/2014/main" id="{DFDC4238-83C9-48AE-AD2D-153EB6A15E45}"/>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292" name="bcgIcons_Shield">
            <a:extLst>
              <a:ext uri="{FF2B5EF4-FFF2-40B4-BE49-F238E27FC236}">
                <a16:creationId xmlns:a16="http://schemas.microsoft.com/office/drawing/2014/main" id="{74EAD225-089E-46C9-8BD4-85C8816CE1EA}"/>
              </a:ext>
            </a:extLst>
          </p:cNvPr>
          <p:cNvGrpSpPr>
            <a:grpSpLocks noChangeAspect="1"/>
          </p:cNvGrpSpPr>
          <p:nvPr/>
        </p:nvGrpSpPr>
        <p:grpSpPr bwMode="auto">
          <a:xfrm>
            <a:off x="10013264" y="5593248"/>
            <a:ext cx="220651" cy="213885"/>
            <a:chOff x="1682" y="0"/>
            <a:chExt cx="4316" cy="4320"/>
          </a:xfrm>
        </p:grpSpPr>
        <p:sp>
          <p:nvSpPr>
            <p:cNvPr id="293" name="AutoShape 34">
              <a:extLst>
                <a:ext uri="{FF2B5EF4-FFF2-40B4-BE49-F238E27FC236}">
                  <a16:creationId xmlns:a16="http://schemas.microsoft.com/office/drawing/2014/main" id="{13E01DD0-4D97-45E7-B3B6-E7296EEA910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294" name="Freeform 36">
              <a:extLst>
                <a:ext uri="{FF2B5EF4-FFF2-40B4-BE49-F238E27FC236}">
                  <a16:creationId xmlns:a16="http://schemas.microsoft.com/office/drawing/2014/main" id="{CCCA64AB-8C56-4989-A966-C78FBEF6F05B}"/>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295" name="Freeform 37">
              <a:extLst>
                <a:ext uri="{FF2B5EF4-FFF2-40B4-BE49-F238E27FC236}">
                  <a16:creationId xmlns:a16="http://schemas.microsoft.com/office/drawing/2014/main" id="{012598C3-6526-4383-814B-38C8109D1692}"/>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296" name="Group 295">
            <a:extLst>
              <a:ext uri="{FF2B5EF4-FFF2-40B4-BE49-F238E27FC236}">
                <a16:creationId xmlns:a16="http://schemas.microsoft.com/office/drawing/2014/main" id="{1F5F57CA-979C-4F4B-9C28-0FF257760375}"/>
              </a:ext>
            </a:extLst>
          </p:cNvPr>
          <p:cNvGrpSpPr>
            <a:grpSpLocks noChangeAspect="1"/>
          </p:cNvGrpSpPr>
          <p:nvPr/>
        </p:nvGrpSpPr>
        <p:grpSpPr>
          <a:xfrm>
            <a:off x="9995662" y="6034479"/>
            <a:ext cx="255854" cy="247780"/>
            <a:chOff x="5273675" y="2600325"/>
            <a:chExt cx="1644650" cy="1644650"/>
          </a:xfrm>
        </p:grpSpPr>
        <p:sp>
          <p:nvSpPr>
            <p:cNvPr id="297" name="AutoShape 3">
              <a:extLst>
                <a:ext uri="{FF2B5EF4-FFF2-40B4-BE49-F238E27FC236}">
                  <a16:creationId xmlns:a16="http://schemas.microsoft.com/office/drawing/2014/main" id="{3FE12B21-D5FB-45C7-A4AC-6F35155D76A0}"/>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98" name="Group 297">
              <a:extLst>
                <a:ext uri="{FF2B5EF4-FFF2-40B4-BE49-F238E27FC236}">
                  <a16:creationId xmlns:a16="http://schemas.microsoft.com/office/drawing/2014/main" id="{F60D6BDA-694C-4C10-80F4-18868D33B4E7}"/>
                </a:ext>
              </a:extLst>
            </p:cNvPr>
            <p:cNvGrpSpPr/>
            <p:nvPr/>
          </p:nvGrpSpPr>
          <p:grpSpPr>
            <a:xfrm>
              <a:off x="5443538" y="2770188"/>
              <a:ext cx="1303338" cy="1303338"/>
              <a:chOff x="5443538" y="2770188"/>
              <a:chExt cx="1303338" cy="1303338"/>
            </a:xfrm>
          </p:grpSpPr>
          <p:sp>
            <p:nvSpPr>
              <p:cNvPr id="299" name="Freeform 26">
                <a:extLst>
                  <a:ext uri="{FF2B5EF4-FFF2-40B4-BE49-F238E27FC236}">
                    <a16:creationId xmlns:a16="http://schemas.microsoft.com/office/drawing/2014/main" id="{257DABB2-7CE0-473F-A0FE-FE1596D9E7F7}"/>
                  </a:ext>
                </a:extLst>
              </p:cNvPr>
              <p:cNvSpPr>
                <a:spLocks/>
              </p:cNvSpPr>
              <p:nvPr/>
            </p:nvSpPr>
            <p:spPr bwMode="auto">
              <a:xfrm>
                <a:off x="5707063" y="3082925"/>
                <a:ext cx="776288" cy="674688"/>
              </a:xfrm>
              <a:custGeom>
                <a:avLst/>
                <a:gdLst>
                  <a:gd name="connsiteX0" fmla="*/ 28593 w 776288"/>
                  <a:gd name="connsiteY0" fmla="*/ 381000 h 674688"/>
                  <a:gd name="connsiteX1" fmla="*/ 448189 w 776288"/>
                  <a:gd name="connsiteY1" fmla="*/ 381000 h 674688"/>
                  <a:gd name="connsiteX2" fmla="*/ 489648 w 776288"/>
                  <a:gd name="connsiteY2" fmla="*/ 405949 h 674688"/>
                  <a:gd name="connsiteX3" fmla="*/ 518955 w 776288"/>
                  <a:gd name="connsiteY3" fmla="*/ 522854 h 674688"/>
                  <a:gd name="connsiteX4" fmla="*/ 528963 w 776288"/>
                  <a:gd name="connsiteY4" fmla="*/ 542814 h 674688"/>
                  <a:gd name="connsiteX5" fmla="*/ 533966 w 776288"/>
                  <a:gd name="connsiteY5" fmla="*/ 543527 h 674688"/>
                  <a:gd name="connsiteX6" fmla="*/ 548977 w 776288"/>
                  <a:gd name="connsiteY6" fmla="*/ 532834 h 674688"/>
                  <a:gd name="connsiteX7" fmla="*/ 511092 w 776288"/>
                  <a:gd name="connsiteY7" fmla="*/ 383139 h 674688"/>
                  <a:gd name="connsiteX8" fmla="*/ 508948 w 776288"/>
                  <a:gd name="connsiteY8" fmla="*/ 381000 h 674688"/>
                  <a:gd name="connsiteX9" fmla="*/ 743407 w 776288"/>
                  <a:gd name="connsiteY9" fmla="*/ 381000 h 674688"/>
                  <a:gd name="connsiteX10" fmla="*/ 776288 w 776288"/>
                  <a:gd name="connsiteY10" fmla="*/ 414503 h 674688"/>
                  <a:gd name="connsiteX11" fmla="*/ 732685 w 776288"/>
                  <a:gd name="connsiteY11" fmla="*/ 503608 h 674688"/>
                  <a:gd name="connsiteX12" fmla="*/ 669066 w 776288"/>
                  <a:gd name="connsiteY12" fmla="*/ 547091 h 674688"/>
                  <a:gd name="connsiteX13" fmla="*/ 674785 w 776288"/>
                  <a:gd name="connsiteY13" fmla="*/ 499331 h 674688"/>
                  <a:gd name="connsiteX14" fmla="*/ 659059 w 776288"/>
                  <a:gd name="connsiteY14" fmla="*/ 483648 h 674688"/>
                  <a:gd name="connsiteX15" fmla="*/ 643333 w 776288"/>
                  <a:gd name="connsiteY15" fmla="*/ 499331 h 674688"/>
                  <a:gd name="connsiteX16" fmla="*/ 596155 w 776288"/>
                  <a:gd name="connsiteY16" fmla="*/ 622651 h 674688"/>
                  <a:gd name="connsiteX17" fmla="*/ 574711 w 776288"/>
                  <a:gd name="connsiteY17" fmla="*/ 641898 h 674688"/>
                  <a:gd name="connsiteX18" fmla="*/ 471777 w 776288"/>
                  <a:gd name="connsiteY18" fmla="*/ 674688 h 674688"/>
                  <a:gd name="connsiteX19" fmla="*/ 383855 w 776288"/>
                  <a:gd name="connsiteY19" fmla="*/ 651165 h 674688"/>
                  <a:gd name="connsiteX20" fmla="*/ 375992 w 776288"/>
                  <a:gd name="connsiteY20" fmla="*/ 646888 h 674688"/>
                  <a:gd name="connsiteX21" fmla="*/ 318092 w 776288"/>
                  <a:gd name="connsiteY21" fmla="*/ 573466 h 674688"/>
                  <a:gd name="connsiteX22" fmla="*/ 390289 w 776288"/>
                  <a:gd name="connsiteY22" fmla="*/ 521429 h 674688"/>
                  <a:gd name="connsiteX23" fmla="*/ 386000 w 776288"/>
                  <a:gd name="connsiteY23" fmla="*/ 500044 h 674688"/>
                  <a:gd name="connsiteX24" fmla="*/ 363841 w 776288"/>
                  <a:gd name="connsiteY24" fmla="*/ 504321 h 674688"/>
                  <a:gd name="connsiteX25" fmla="*/ 306655 w 776288"/>
                  <a:gd name="connsiteY25" fmla="*/ 543527 h 674688"/>
                  <a:gd name="connsiteX26" fmla="*/ 238033 w 776288"/>
                  <a:gd name="connsiteY26" fmla="*/ 531408 h 674688"/>
                  <a:gd name="connsiteX27" fmla="*/ 215874 w 776288"/>
                  <a:gd name="connsiteY27" fmla="*/ 535685 h 674688"/>
                  <a:gd name="connsiteX28" fmla="*/ 220878 w 776288"/>
                  <a:gd name="connsiteY28" fmla="*/ 557070 h 674688"/>
                  <a:gd name="connsiteX29" fmla="*/ 285926 w 776288"/>
                  <a:gd name="connsiteY29" fmla="*/ 577030 h 674688"/>
                  <a:gd name="connsiteX30" fmla="*/ 335963 w 776288"/>
                  <a:gd name="connsiteY30" fmla="*/ 654016 h 674688"/>
                  <a:gd name="connsiteX31" fmla="*/ 265911 w 776288"/>
                  <a:gd name="connsiteY31" fmla="*/ 670411 h 674688"/>
                  <a:gd name="connsiteX32" fmla="*/ 168696 w 776288"/>
                  <a:gd name="connsiteY32" fmla="*/ 636195 h 674688"/>
                  <a:gd name="connsiteX33" fmla="*/ 125093 w 776288"/>
                  <a:gd name="connsiteY33" fmla="*/ 572753 h 674688"/>
                  <a:gd name="connsiteX34" fmla="*/ 122233 w 776288"/>
                  <a:gd name="connsiteY34" fmla="*/ 562773 h 674688"/>
                  <a:gd name="connsiteX35" fmla="*/ 117945 w 776288"/>
                  <a:gd name="connsiteY35" fmla="*/ 529983 h 674688"/>
                  <a:gd name="connsiteX36" fmla="*/ 137245 w 776288"/>
                  <a:gd name="connsiteY36" fmla="*/ 457986 h 674688"/>
                  <a:gd name="connsiteX37" fmla="*/ 130811 w 776288"/>
                  <a:gd name="connsiteY37" fmla="*/ 436601 h 674688"/>
                  <a:gd name="connsiteX38" fmla="*/ 109367 w 776288"/>
                  <a:gd name="connsiteY38" fmla="*/ 442304 h 674688"/>
                  <a:gd name="connsiteX39" fmla="*/ 86493 w 776288"/>
                  <a:gd name="connsiteY39" fmla="*/ 529983 h 674688"/>
                  <a:gd name="connsiteX40" fmla="*/ 87208 w 776288"/>
                  <a:gd name="connsiteY40" fmla="*/ 542101 h 674688"/>
                  <a:gd name="connsiteX41" fmla="*/ 0 w 776288"/>
                  <a:gd name="connsiteY41" fmla="*/ 447294 h 674688"/>
                  <a:gd name="connsiteX42" fmla="*/ 28593 w 776288"/>
                  <a:gd name="connsiteY42" fmla="*/ 381000 h 674688"/>
                  <a:gd name="connsiteX43" fmla="*/ 471777 w 776288"/>
                  <a:gd name="connsiteY43" fmla="*/ 0 h 674688"/>
                  <a:gd name="connsiteX44" fmla="*/ 572566 w 776288"/>
                  <a:gd name="connsiteY44" fmla="*/ 31365 h 674688"/>
                  <a:gd name="connsiteX45" fmla="*/ 643333 w 776288"/>
                  <a:gd name="connsiteY45" fmla="*/ 174645 h 674688"/>
                  <a:gd name="connsiteX46" fmla="*/ 659059 w 776288"/>
                  <a:gd name="connsiteY46" fmla="*/ 190327 h 674688"/>
                  <a:gd name="connsiteX47" fmla="*/ 674785 w 776288"/>
                  <a:gd name="connsiteY47" fmla="*/ 174645 h 674688"/>
                  <a:gd name="connsiteX48" fmla="*/ 669066 w 776288"/>
                  <a:gd name="connsiteY48" fmla="*/ 126885 h 674688"/>
                  <a:gd name="connsiteX49" fmla="*/ 776288 w 776288"/>
                  <a:gd name="connsiteY49" fmla="*/ 258046 h 674688"/>
                  <a:gd name="connsiteX50" fmla="*/ 741262 w 776288"/>
                  <a:gd name="connsiteY50" fmla="*/ 293688 h 674688"/>
                  <a:gd name="connsiteX51" fmla="*/ 306655 w 776288"/>
                  <a:gd name="connsiteY51" fmla="*/ 293688 h 674688"/>
                  <a:gd name="connsiteX52" fmla="*/ 268770 w 776288"/>
                  <a:gd name="connsiteY52" fmla="*/ 269452 h 674688"/>
                  <a:gd name="connsiteX53" fmla="*/ 239463 w 776288"/>
                  <a:gd name="connsiteY53" fmla="*/ 152547 h 674688"/>
                  <a:gd name="connsiteX54" fmla="*/ 229456 w 776288"/>
                  <a:gd name="connsiteY54" fmla="*/ 132587 h 674688"/>
                  <a:gd name="connsiteX55" fmla="*/ 209441 w 776288"/>
                  <a:gd name="connsiteY55" fmla="*/ 142567 h 674688"/>
                  <a:gd name="connsiteX56" fmla="*/ 246611 w 776288"/>
                  <a:gd name="connsiteY56" fmla="*/ 292262 h 674688"/>
                  <a:gd name="connsiteX57" fmla="*/ 248041 w 776288"/>
                  <a:gd name="connsiteY57" fmla="*/ 293688 h 674688"/>
                  <a:gd name="connsiteX58" fmla="*/ 28593 w 776288"/>
                  <a:gd name="connsiteY58" fmla="*/ 293688 h 674688"/>
                  <a:gd name="connsiteX59" fmla="*/ 0 w 776288"/>
                  <a:gd name="connsiteY59" fmla="*/ 227394 h 674688"/>
                  <a:gd name="connsiteX60" fmla="*/ 89352 w 776288"/>
                  <a:gd name="connsiteY60" fmla="*/ 131875 h 674688"/>
                  <a:gd name="connsiteX61" fmla="*/ 90067 w 776288"/>
                  <a:gd name="connsiteY61" fmla="*/ 131875 h 674688"/>
                  <a:gd name="connsiteX62" fmla="*/ 89352 w 776288"/>
                  <a:gd name="connsiteY62" fmla="*/ 142567 h 674688"/>
                  <a:gd name="connsiteX63" fmla="*/ 111511 w 776288"/>
                  <a:gd name="connsiteY63" fmla="*/ 229533 h 674688"/>
                  <a:gd name="connsiteX64" fmla="*/ 125808 w 776288"/>
                  <a:gd name="connsiteY64" fmla="*/ 237374 h 674688"/>
                  <a:gd name="connsiteX65" fmla="*/ 132956 w 776288"/>
                  <a:gd name="connsiteY65" fmla="*/ 235949 h 674688"/>
                  <a:gd name="connsiteX66" fmla="*/ 139389 w 776288"/>
                  <a:gd name="connsiteY66" fmla="*/ 214563 h 674688"/>
                  <a:gd name="connsiteX67" fmla="*/ 120804 w 776288"/>
                  <a:gd name="connsiteY67" fmla="*/ 142567 h 674688"/>
                  <a:gd name="connsiteX68" fmla="*/ 136530 w 776288"/>
                  <a:gd name="connsiteY68" fmla="*/ 76273 h 674688"/>
                  <a:gd name="connsiteX69" fmla="*/ 168696 w 776288"/>
                  <a:gd name="connsiteY69" fmla="*/ 38493 h 674688"/>
                  <a:gd name="connsiteX70" fmla="*/ 265911 w 776288"/>
                  <a:gd name="connsiteY70" fmla="*/ 4277 h 674688"/>
                  <a:gd name="connsiteX71" fmla="*/ 340967 w 776288"/>
                  <a:gd name="connsiteY71" fmla="*/ 23524 h 674688"/>
                  <a:gd name="connsiteX72" fmla="*/ 350259 w 776288"/>
                  <a:gd name="connsiteY72" fmla="*/ 27801 h 674688"/>
                  <a:gd name="connsiteX73" fmla="*/ 403870 w 776288"/>
                  <a:gd name="connsiteY73" fmla="*/ 129023 h 674688"/>
                  <a:gd name="connsiteX74" fmla="*/ 365985 w 776288"/>
                  <a:gd name="connsiteY74" fmla="*/ 127598 h 674688"/>
                  <a:gd name="connsiteX75" fmla="*/ 352404 w 776288"/>
                  <a:gd name="connsiteY75" fmla="*/ 145418 h 674688"/>
                  <a:gd name="connsiteX76" fmla="*/ 370274 w 776288"/>
                  <a:gd name="connsiteY76" fmla="*/ 158962 h 674688"/>
                  <a:gd name="connsiteX77" fmla="*/ 472492 w 776288"/>
                  <a:gd name="connsiteY77" fmla="*/ 237374 h 674688"/>
                  <a:gd name="connsiteX78" fmla="*/ 488218 w 776288"/>
                  <a:gd name="connsiteY78" fmla="*/ 250918 h 674688"/>
                  <a:gd name="connsiteX79" fmla="*/ 490363 w 776288"/>
                  <a:gd name="connsiteY79" fmla="*/ 250918 h 674688"/>
                  <a:gd name="connsiteX80" fmla="*/ 503944 w 776288"/>
                  <a:gd name="connsiteY80" fmla="*/ 233097 h 674688"/>
                  <a:gd name="connsiteX81" fmla="*/ 436037 w 776288"/>
                  <a:gd name="connsiteY81" fmla="*/ 139003 h 674688"/>
                  <a:gd name="connsiteX82" fmla="*/ 388144 w 776288"/>
                  <a:gd name="connsiteY82" fmla="*/ 20672 h 674688"/>
                  <a:gd name="connsiteX83" fmla="*/ 471777 w 776288"/>
                  <a:gd name="connsiteY83" fmla="*/ 0 h 6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288" h="674688">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00" name="Freeform 25">
                <a:extLst>
                  <a:ext uri="{FF2B5EF4-FFF2-40B4-BE49-F238E27FC236}">
                    <a16:creationId xmlns:a16="http://schemas.microsoft.com/office/drawing/2014/main" id="{BC701DB7-61B7-4A07-9400-860A2391AD77}"/>
                  </a:ext>
                </a:extLst>
              </p:cNvPr>
              <p:cNvSpPr>
                <a:spLocks/>
              </p:cNvSpPr>
              <p:nvPr/>
            </p:nvSpPr>
            <p:spPr bwMode="auto">
              <a:xfrm>
                <a:off x="5443538" y="277018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7" name="Group 6">
            <a:extLst>
              <a:ext uri="{FF2B5EF4-FFF2-40B4-BE49-F238E27FC236}">
                <a16:creationId xmlns:a16="http://schemas.microsoft.com/office/drawing/2014/main" id="{65C5D93E-F352-4252-B18F-FC589DFB4977}"/>
              </a:ext>
            </a:extLst>
          </p:cNvPr>
          <p:cNvGrpSpPr/>
          <p:nvPr/>
        </p:nvGrpSpPr>
        <p:grpSpPr>
          <a:xfrm>
            <a:off x="7322477" y="1791580"/>
            <a:ext cx="2781539" cy="1203500"/>
            <a:chOff x="7322477" y="1791580"/>
            <a:chExt cx="2781539" cy="1203500"/>
          </a:xfrm>
        </p:grpSpPr>
        <p:grpSp>
          <p:nvGrpSpPr>
            <p:cNvPr id="304" name="Group 303">
              <a:extLst>
                <a:ext uri="{FF2B5EF4-FFF2-40B4-BE49-F238E27FC236}">
                  <a16:creationId xmlns:a16="http://schemas.microsoft.com/office/drawing/2014/main" id="{8F059729-E927-4260-A709-08A20932227D}"/>
                </a:ext>
              </a:extLst>
            </p:cNvPr>
            <p:cNvGrpSpPr/>
            <p:nvPr/>
          </p:nvGrpSpPr>
          <p:grpSpPr>
            <a:xfrm>
              <a:off x="7322477" y="1976837"/>
              <a:ext cx="2781539" cy="1018243"/>
              <a:chOff x="4301746" y="2307660"/>
              <a:chExt cx="3588507" cy="2174420"/>
            </a:xfrm>
          </p:grpSpPr>
          <p:sp>
            <p:nvSpPr>
              <p:cNvPr id="305" name="Freeform 25">
                <a:extLst>
                  <a:ext uri="{FF2B5EF4-FFF2-40B4-BE49-F238E27FC236}">
                    <a16:creationId xmlns:a16="http://schemas.microsoft.com/office/drawing/2014/main" id="{C0C1C8A8-8214-4E5D-B245-11757E0F3C1C}"/>
                  </a:ext>
                </a:extLst>
              </p:cNvPr>
              <p:cNvSpPr>
                <a:spLocks/>
              </p:cNvSpPr>
              <p:nvPr/>
            </p:nvSpPr>
            <p:spPr bwMode="auto">
              <a:xfrm>
                <a:off x="4301746" y="2307660"/>
                <a:ext cx="1794254" cy="2174420"/>
              </a:xfrm>
              <a:custGeom>
                <a:avLst/>
                <a:gdLst>
                  <a:gd name="T0" fmla="*/ 520 w 660"/>
                  <a:gd name="T1" fmla="*/ 400 h 800"/>
                  <a:gd name="T2" fmla="*/ 660 w 660"/>
                  <a:gd name="T3" fmla="*/ 96 h 800"/>
                  <a:gd name="T4" fmla="*/ 400 w 660"/>
                  <a:gd name="T5" fmla="*/ 0 h 800"/>
                  <a:gd name="T6" fmla="*/ 0 w 660"/>
                  <a:gd name="T7" fmla="*/ 400 h 800"/>
                  <a:gd name="T8" fmla="*/ 400 w 660"/>
                  <a:gd name="T9" fmla="*/ 800 h 800"/>
                  <a:gd name="T10" fmla="*/ 660 w 660"/>
                  <a:gd name="T11" fmla="*/ 704 h 800"/>
                  <a:gd name="T12" fmla="*/ 520 w 660"/>
                  <a:gd name="T13" fmla="*/ 40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520" y="400"/>
                    </a:moveTo>
                    <a:cubicBezTo>
                      <a:pt x="520" y="279"/>
                      <a:pt x="574" y="170"/>
                      <a:pt x="660" y="96"/>
                    </a:cubicBezTo>
                    <a:cubicBezTo>
                      <a:pt x="590" y="37"/>
                      <a:pt x="499" y="0"/>
                      <a:pt x="400" y="0"/>
                    </a:cubicBezTo>
                    <a:cubicBezTo>
                      <a:pt x="179" y="0"/>
                      <a:pt x="0" y="179"/>
                      <a:pt x="0" y="400"/>
                    </a:cubicBezTo>
                    <a:cubicBezTo>
                      <a:pt x="0" y="621"/>
                      <a:pt x="179" y="800"/>
                      <a:pt x="400" y="800"/>
                    </a:cubicBezTo>
                    <a:cubicBezTo>
                      <a:pt x="499" y="800"/>
                      <a:pt x="590" y="764"/>
                      <a:pt x="660" y="704"/>
                    </a:cubicBezTo>
                    <a:cubicBezTo>
                      <a:pt x="574" y="631"/>
                      <a:pt x="520" y="522"/>
                      <a:pt x="520" y="400"/>
                    </a:cubicBezTo>
                    <a:close/>
                  </a:path>
                </a:pathLst>
              </a:custGeom>
              <a:solidFill>
                <a:srgbClr val="EEE89A"/>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306" name="Freeform 26">
                <a:extLst>
                  <a:ext uri="{FF2B5EF4-FFF2-40B4-BE49-F238E27FC236}">
                    <a16:creationId xmlns:a16="http://schemas.microsoft.com/office/drawing/2014/main" id="{C6FD14C1-D567-411B-952D-770FAD9C7960}"/>
                  </a:ext>
                </a:extLst>
              </p:cNvPr>
              <p:cNvSpPr>
                <a:spLocks/>
              </p:cNvSpPr>
              <p:nvPr/>
            </p:nvSpPr>
            <p:spPr bwMode="auto">
              <a:xfrm>
                <a:off x="6095999" y="2307660"/>
                <a:ext cx="1794254" cy="2174420"/>
              </a:xfrm>
              <a:custGeom>
                <a:avLst/>
                <a:gdLst>
                  <a:gd name="T0" fmla="*/ 260 w 660"/>
                  <a:gd name="T1" fmla="*/ 0 h 800"/>
                  <a:gd name="T2" fmla="*/ 0 w 660"/>
                  <a:gd name="T3" fmla="*/ 96 h 800"/>
                  <a:gd name="T4" fmla="*/ 140 w 660"/>
                  <a:gd name="T5" fmla="*/ 400 h 800"/>
                  <a:gd name="T6" fmla="*/ 0 w 660"/>
                  <a:gd name="T7" fmla="*/ 704 h 800"/>
                  <a:gd name="T8" fmla="*/ 260 w 660"/>
                  <a:gd name="T9" fmla="*/ 800 h 800"/>
                  <a:gd name="T10" fmla="*/ 660 w 660"/>
                  <a:gd name="T11" fmla="*/ 400 h 800"/>
                  <a:gd name="T12" fmla="*/ 260 w 660"/>
                  <a:gd name="T13" fmla="*/ 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260" y="0"/>
                    </a:moveTo>
                    <a:cubicBezTo>
                      <a:pt x="161" y="0"/>
                      <a:pt x="70" y="37"/>
                      <a:pt x="0" y="96"/>
                    </a:cubicBezTo>
                    <a:cubicBezTo>
                      <a:pt x="86" y="170"/>
                      <a:pt x="140" y="279"/>
                      <a:pt x="140" y="400"/>
                    </a:cubicBezTo>
                    <a:cubicBezTo>
                      <a:pt x="140" y="522"/>
                      <a:pt x="86" y="631"/>
                      <a:pt x="0" y="704"/>
                    </a:cubicBezTo>
                    <a:cubicBezTo>
                      <a:pt x="70" y="764"/>
                      <a:pt x="161" y="800"/>
                      <a:pt x="260" y="800"/>
                    </a:cubicBezTo>
                    <a:cubicBezTo>
                      <a:pt x="481" y="800"/>
                      <a:pt x="660" y="621"/>
                      <a:pt x="660" y="400"/>
                    </a:cubicBezTo>
                    <a:cubicBezTo>
                      <a:pt x="660" y="179"/>
                      <a:pt x="481" y="0"/>
                      <a:pt x="260" y="0"/>
                    </a:cubicBezTo>
                    <a:close/>
                  </a:path>
                </a:pathLst>
              </a:custGeom>
              <a:solidFill>
                <a:srgbClr val="E3E3E1"/>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400" dirty="0"/>
              </a:p>
            </p:txBody>
          </p:sp>
          <p:sp>
            <p:nvSpPr>
              <p:cNvPr id="307" name="Freeform 27">
                <a:extLst>
                  <a:ext uri="{FF2B5EF4-FFF2-40B4-BE49-F238E27FC236}">
                    <a16:creationId xmlns:a16="http://schemas.microsoft.com/office/drawing/2014/main" id="{4FD9201F-8E9E-4F9D-A715-150A9572BB52}"/>
                  </a:ext>
                </a:extLst>
              </p:cNvPr>
              <p:cNvSpPr>
                <a:spLocks/>
              </p:cNvSpPr>
              <p:nvPr/>
            </p:nvSpPr>
            <p:spPr bwMode="auto">
              <a:xfrm>
                <a:off x="5715831" y="2567027"/>
                <a:ext cx="760336" cy="1652134"/>
              </a:xfrm>
              <a:custGeom>
                <a:avLst/>
                <a:gdLst>
                  <a:gd name="T0" fmla="*/ 280 w 280"/>
                  <a:gd name="T1" fmla="*/ 304 h 608"/>
                  <a:gd name="T2" fmla="*/ 140 w 280"/>
                  <a:gd name="T3" fmla="*/ 0 h 608"/>
                  <a:gd name="T4" fmla="*/ 0 w 280"/>
                  <a:gd name="T5" fmla="*/ 304 h 608"/>
                  <a:gd name="T6" fmla="*/ 140 w 280"/>
                  <a:gd name="T7" fmla="*/ 608 h 608"/>
                  <a:gd name="T8" fmla="*/ 280 w 280"/>
                  <a:gd name="T9" fmla="*/ 304 h 608"/>
                </a:gdLst>
                <a:ahLst/>
                <a:cxnLst>
                  <a:cxn ang="0">
                    <a:pos x="T0" y="T1"/>
                  </a:cxn>
                  <a:cxn ang="0">
                    <a:pos x="T2" y="T3"/>
                  </a:cxn>
                  <a:cxn ang="0">
                    <a:pos x="T4" y="T5"/>
                  </a:cxn>
                  <a:cxn ang="0">
                    <a:pos x="T6" y="T7"/>
                  </a:cxn>
                  <a:cxn ang="0">
                    <a:pos x="T8" y="T9"/>
                  </a:cxn>
                </a:cxnLst>
                <a:rect l="0" t="0" r="r" b="b"/>
                <a:pathLst>
                  <a:path w="280" h="608">
                    <a:moveTo>
                      <a:pt x="280" y="304"/>
                    </a:moveTo>
                    <a:cubicBezTo>
                      <a:pt x="280" y="183"/>
                      <a:pt x="226" y="74"/>
                      <a:pt x="140" y="0"/>
                    </a:cubicBezTo>
                    <a:cubicBezTo>
                      <a:pt x="54" y="74"/>
                      <a:pt x="0" y="183"/>
                      <a:pt x="0" y="304"/>
                    </a:cubicBezTo>
                    <a:cubicBezTo>
                      <a:pt x="0" y="426"/>
                      <a:pt x="54" y="535"/>
                      <a:pt x="140" y="608"/>
                    </a:cubicBezTo>
                    <a:cubicBezTo>
                      <a:pt x="226" y="535"/>
                      <a:pt x="280" y="426"/>
                      <a:pt x="280" y="304"/>
                    </a:cubicBezTo>
                    <a:close/>
                  </a:path>
                </a:pathLst>
              </a:custGeom>
              <a:solidFill>
                <a:srgbClr val="00148C"/>
              </a:solidFill>
              <a:ln w="9525" cap="rnd">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77" name="Rectangle 176">
              <a:extLst>
                <a:ext uri="{FF2B5EF4-FFF2-40B4-BE49-F238E27FC236}">
                  <a16:creationId xmlns:a16="http://schemas.microsoft.com/office/drawing/2014/main" id="{FA31E385-AA62-4351-A38D-133D300B052E}"/>
                </a:ext>
              </a:extLst>
            </p:cNvPr>
            <p:cNvSpPr/>
            <p:nvPr/>
          </p:nvSpPr>
          <p:spPr>
            <a:xfrm>
              <a:off x="8041159" y="2274309"/>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A</a:t>
              </a:r>
            </a:p>
          </p:txBody>
        </p:sp>
        <p:grpSp>
          <p:nvGrpSpPr>
            <p:cNvPr id="179" name="Group 178">
              <a:extLst>
                <a:ext uri="{FF2B5EF4-FFF2-40B4-BE49-F238E27FC236}">
                  <a16:creationId xmlns:a16="http://schemas.microsoft.com/office/drawing/2014/main" id="{47F7433F-ECD3-4017-8F55-1212C76BCE68}"/>
                </a:ext>
              </a:extLst>
            </p:cNvPr>
            <p:cNvGrpSpPr>
              <a:grpSpLocks noChangeAspect="1"/>
            </p:cNvGrpSpPr>
            <p:nvPr/>
          </p:nvGrpSpPr>
          <p:grpSpPr>
            <a:xfrm>
              <a:off x="7454660" y="2181211"/>
              <a:ext cx="306303" cy="296637"/>
              <a:chOff x="5274038" y="2605402"/>
              <a:chExt cx="1645200" cy="1645200"/>
            </a:xfrm>
          </p:grpSpPr>
          <p:sp>
            <p:nvSpPr>
              <p:cNvPr id="193" name="AutoShape 3">
                <a:extLst>
                  <a:ext uri="{FF2B5EF4-FFF2-40B4-BE49-F238E27FC236}">
                    <a16:creationId xmlns:a16="http://schemas.microsoft.com/office/drawing/2014/main" id="{C8EC07B1-8BFA-49AC-8CAD-B2F71CE3C377}"/>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94" name="Group 193">
                <a:extLst>
                  <a:ext uri="{FF2B5EF4-FFF2-40B4-BE49-F238E27FC236}">
                    <a16:creationId xmlns:a16="http://schemas.microsoft.com/office/drawing/2014/main" id="{76EF2B24-E27F-4869-9D00-B2190483F503}"/>
                  </a:ext>
                </a:extLst>
              </p:cNvPr>
              <p:cNvGrpSpPr/>
              <p:nvPr/>
            </p:nvGrpSpPr>
            <p:grpSpPr>
              <a:xfrm>
                <a:off x="5577973" y="2880027"/>
                <a:ext cx="1037330" cy="1095951"/>
                <a:chOff x="5577973" y="2880027"/>
                <a:chExt cx="1037330" cy="1095951"/>
              </a:xfrm>
            </p:grpSpPr>
            <p:sp>
              <p:nvSpPr>
                <p:cNvPr id="195" name="Line 5">
                  <a:extLst>
                    <a:ext uri="{FF2B5EF4-FFF2-40B4-BE49-F238E27FC236}">
                      <a16:creationId xmlns:a16="http://schemas.microsoft.com/office/drawing/2014/main" id="{6028CEA3-4DB6-4766-A9DC-DDB61483C8EC}"/>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Line 6">
                  <a:extLst>
                    <a:ext uri="{FF2B5EF4-FFF2-40B4-BE49-F238E27FC236}">
                      <a16:creationId xmlns:a16="http://schemas.microsoft.com/office/drawing/2014/main" id="{8145255F-9A6C-418F-8410-DA51FEBBBA73}"/>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42">
                  <a:extLst>
                    <a:ext uri="{FF2B5EF4-FFF2-40B4-BE49-F238E27FC236}">
                      <a16:creationId xmlns:a16="http://schemas.microsoft.com/office/drawing/2014/main" id="{C0F28D67-3FF2-4B84-8BCE-78FB782D22C3}"/>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Freeform 24">
                  <a:extLst>
                    <a:ext uri="{FF2B5EF4-FFF2-40B4-BE49-F238E27FC236}">
                      <a16:creationId xmlns:a16="http://schemas.microsoft.com/office/drawing/2014/main" id="{C95D720B-E118-45C7-A164-BD8DE993974B}"/>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99" name="Freeform 23">
                  <a:extLst>
                    <a:ext uri="{FF2B5EF4-FFF2-40B4-BE49-F238E27FC236}">
                      <a16:creationId xmlns:a16="http://schemas.microsoft.com/office/drawing/2014/main" id="{DF9FE541-280E-4B71-8B7D-768A1EB0408B}"/>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80" name="bcgIcons_CloudReplacesOnPremises">
              <a:extLst>
                <a:ext uri="{FF2B5EF4-FFF2-40B4-BE49-F238E27FC236}">
                  <a16:creationId xmlns:a16="http://schemas.microsoft.com/office/drawing/2014/main" id="{53E9B863-CE3C-483D-B9E7-EBC423DB1A27}"/>
                </a:ext>
              </a:extLst>
            </p:cNvPr>
            <p:cNvGrpSpPr>
              <a:grpSpLocks noChangeAspect="1"/>
            </p:cNvGrpSpPr>
            <p:nvPr/>
          </p:nvGrpSpPr>
          <p:grpSpPr bwMode="auto">
            <a:xfrm>
              <a:off x="7479432" y="2509073"/>
              <a:ext cx="237738" cy="230447"/>
              <a:chOff x="1682" y="0"/>
              <a:chExt cx="4316" cy="4320"/>
            </a:xfrm>
          </p:grpSpPr>
          <p:sp>
            <p:nvSpPr>
              <p:cNvPr id="190" name="AutoShape 34">
                <a:extLst>
                  <a:ext uri="{FF2B5EF4-FFF2-40B4-BE49-F238E27FC236}">
                    <a16:creationId xmlns:a16="http://schemas.microsoft.com/office/drawing/2014/main" id="{AE724E06-683E-4538-965C-AEF03031DB8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191" name="Freeform 36">
                <a:extLst>
                  <a:ext uri="{FF2B5EF4-FFF2-40B4-BE49-F238E27FC236}">
                    <a16:creationId xmlns:a16="http://schemas.microsoft.com/office/drawing/2014/main" id="{D8015718-C131-44E1-8FE6-F4121A6AE8E6}"/>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192" name="Freeform 37">
                <a:extLst>
                  <a:ext uri="{FF2B5EF4-FFF2-40B4-BE49-F238E27FC236}">
                    <a16:creationId xmlns:a16="http://schemas.microsoft.com/office/drawing/2014/main" id="{AAA0CD47-9E4A-4BEC-BD6F-88B5AAAA432D}"/>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181" name="bcgIcons_Shield">
              <a:extLst>
                <a:ext uri="{FF2B5EF4-FFF2-40B4-BE49-F238E27FC236}">
                  <a16:creationId xmlns:a16="http://schemas.microsoft.com/office/drawing/2014/main" id="{6CD14699-5BF0-4C1E-9C58-7124FC00EFFE}"/>
                </a:ext>
              </a:extLst>
            </p:cNvPr>
            <p:cNvGrpSpPr>
              <a:grpSpLocks noChangeAspect="1"/>
            </p:cNvGrpSpPr>
            <p:nvPr/>
          </p:nvGrpSpPr>
          <p:grpSpPr bwMode="auto">
            <a:xfrm>
              <a:off x="7766120" y="2244028"/>
              <a:ext cx="220334" cy="213578"/>
              <a:chOff x="1682" y="0"/>
              <a:chExt cx="4316" cy="4320"/>
            </a:xfrm>
          </p:grpSpPr>
          <p:sp>
            <p:nvSpPr>
              <p:cNvPr id="187" name="AutoShape 34">
                <a:extLst>
                  <a:ext uri="{FF2B5EF4-FFF2-40B4-BE49-F238E27FC236}">
                    <a16:creationId xmlns:a16="http://schemas.microsoft.com/office/drawing/2014/main" id="{2F929A47-4A90-48D2-B123-BEB6888D3AC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188" name="Freeform 36">
                <a:extLst>
                  <a:ext uri="{FF2B5EF4-FFF2-40B4-BE49-F238E27FC236}">
                    <a16:creationId xmlns:a16="http://schemas.microsoft.com/office/drawing/2014/main" id="{FB90D661-AD7E-4BC2-80C8-29ADD181C19F}"/>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189" name="Freeform 37">
                <a:extLst>
                  <a:ext uri="{FF2B5EF4-FFF2-40B4-BE49-F238E27FC236}">
                    <a16:creationId xmlns:a16="http://schemas.microsoft.com/office/drawing/2014/main" id="{A33031F7-9D44-425B-A387-0093D18931A9}"/>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182" name="Group 181">
              <a:extLst>
                <a:ext uri="{FF2B5EF4-FFF2-40B4-BE49-F238E27FC236}">
                  <a16:creationId xmlns:a16="http://schemas.microsoft.com/office/drawing/2014/main" id="{7D59A308-067A-44C7-A21F-F39C4433BE0A}"/>
                </a:ext>
              </a:extLst>
            </p:cNvPr>
            <p:cNvGrpSpPr>
              <a:grpSpLocks noChangeAspect="1"/>
            </p:cNvGrpSpPr>
            <p:nvPr/>
          </p:nvGrpSpPr>
          <p:grpSpPr>
            <a:xfrm>
              <a:off x="7745944" y="2504655"/>
              <a:ext cx="255486" cy="247423"/>
              <a:chOff x="5273675" y="2600325"/>
              <a:chExt cx="1644650" cy="1644650"/>
            </a:xfrm>
          </p:grpSpPr>
          <p:sp>
            <p:nvSpPr>
              <p:cNvPr id="183" name="AutoShape 3">
                <a:extLst>
                  <a:ext uri="{FF2B5EF4-FFF2-40B4-BE49-F238E27FC236}">
                    <a16:creationId xmlns:a16="http://schemas.microsoft.com/office/drawing/2014/main" id="{595A3F51-1E4D-40F0-9652-32B95A696795}"/>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25">
                <a:extLst>
                  <a:ext uri="{FF2B5EF4-FFF2-40B4-BE49-F238E27FC236}">
                    <a16:creationId xmlns:a16="http://schemas.microsoft.com/office/drawing/2014/main" id="{A756625D-6068-4570-B257-34D17C52051C}"/>
                  </a:ext>
                </a:extLst>
              </p:cNvPr>
              <p:cNvSpPr>
                <a:spLocks/>
              </p:cNvSpPr>
              <p:nvPr/>
            </p:nvSpPr>
            <p:spPr bwMode="auto">
              <a:xfrm>
                <a:off x="5443537" y="2770187"/>
                <a:ext cx="1303336" cy="1303339"/>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08" name="Rectangle 307">
              <a:extLst>
                <a:ext uri="{FF2B5EF4-FFF2-40B4-BE49-F238E27FC236}">
                  <a16:creationId xmlns:a16="http://schemas.microsoft.com/office/drawing/2014/main" id="{2184464F-1B1D-4953-926B-78F40018EE7E}"/>
                </a:ext>
              </a:extLst>
            </p:cNvPr>
            <p:cNvSpPr/>
            <p:nvPr/>
          </p:nvSpPr>
          <p:spPr>
            <a:xfrm>
              <a:off x="8041159" y="2535326"/>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B</a:t>
              </a:r>
            </a:p>
          </p:txBody>
        </p:sp>
        <p:sp>
          <p:nvSpPr>
            <p:cNvPr id="309" name="Rectangle 308">
              <a:extLst>
                <a:ext uri="{FF2B5EF4-FFF2-40B4-BE49-F238E27FC236}">
                  <a16:creationId xmlns:a16="http://schemas.microsoft.com/office/drawing/2014/main" id="{BFE33068-DD45-4BCE-9253-A4BEF5901FB9}"/>
                </a:ext>
              </a:extLst>
            </p:cNvPr>
            <p:cNvSpPr/>
            <p:nvPr/>
          </p:nvSpPr>
          <p:spPr>
            <a:xfrm>
              <a:off x="8041159" y="1791580"/>
              <a:ext cx="1292284" cy="447096"/>
            </a:xfrm>
            <a:prstGeom prst="rect">
              <a:avLst/>
            </a:prstGeom>
          </p:spPr>
          <p:txBody>
            <a:bodyPr wrap="square">
              <a:spAutoFit/>
            </a:bodyPr>
            <a:lstStyle/>
            <a:p>
              <a:pPr algn="ctr"/>
              <a:r>
                <a:rPr lang="en-US" sz="1200" b="1" dirty="0" err="1">
                  <a:solidFill>
                    <a:srgbClr val="00148C"/>
                  </a:solidFill>
                </a:rPr>
                <a:t>GBU</a:t>
              </a:r>
              <a:endParaRPr lang="en-US" sz="1200" b="1" dirty="0">
                <a:solidFill>
                  <a:srgbClr val="00148C"/>
                </a:solidFill>
              </a:endParaRPr>
            </a:p>
            <a:p>
              <a:pPr algn="ctr"/>
              <a:endParaRPr lang="en-US" sz="1200" b="1" dirty="0">
                <a:solidFill>
                  <a:srgbClr val="00148C"/>
                </a:solidFill>
              </a:endParaRPr>
            </a:p>
          </p:txBody>
        </p:sp>
        <p:sp>
          <p:nvSpPr>
            <p:cNvPr id="310" name="Rectangle 309">
              <a:extLst>
                <a:ext uri="{FF2B5EF4-FFF2-40B4-BE49-F238E27FC236}">
                  <a16:creationId xmlns:a16="http://schemas.microsoft.com/office/drawing/2014/main" id="{25328D48-EF7A-42EB-ADB2-F6E4A5A8CA1F}"/>
                </a:ext>
              </a:extLst>
            </p:cNvPr>
            <p:cNvSpPr/>
            <p:nvPr/>
          </p:nvSpPr>
          <p:spPr>
            <a:xfrm>
              <a:off x="8726869" y="1992656"/>
              <a:ext cx="1292284" cy="255496"/>
            </a:xfrm>
            <a:prstGeom prst="rect">
              <a:avLst/>
            </a:prstGeom>
          </p:spPr>
          <p:txBody>
            <a:bodyPr wrap="none">
              <a:noAutofit/>
            </a:bodyPr>
            <a:lstStyle/>
            <a:p>
              <a:pPr algn="ctr"/>
              <a:r>
                <a:rPr lang="en-US" sz="1200" b="1" dirty="0">
                  <a:solidFill>
                    <a:srgbClr val="00148C"/>
                  </a:solidFill>
                </a:rPr>
                <a:t>Business</a:t>
              </a:r>
            </a:p>
            <a:p>
              <a:pPr algn="ctr"/>
              <a:endParaRPr lang="en-US" sz="1200" b="1" dirty="0">
                <a:solidFill>
                  <a:srgbClr val="00148C"/>
                </a:solidFill>
              </a:endParaRPr>
            </a:p>
          </p:txBody>
        </p:sp>
        <p:sp>
          <p:nvSpPr>
            <p:cNvPr id="311" name="Rectangle 310">
              <a:extLst>
                <a:ext uri="{FF2B5EF4-FFF2-40B4-BE49-F238E27FC236}">
                  <a16:creationId xmlns:a16="http://schemas.microsoft.com/office/drawing/2014/main" id="{7E9C01FD-0DC3-40E0-9E70-7FB3837DB684}"/>
                </a:ext>
              </a:extLst>
            </p:cNvPr>
            <p:cNvSpPr/>
            <p:nvPr/>
          </p:nvSpPr>
          <p:spPr>
            <a:xfrm>
              <a:off x="7474930" y="1992656"/>
              <a:ext cx="1292284" cy="255496"/>
            </a:xfrm>
            <a:prstGeom prst="rect">
              <a:avLst/>
            </a:prstGeom>
          </p:spPr>
          <p:txBody>
            <a:bodyPr wrap="none">
              <a:noAutofit/>
            </a:bodyPr>
            <a:lstStyle/>
            <a:p>
              <a:pPr algn="ctr"/>
              <a:r>
                <a:rPr lang="en-US" sz="1200" b="1" dirty="0">
                  <a:solidFill>
                    <a:srgbClr val="00148C"/>
                  </a:solidFill>
                </a:rPr>
                <a:t>Tech</a:t>
              </a:r>
            </a:p>
            <a:p>
              <a:pPr algn="ctr"/>
              <a:endParaRPr lang="en-US" sz="1200" b="1" dirty="0">
                <a:solidFill>
                  <a:srgbClr val="00148C"/>
                </a:solidFill>
              </a:endParaRPr>
            </a:p>
          </p:txBody>
        </p:sp>
      </p:grpSp>
      <p:grpSp>
        <p:nvGrpSpPr>
          <p:cNvPr id="312" name="Group 311">
            <a:extLst>
              <a:ext uri="{FF2B5EF4-FFF2-40B4-BE49-F238E27FC236}">
                <a16:creationId xmlns:a16="http://schemas.microsoft.com/office/drawing/2014/main" id="{AABED7EE-1765-41F8-A6C8-7946267E2228}"/>
              </a:ext>
            </a:extLst>
          </p:cNvPr>
          <p:cNvGrpSpPr/>
          <p:nvPr/>
        </p:nvGrpSpPr>
        <p:grpSpPr>
          <a:xfrm>
            <a:off x="8411645" y="3664159"/>
            <a:ext cx="2781539" cy="1203500"/>
            <a:chOff x="7322477" y="1791580"/>
            <a:chExt cx="2781539" cy="1203500"/>
          </a:xfrm>
        </p:grpSpPr>
        <p:grpSp>
          <p:nvGrpSpPr>
            <p:cNvPr id="313" name="Group 312">
              <a:extLst>
                <a:ext uri="{FF2B5EF4-FFF2-40B4-BE49-F238E27FC236}">
                  <a16:creationId xmlns:a16="http://schemas.microsoft.com/office/drawing/2014/main" id="{9104EFA5-DF39-4FB5-B3E9-631BF6D7B1FB}"/>
                </a:ext>
              </a:extLst>
            </p:cNvPr>
            <p:cNvGrpSpPr/>
            <p:nvPr/>
          </p:nvGrpSpPr>
          <p:grpSpPr>
            <a:xfrm>
              <a:off x="7322477" y="1976837"/>
              <a:ext cx="2781539" cy="1018243"/>
              <a:chOff x="4301746" y="2307660"/>
              <a:chExt cx="3588507" cy="2174420"/>
            </a:xfrm>
          </p:grpSpPr>
          <p:sp>
            <p:nvSpPr>
              <p:cNvPr id="338" name="Freeform 25">
                <a:extLst>
                  <a:ext uri="{FF2B5EF4-FFF2-40B4-BE49-F238E27FC236}">
                    <a16:creationId xmlns:a16="http://schemas.microsoft.com/office/drawing/2014/main" id="{CC67056E-220F-471A-8DD0-D5001E0457F9}"/>
                  </a:ext>
                </a:extLst>
              </p:cNvPr>
              <p:cNvSpPr>
                <a:spLocks/>
              </p:cNvSpPr>
              <p:nvPr/>
            </p:nvSpPr>
            <p:spPr bwMode="auto">
              <a:xfrm>
                <a:off x="4301746" y="2307660"/>
                <a:ext cx="1794254" cy="2174420"/>
              </a:xfrm>
              <a:custGeom>
                <a:avLst/>
                <a:gdLst>
                  <a:gd name="T0" fmla="*/ 520 w 660"/>
                  <a:gd name="T1" fmla="*/ 400 h 800"/>
                  <a:gd name="T2" fmla="*/ 660 w 660"/>
                  <a:gd name="T3" fmla="*/ 96 h 800"/>
                  <a:gd name="T4" fmla="*/ 400 w 660"/>
                  <a:gd name="T5" fmla="*/ 0 h 800"/>
                  <a:gd name="T6" fmla="*/ 0 w 660"/>
                  <a:gd name="T7" fmla="*/ 400 h 800"/>
                  <a:gd name="T8" fmla="*/ 400 w 660"/>
                  <a:gd name="T9" fmla="*/ 800 h 800"/>
                  <a:gd name="T10" fmla="*/ 660 w 660"/>
                  <a:gd name="T11" fmla="*/ 704 h 800"/>
                  <a:gd name="T12" fmla="*/ 520 w 660"/>
                  <a:gd name="T13" fmla="*/ 40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520" y="400"/>
                    </a:moveTo>
                    <a:cubicBezTo>
                      <a:pt x="520" y="279"/>
                      <a:pt x="574" y="170"/>
                      <a:pt x="660" y="96"/>
                    </a:cubicBezTo>
                    <a:cubicBezTo>
                      <a:pt x="590" y="37"/>
                      <a:pt x="499" y="0"/>
                      <a:pt x="400" y="0"/>
                    </a:cubicBezTo>
                    <a:cubicBezTo>
                      <a:pt x="179" y="0"/>
                      <a:pt x="0" y="179"/>
                      <a:pt x="0" y="400"/>
                    </a:cubicBezTo>
                    <a:cubicBezTo>
                      <a:pt x="0" y="621"/>
                      <a:pt x="179" y="800"/>
                      <a:pt x="400" y="800"/>
                    </a:cubicBezTo>
                    <a:cubicBezTo>
                      <a:pt x="499" y="800"/>
                      <a:pt x="590" y="764"/>
                      <a:pt x="660" y="704"/>
                    </a:cubicBezTo>
                    <a:cubicBezTo>
                      <a:pt x="574" y="631"/>
                      <a:pt x="520" y="522"/>
                      <a:pt x="520" y="400"/>
                    </a:cubicBezTo>
                    <a:close/>
                  </a:path>
                </a:pathLst>
              </a:custGeom>
              <a:solidFill>
                <a:srgbClr val="EEE89A"/>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339" name="Freeform 26">
                <a:extLst>
                  <a:ext uri="{FF2B5EF4-FFF2-40B4-BE49-F238E27FC236}">
                    <a16:creationId xmlns:a16="http://schemas.microsoft.com/office/drawing/2014/main" id="{3A64844A-C8D9-420D-BFD7-D3EE27024377}"/>
                  </a:ext>
                </a:extLst>
              </p:cNvPr>
              <p:cNvSpPr>
                <a:spLocks/>
              </p:cNvSpPr>
              <p:nvPr/>
            </p:nvSpPr>
            <p:spPr bwMode="auto">
              <a:xfrm>
                <a:off x="6095999" y="2307660"/>
                <a:ext cx="1794254" cy="2174420"/>
              </a:xfrm>
              <a:custGeom>
                <a:avLst/>
                <a:gdLst>
                  <a:gd name="T0" fmla="*/ 260 w 660"/>
                  <a:gd name="T1" fmla="*/ 0 h 800"/>
                  <a:gd name="T2" fmla="*/ 0 w 660"/>
                  <a:gd name="T3" fmla="*/ 96 h 800"/>
                  <a:gd name="T4" fmla="*/ 140 w 660"/>
                  <a:gd name="T5" fmla="*/ 400 h 800"/>
                  <a:gd name="T6" fmla="*/ 0 w 660"/>
                  <a:gd name="T7" fmla="*/ 704 h 800"/>
                  <a:gd name="T8" fmla="*/ 260 w 660"/>
                  <a:gd name="T9" fmla="*/ 800 h 800"/>
                  <a:gd name="T10" fmla="*/ 660 w 660"/>
                  <a:gd name="T11" fmla="*/ 400 h 800"/>
                  <a:gd name="T12" fmla="*/ 260 w 660"/>
                  <a:gd name="T13" fmla="*/ 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260" y="0"/>
                    </a:moveTo>
                    <a:cubicBezTo>
                      <a:pt x="161" y="0"/>
                      <a:pt x="70" y="37"/>
                      <a:pt x="0" y="96"/>
                    </a:cubicBezTo>
                    <a:cubicBezTo>
                      <a:pt x="86" y="170"/>
                      <a:pt x="140" y="279"/>
                      <a:pt x="140" y="400"/>
                    </a:cubicBezTo>
                    <a:cubicBezTo>
                      <a:pt x="140" y="522"/>
                      <a:pt x="86" y="631"/>
                      <a:pt x="0" y="704"/>
                    </a:cubicBezTo>
                    <a:cubicBezTo>
                      <a:pt x="70" y="764"/>
                      <a:pt x="161" y="800"/>
                      <a:pt x="260" y="800"/>
                    </a:cubicBezTo>
                    <a:cubicBezTo>
                      <a:pt x="481" y="800"/>
                      <a:pt x="660" y="621"/>
                      <a:pt x="660" y="400"/>
                    </a:cubicBezTo>
                    <a:cubicBezTo>
                      <a:pt x="660" y="179"/>
                      <a:pt x="481" y="0"/>
                      <a:pt x="260" y="0"/>
                    </a:cubicBezTo>
                    <a:close/>
                  </a:path>
                </a:pathLst>
              </a:custGeom>
              <a:solidFill>
                <a:srgbClr val="E3E3E1"/>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400" dirty="0"/>
              </a:p>
            </p:txBody>
          </p:sp>
          <p:sp>
            <p:nvSpPr>
              <p:cNvPr id="340" name="Freeform 27">
                <a:extLst>
                  <a:ext uri="{FF2B5EF4-FFF2-40B4-BE49-F238E27FC236}">
                    <a16:creationId xmlns:a16="http://schemas.microsoft.com/office/drawing/2014/main" id="{4C7E3C4A-FCB2-40BD-87C0-EF7437F95193}"/>
                  </a:ext>
                </a:extLst>
              </p:cNvPr>
              <p:cNvSpPr>
                <a:spLocks/>
              </p:cNvSpPr>
              <p:nvPr/>
            </p:nvSpPr>
            <p:spPr bwMode="auto">
              <a:xfrm>
                <a:off x="5715831" y="2567027"/>
                <a:ext cx="760336" cy="1652134"/>
              </a:xfrm>
              <a:custGeom>
                <a:avLst/>
                <a:gdLst>
                  <a:gd name="T0" fmla="*/ 280 w 280"/>
                  <a:gd name="T1" fmla="*/ 304 h 608"/>
                  <a:gd name="T2" fmla="*/ 140 w 280"/>
                  <a:gd name="T3" fmla="*/ 0 h 608"/>
                  <a:gd name="T4" fmla="*/ 0 w 280"/>
                  <a:gd name="T5" fmla="*/ 304 h 608"/>
                  <a:gd name="T6" fmla="*/ 140 w 280"/>
                  <a:gd name="T7" fmla="*/ 608 h 608"/>
                  <a:gd name="T8" fmla="*/ 280 w 280"/>
                  <a:gd name="T9" fmla="*/ 304 h 608"/>
                </a:gdLst>
                <a:ahLst/>
                <a:cxnLst>
                  <a:cxn ang="0">
                    <a:pos x="T0" y="T1"/>
                  </a:cxn>
                  <a:cxn ang="0">
                    <a:pos x="T2" y="T3"/>
                  </a:cxn>
                  <a:cxn ang="0">
                    <a:pos x="T4" y="T5"/>
                  </a:cxn>
                  <a:cxn ang="0">
                    <a:pos x="T6" y="T7"/>
                  </a:cxn>
                  <a:cxn ang="0">
                    <a:pos x="T8" y="T9"/>
                  </a:cxn>
                </a:cxnLst>
                <a:rect l="0" t="0" r="r" b="b"/>
                <a:pathLst>
                  <a:path w="280" h="608">
                    <a:moveTo>
                      <a:pt x="280" y="304"/>
                    </a:moveTo>
                    <a:cubicBezTo>
                      <a:pt x="280" y="183"/>
                      <a:pt x="226" y="74"/>
                      <a:pt x="140" y="0"/>
                    </a:cubicBezTo>
                    <a:cubicBezTo>
                      <a:pt x="54" y="74"/>
                      <a:pt x="0" y="183"/>
                      <a:pt x="0" y="304"/>
                    </a:cubicBezTo>
                    <a:cubicBezTo>
                      <a:pt x="0" y="426"/>
                      <a:pt x="54" y="535"/>
                      <a:pt x="140" y="608"/>
                    </a:cubicBezTo>
                    <a:cubicBezTo>
                      <a:pt x="226" y="535"/>
                      <a:pt x="280" y="426"/>
                      <a:pt x="280" y="304"/>
                    </a:cubicBezTo>
                    <a:close/>
                  </a:path>
                </a:pathLst>
              </a:custGeom>
              <a:solidFill>
                <a:srgbClr val="00148C"/>
              </a:solidFill>
              <a:ln w="9525" cap="rnd">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14" name="Rectangle 313">
              <a:extLst>
                <a:ext uri="{FF2B5EF4-FFF2-40B4-BE49-F238E27FC236}">
                  <a16:creationId xmlns:a16="http://schemas.microsoft.com/office/drawing/2014/main" id="{272C95BF-13B8-4ADB-B805-0C1166738D81}"/>
                </a:ext>
              </a:extLst>
            </p:cNvPr>
            <p:cNvSpPr/>
            <p:nvPr/>
          </p:nvSpPr>
          <p:spPr>
            <a:xfrm>
              <a:off x="8041159" y="2274309"/>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A</a:t>
              </a:r>
            </a:p>
          </p:txBody>
        </p:sp>
        <p:grpSp>
          <p:nvGrpSpPr>
            <p:cNvPr id="315" name="Group 314">
              <a:extLst>
                <a:ext uri="{FF2B5EF4-FFF2-40B4-BE49-F238E27FC236}">
                  <a16:creationId xmlns:a16="http://schemas.microsoft.com/office/drawing/2014/main" id="{52D89427-CE69-42CC-83E1-4D12BF281ED5}"/>
                </a:ext>
              </a:extLst>
            </p:cNvPr>
            <p:cNvGrpSpPr>
              <a:grpSpLocks noChangeAspect="1"/>
            </p:cNvGrpSpPr>
            <p:nvPr/>
          </p:nvGrpSpPr>
          <p:grpSpPr>
            <a:xfrm>
              <a:off x="7454660" y="2181211"/>
              <a:ext cx="306303" cy="296637"/>
              <a:chOff x="5274038" y="2605402"/>
              <a:chExt cx="1645200" cy="1645200"/>
            </a:xfrm>
          </p:grpSpPr>
          <p:sp>
            <p:nvSpPr>
              <p:cNvPr id="331" name="AutoShape 3">
                <a:extLst>
                  <a:ext uri="{FF2B5EF4-FFF2-40B4-BE49-F238E27FC236}">
                    <a16:creationId xmlns:a16="http://schemas.microsoft.com/office/drawing/2014/main" id="{C868FB35-E37B-4ADF-9F9C-90C9A40051F9}"/>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32" name="Group 331">
                <a:extLst>
                  <a:ext uri="{FF2B5EF4-FFF2-40B4-BE49-F238E27FC236}">
                    <a16:creationId xmlns:a16="http://schemas.microsoft.com/office/drawing/2014/main" id="{36755D0F-216B-47BD-8DAD-2F2A99014F68}"/>
                  </a:ext>
                </a:extLst>
              </p:cNvPr>
              <p:cNvGrpSpPr/>
              <p:nvPr/>
            </p:nvGrpSpPr>
            <p:grpSpPr>
              <a:xfrm>
                <a:off x="5577973" y="2880027"/>
                <a:ext cx="1037330" cy="1095951"/>
                <a:chOff x="5577973" y="2880027"/>
                <a:chExt cx="1037330" cy="1095951"/>
              </a:xfrm>
            </p:grpSpPr>
            <p:sp>
              <p:nvSpPr>
                <p:cNvPr id="333" name="Line 5">
                  <a:extLst>
                    <a:ext uri="{FF2B5EF4-FFF2-40B4-BE49-F238E27FC236}">
                      <a16:creationId xmlns:a16="http://schemas.microsoft.com/office/drawing/2014/main" id="{563BD42A-6BDB-4FB1-9E73-35672378443C}"/>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4" name="Line 6">
                  <a:extLst>
                    <a:ext uri="{FF2B5EF4-FFF2-40B4-BE49-F238E27FC236}">
                      <a16:creationId xmlns:a16="http://schemas.microsoft.com/office/drawing/2014/main" id="{06F453AE-340E-4B46-83F7-25643AF2C66F}"/>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5" name="Freeform 42">
                  <a:extLst>
                    <a:ext uri="{FF2B5EF4-FFF2-40B4-BE49-F238E27FC236}">
                      <a16:creationId xmlns:a16="http://schemas.microsoft.com/office/drawing/2014/main" id="{DC342860-3B99-42D8-B73F-FA83A03B334C}"/>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Freeform 24">
                  <a:extLst>
                    <a:ext uri="{FF2B5EF4-FFF2-40B4-BE49-F238E27FC236}">
                      <a16:creationId xmlns:a16="http://schemas.microsoft.com/office/drawing/2014/main" id="{0AF8ED93-9C51-4C30-B57D-CAF366AFD729}"/>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37" name="Freeform 23">
                  <a:extLst>
                    <a:ext uri="{FF2B5EF4-FFF2-40B4-BE49-F238E27FC236}">
                      <a16:creationId xmlns:a16="http://schemas.microsoft.com/office/drawing/2014/main" id="{9429C450-7736-4768-A0BB-33DF5790BF69}"/>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16" name="bcgIcons_CloudReplacesOnPremises">
              <a:extLst>
                <a:ext uri="{FF2B5EF4-FFF2-40B4-BE49-F238E27FC236}">
                  <a16:creationId xmlns:a16="http://schemas.microsoft.com/office/drawing/2014/main" id="{A5DF45A4-AAE4-4770-9490-A90DD59979A3}"/>
                </a:ext>
              </a:extLst>
            </p:cNvPr>
            <p:cNvGrpSpPr>
              <a:grpSpLocks noChangeAspect="1"/>
            </p:cNvGrpSpPr>
            <p:nvPr/>
          </p:nvGrpSpPr>
          <p:grpSpPr bwMode="auto">
            <a:xfrm>
              <a:off x="7479432" y="2509073"/>
              <a:ext cx="237738" cy="230447"/>
              <a:chOff x="1682" y="0"/>
              <a:chExt cx="4316" cy="4320"/>
            </a:xfrm>
          </p:grpSpPr>
          <p:sp>
            <p:nvSpPr>
              <p:cNvPr id="328" name="AutoShape 34">
                <a:extLst>
                  <a:ext uri="{FF2B5EF4-FFF2-40B4-BE49-F238E27FC236}">
                    <a16:creationId xmlns:a16="http://schemas.microsoft.com/office/drawing/2014/main" id="{C492963D-BC22-44E8-AB5C-47D2251D079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329" name="Freeform 36">
                <a:extLst>
                  <a:ext uri="{FF2B5EF4-FFF2-40B4-BE49-F238E27FC236}">
                    <a16:creationId xmlns:a16="http://schemas.microsoft.com/office/drawing/2014/main" id="{A562D681-41D9-4987-8440-A8872669BF5C}"/>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330" name="Freeform 37">
                <a:extLst>
                  <a:ext uri="{FF2B5EF4-FFF2-40B4-BE49-F238E27FC236}">
                    <a16:creationId xmlns:a16="http://schemas.microsoft.com/office/drawing/2014/main" id="{D92B80DE-3F40-4063-8D0A-BC3A156678DE}"/>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317" name="bcgIcons_Shield">
              <a:extLst>
                <a:ext uri="{FF2B5EF4-FFF2-40B4-BE49-F238E27FC236}">
                  <a16:creationId xmlns:a16="http://schemas.microsoft.com/office/drawing/2014/main" id="{525E11B8-FD4F-4015-9A11-AC120EF0C157}"/>
                </a:ext>
              </a:extLst>
            </p:cNvPr>
            <p:cNvGrpSpPr>
              <a:grpSpLocks noChangeAspect="1"/>
            </p:cNvGrpSpPr>
            <p:nvPr/>
          </p:nvGrpSpPr>
          <p:grpSpPr bwMode="auto">
            <a:xfrm>
              <a:off x="7766120" y="2244028"/>
              <a:ext cx="220334" cy="213578"/>
              <a:chOff x="1682" y="0"/>
              <a:chExt cx="4316" cy="4320"/>
            </a:xfrm>
          </p:grpSpPr>
          <p:sp>
            <p:nvSpPr>
              <p:cNvPr id="325" name="AutoShape 34">
                <a:extLst>
                  <a:ext uri="{FF2B5EF4-FFF2-40B4-BE49-F238E27FC236}">
                    <a16:creationId xmlns:a16="http://schemas.microsoft.com/office/drawing/2014/main" id="{4FB3AF75-A2C4-4C73-9F0A-FF2A450B62E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326" name="Freeform 36">
                <a:extLst>
                  <a:ext uri="{FF2B5EF4-FFF2-40B4-BE49-F238E27FC236}">
                    <a16:creationId xmlns:a16="http://schemas.microsoft.com/office/drawing/2014/main" id="{9A28FDCD-0515-4EEE-AC89-19D5B67D7FC5}"/>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327" name="Freeform 37">
                <a:extLst>
                  <a:ext uri="{FF2B5EF4-FFF2-40B4-BE49-F238E27FC236}">
                    <a16:creationId xmlns:a16="http://schemas.microsoft.com/office/drawing/2014/main" id="{54BB6705-4D77-4F71-B99B-142028BE487D}"/>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318" name="Group 317">
              <a:extLst>
                <a:ext uri="{FF2B5EF4-FFF2-40B4-BE49-F238E27FC236}">
                  <a16:creationId xmlns:a16="http://schemas.microsoft.com/office/drawing/2014/main" id="{4F8C8497-0BB3-40AC-A9A2-31EC66C4F7E3}"/>
                </a:ext>
              </a:extLst>
            </p:cNvPr>
            <p:cNvGrpSpPr>
              <a:grpSpLocks noChangeAspect="1"/>
            </p:cNvGrpSpPr>
            <p:nvPr/>
          </p:nvGrpSpPr>
          <p:grpSpPr>
            <a:xfrm>
              <a:off x="7745944" y="2504655"/>
              <a:ext cx="255486" cy="247423"/>
              <a:chOff x="5273675" y="2600325"/>
              <a:chExt cx="1644650" cy="1644650"/>
            </a:xfrm>
          </p:grpSpPr>
          <p:sp>
            <p:nvSpPr>
              <p:cNvPr id="323" name="AutoShape 3">
                <a:extLst>
                  <a:ext uri="{FF2B5EF4-FFF2-40B4-BE49-F238E27FC236}">
                    <a16:creationId xmlns:a16="http://schemas.microsoft.com/office/drawing/2014/main" id="{2E78128A-07F0-418B-B541-C4E6D3374B68}"/>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Freeform 25">
                <a:extLst>
                  <a:ext uri="{FF2B5EF4-FFF2-40B4-BE49-F238E27FC236}">
                    <a16:creationId xmlns:a16="http://schemas.microsoft.com/office/drawing/2014/main" id="{DB9B183E-D1F2-431E-B28D-54D482DDB089}"/>
                  </a:ext>
                </a:extLst>
              </p:cNvPr>
              <p:cNvSpPr>
                <a:spLocks/>
              </p:cNvSpPr>
              <p:nvPr/>
            </p:nvSpPr>
            <p:spPr bwMode="auto">
              <a:xfrm>
                <a:off x="5443537" y="2770187"/>
                <a:ext cx="1303336" cy="1303339"/>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19" name="Rectangle 318">
              <a:extLst>
                <a:ext uri="{FF2B5EF4-FFF2-40B4-BE49-F238E27FC236}">
                  <a16:creationId xmlns:a16="http://schemas.microsoft.com/office/drawing/2014/main" id="{810704E3-9875-4560-8FC0-1A7F3B06F40B}"/>
                </a:ext>
              </a:extLst>
            </p:cNvPr>
            <p:cNvSpPr/>
            <p:nvPr/>
          </p:nvSpPr>
          <p:spPr>
            <a:xfrm>
              <a:off x="8041159" y="2535326"/>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B</a:t>
              </a:r>
            </a:p>
          </p:txBody>
        </p:sp>
        <p:sp>
          <p:nvSpPr>
            <p:cNvPr id="320" name="Rectangle 319">
              <a:extLst>
                <a:ext uri="{FF2B5EF4-FFF2-40B4-BE49-F238E27FC236}">
                  <a16:creationId xmlns:a16="http://schemas.microsoft.com/office/drawing/2014/main" id="{CAA63D7A-626D-4733-AD1E-8746C84899B8}"/>
                </a:ext>
              </a:extLst>
            </p:cNvPr>
            <p:cNvSpPr/>
            <p:nvPr/>
          </p:nvSpPr>
          <p:spPr>
            <a:xfrm>
              <a:off x="8041159" y="1791580"/>
              <a:ext cx="1292284" cy="461665"/>
            </a:xfrm>
            <a:prstGeom prst="rect">
              <a:avLst/>
            </a:prstGeom>
          </p:spPr>
          <p:txBody>
            <a:bodyPr wrap="square">
              <a:spAutoFit/>
            </a:bodyPr>
            <a:lstStyle/>
            <a:p>
              <a:pPr algn="ctr"/>
              <a:r>
                <a:rPr lang="en-US" sz="1200" b="1" dirty="0">
                  <a:solidFill>
                    <a:srgbClr val="00148C"/>
                  </a:solidFill>
                </a:rPr>
                <a:t>ET</a:t>
              </a:r>
            </a:p>
            <a:p>
              <a:pPr algn="ctr"/>
              <a:endParaRPr lang="en-US" sz="1200" b="1" dirty="0">
                <a:solidFill>
                  <a:srgbClr val="00148C"/>
                </a:solidFill>
              </a:endParaRPr>
            </a:p>
          </p:txBody>
        </p:sp>
        <p:sp>
          <p:nvSpPr>
            <p:cNvPr id="321" name="Rectangle 320">
              <a:extLst>
                <a:ext uri="{FF2B5EF4-FFF2-40B4-BE49-F238E27FC236}">
                  <a16:creationId xmlns:a16="http://schemas.microsoft.com/office/drawing/2014/main" id="{5D2587CF-B9EC-452E-BC0A-1F1445ACAD0F}"/>
                </a:ext>
              </a:extLst>
            </p:cNvPr>
            <p:cNvSpPr/>
            <p:nvPr/>
          </p:nvSpPr>
          <p:spPr>
            <a:xfrm>
              <a:off x="8726869" y="1992656"/>
              <a:ext cx="1292284" cy="255496"/>
            </a:xfrm>
            <a:prstGeom prst="rect">
              <a:avLst/>
            </a:prstGeom>
          </p:spPr>
          <p:txBody>
            <a:bodyPr wrap="none">
              <a:noAutofit/>
            </a:bodyPr>
            <a:lstStyle/>
            <a:p>
              <a:pPr algn="ctr"/>
              <a:r>
                <a:rPr lang="en-US" sz="1200" b="1" dirty="0">
                  <a:solidFill>
                    <a:srgbClr val="00148C"/>
                  </a:solidFill>
                </a:rPr>
                <a:t>Business</a:t>
              </a:r>
            </a:p>
            <a:p>
              <a:pPr algn="ctr"/>
              <a:endParaRPr lang="en-US" sz="1200" b="1" dirty="0">
                <a:solidFill>
                  <a:srgbClr val="00148C"/>
                </a:solidFill>
              </a:endParaRPr>
            </a:p>
          </p:txBody>
        </p:sp>
        <p:sp>
          <p:nvSpPr>
            <p:cNvPr id="322" name="Rectangle 321">
              <a:extLst>
                <a:ext uri="{FF2B5EF4-FFF2-40B4-BE49-F238E27FC236}">
                  <a16:creationId xmlns:a16="http://schemas.microsoft.com/office/drawing/2014/main" id="{8FA278DE-DCD2-4844-8534-5A3ED8C1F646}"/>
                </a:ext>
              </a:extLst>
            </p:cNvPr>
            <p:cNvSpPr/>
            <p:nvPr/>
          </p:nvSpPr>
          <p:spPr>
            <a:xfrm>
              <a:off x="7474930" y="1992656"/>
              <a:ext cx="1292284" cy="255496"/>
            </a:xfrm>
            <a:prstGeom prst="rect">
              <a:avLst/>
            </a:prstGeom>
          </p:spPr>
          <p:txBody>
            <a:bodyPr wrap="none">
              <a:noAutofit/>
            </a:bodyPr>
            <a:lstStyle/>
            <a:p>
              <a:pPr algn="ctr"/>
              <a:r>
                <a:rPr lang="en-US" sz="1200" b="1" dirty="0">
                  <a:solidFill>
                    <a:srgbClr val="00148C"/>
                  </a:solidFill>
                </a:rPr>
                <a:t>Tech</a:t>
              </a:r>
            </a:p>
            <a:p>
              <a:pPr algn="ctr"/>
              <a:endParaRPr lang="en-US" sz="1200" b="1" dirty="0">
                <a:solidFill>
                  <a:srgbClr val="00148C"/>
                </a:solidFill>
              </a:endParaRPr>
            </a:p>
          </p:txBody>
        </p:sp>
      </p:grpSp>
      <p:grpSp>
        <p:nvGrpSpPr>
          <p:cNvPr id="9" name="Group 8">
            <a:extLst>
              <a:ext uri="{FF2B5EF4-FFF2-40B4-BE49-F238E27FC236}">
                <a16:creationId xmlns:a16="http://schemas.microsoft.com/office/drawing/2014/main" id="{7452BEB6-90DB-46B7-8C7D-92BDB0A01362}"/>
              </a:ext>
            </a:extLst>
          </p:cNvPr>
          <p:cNvGrpSpPr/>
          <p:nvPr/>
        </p:nvGrpSpPr>
        <p:grpSpPr>
          <a:xfrm>
            <a:off x="1315279" y="1687812"/>
            <a:ext cx="2781539" cy="1264669"/>
            <a:chOff x="1315279" y="1687812"/>
            <a:chExt cx="2781539" cy="1264669"/>
          </a:xfrm>
        </p:grpSpPr>
        <p:grpSp>
          <p:nvGrpSpPr>
            <p:cNvPr id="342" name="Group 341">
              <a:extLst>
                <a:ext uri="{FF2B5EF4-FFF2-40B4-BE49-F238E27FC236}">
                  <a16:creationId xmlns:a16="http://schemas.microsoft.com/office/drawing/2014/main" id="{3005D556-3A66-47E4-99F6-A8482954A39D}"/>
                </a:ext>
              </a:extLst>
            </p:cNvPr>
            <p:cNvGrpSpPr/>
            <p:nvPr/>
          </p:nvGrpSpPr>
          <p:grpSpPr>
            <a:xfrm>
              <a:off x="1315279" y="1934238"/>
              <a:ext cx="2781539" cy="1018243"/>
              <a:chOff x="4301746" y="2307660"/>
              <a:chExt cx="3588507" cy="2174420"/>
            </a:xfrm>
          </p:grpSpPr>
          <p:sp>
            <p:nvSpPr>
              <p:cNvPr id="367" name="Freeform 25">
                <a:extLst>
                  <a:ext uri="{FF2B5EF4-FFF2-40B4-BE49-F238E27FC236}">
                    <a16:creationId xmlns:a16="http://schemas.microsoft.com/office/drawing/2014/main" id="{B2186C4E-B073-4DA4-9D8D-2C06D4D7502E}"/>
                  </a:ext>
                </a:extLst>
              </p:cNvPr>
              <p:cNvSpPr>
                <a:spLocks/>
              </p:cNvSpPr>
              <p:nvPr/>
            </p:nvSpPr>
            <p:spPr bwMode="auto">
              <a:xfrm>
                <a:off x="4301746" y="2307660"/>
                <a:ext cx="1794254" cy="2174420"/>
              </a:xfrm>
              <a:custGeom>
                <a:avLst/>
                <a:gdLst>
                  <a:gd name="T0" fmla="*/ 520 w 660"/>
                  <a:gd name="T1" fmla="*/ 400 h 800"/>
                  <a:gd name="T2" fmla="*/ 660 w 660"/>
                  <a:gd name="T3" fmla="*/ 96 h 800"/>
                  <a:gd name="T4" fmla="*/ 400 w 660"/>
                  <a:gd name="T5" fmla="*/ 0 h 800"/>
                  <a:gd name="T6" fmla="*/ 0 w 660"/>
                  <a:gd name="T7" fmla="*/ 400 h 800"/>
                  <a:gd name="T8" fmla="*/ 400 w 660"/>
                  <a:gd name="T9" fmla="*/ 800 h 800"/>
                  <a:gd name="T10" fmla="*/ 660 w 660"/>
                  <a:gd name="T11" fmla="*/ 704 h 800"/>
                  <a:gd name="T12" fmla="*/ 520 w 660"/>
                  <a:gd name="T13" fmla="*/ 40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520" y="400"/>
                    </a:moveTo>
                    <a:cubicBezTo>
                      <a:pt x="520" y="279"/>
                      <a:pt x="574" y="170"/>
                      <a:pt x="660" y="96"/>
                    </a:cubicBezTo>
                    <a:cubicBezTo>
                      <a:pt x="590" y="37"/>
                      <a:pt x="499" y="0"/>
                      <a:pt x="400" y="0"/>
                    </a:cubicBezTo>
                    <a:cubicBezTo>
                      <a:pt x="179" y="0"/>
                      <a:pt x="0" y="179"/>
                      <a:pt x="0" y="400"/>
                    </a:cubicBezTo>
                    <a:cubicBezTo>
                      <a:pt x="0" y="621"/>
                      <a:pt x="179" y="800"/>
                      <a:pt x="400" y="800"/>
                    </a:cubicBezTo>
                    <a:cubicBezTo>
                      <a:pt x="499" y="800"/>
                      <a:pt x="590" y="764"/>
                      <a:pt x="660" y="704"/>
                    </a:cubicBezTo>
                    <a:cubicBezTo>
                      <a:pt x="574" y="631"/>
                      <a:pt x="520" y="522"/>
                      <a:pt x="520" y="400"/>
                    </a:cubicBezTo>
                    <a:close/>
                  </a:path>
                </a:pathLst>
              </a:custGeom>
              <a:solidFill>
                <a:srgbClr val="E3E3E1"/>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368" name="Freeform 26">
                <a:extLst>
                  <a:ext uri="{FF2B5EF4-FFF2-40B4-BE49-F238E27FC236}">
                    <a16:creationId xmlns:a16="http://schemas.microsoft.com/office/drawing/2014/main" id="{23929A82-B8BD-4166-A609-A595B0BD31FA}"/>
                  </a:ext>
                </a:extLst>
              </p:cNvPr>
              <p:cNvSpPr>
                <a:spLocks/>
              </p:cNvSpPr>
              <p:nvPr/>
            </p:nvSpPr>
            <p:spPr bwMode="auto">
              <a:xfrm>
                <a:off x="6095999" y="2307660"/>
                <a:ext cx="1794254" cy="2174420"/>
              </a:xfrm>
              <a:custGeom>
                <a:avLst/>
                <a:gdLst>
                  <a:gd name="T0" fmla="*/ 260 w 660"/>
                  <a:gd name="T1" fmla="*/ 0 h 800"/>
                  <a:gd name="T2" fmla="*/ 0 w 660"/>
                  <a:gd name="T3" fmla="*/ 96 h 800"/>
                  <a:gd name="T4" fmla="*/ 140 w 660"/>
                  <a:gd name="T5" fmla="*/ 400 h 800"/>
                  <a:gd name="T6" fmla="*/ 0 w 660"/>
                  <a:gd name="T7" fmla="*/ 704 h 800"/>
                  <a:gd name="T8" fmla="*/ 260 w 660"/>
                  <a:gd name="T9" fmla="*/ 800 h 800"/>
                  <a:gd name="T10" fmla="*/ 660 w 660"/>
                  <a:gd name="T11" fmla="*/ 400 h 800"/>
                  <a:gd name="T12" fmla="*/ 260 w 660"/>
                  <a:gd name="T13" fmla="*/ 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260" y="0"/>
                    </a:moveTo>
                    <a:cubicBezTo>
                      <a:pt x="161" y="0"/>
                      <a:pt x="70" y="37"/>
                      <a:pt x="0" y="96"/>
                    </a:cubicBezTo>
                    <a:cubicBezTo>
                      <a:pt x="86" y="170"/>
                      <a:pt x="140" y="279"/>
                      <a:pt x="140" y="400"/>
                    </a:cubicBezTo>
                    <a:cubicBezTo>
                      <a:pt x="140" y="522"/>
                      <a:pt x="86" y="631"/>
                      <a:pt x="0" y="704"/>
                    </a:cubicBezTo>
                    <a:cubicBezTo>
                      <a:pt x="70" y="764"/>
                      <a:pt x="161" y="800"/>
                      <a:pt x="260" y="800"/>
                    </a:cubicBezTo>
                    <a:cubicBezTo>
                      <a:pt x="481" y="800"/>
                      <a:pt x="660" y="621"/>
                      <a:pt x="660" y="400"/>
                    </a:cubicBezTo>
                    <a:cubicBezTo>
                      <a:pt x="660" y="179"/>
                      <a:pt x="481" y="0"/>
                      <a:pt x="260" y="0"/>
                    </a:cubicBezTo>
                    <a:close/>
                  </a:path>
                </a:pathLst>
              </a:custGeom>
              <a:solidFill>
                <a:srgbClr val="EEE89A"/>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400" dirty="0"/>
              </a:p>
            </p:txBody>
          </p:sp>
          <p:sp>
            <p:nvSpPr>
              <p:cNvPr id="369" name="Freeform 27">
                <a:extLst>
                  <a:ext uri="{FF2B5EF4-FFF2-40B4-BE49-F238E27FC236}">
                    <a16:creationId xmlns:a16="http://schemas.microsoft.com/office/drawing/2014/main" id="{DCE5814D-00EE-4AA7-A409-AE17F8C600D0}"/>
                  </a:ext>
                </a:extLst>
              </p:cNvPr>
              <p:cNvSpPr>
                <a:spLocks/>
              </p:cNvSpPr>
              <p:nvPr/>
            </p:nvSpPr>
            <p:spPr bwMode="auto">
              <a:xfrm>
                <a:off x="5715831" y="2567027"/>
                <a:ext cx="760336" cy="1652134"/>
              </a:xfrm>
              <a:custGeom>
                <a:avLst/>
                <a:gdLst>
                  <a:gd name="T0" fmla="*/ 280 w 280"/>
                  <a:gd name="T1" fmla="*/ 304 h 608"/>
                  <a:gd name="T2" fmla="*/ 140 w 280"/>
                  <a:gd name="T3" fmla="*/ 0 h 608"/>
                  <a:gd name="T4" fmla="*/ 0 w 280"/>
                  <a:gd name="T5" fmla="*/ 304 h 608"/>
                  <a:gd name="T6" fmla="*/ 140 w 280"/>
                  <a:gd name="T7" fmla="*/ 608 h 608"/>
                  <a:gd name="T8" fmla="*/ 280 w 280"/>
                  <a:gd name="T9" fmla="*/ 304 h 608"/>
                </a:gdLst>
                <a:ahLst/>
                <a:cxnLst>
                  <a:cxn ang="0">
                    <a:pos x="T0" y="T1"/>
                  </a:cxn>
                  <a:cxn ang="0">
                    <a:pos x="T2" y="T3"/>
                  </a:cxn>
                  <a:cxn ang="0">
                    <a:pos x="T4" y="T5"/>
                  </a:cxn>
                  <a:cxn ang="0">
                    <a:pos x="T6" y="T7"/>
                  </a:cxn>
                  <a:cxn ang="0">
                    <a:pos x="T8" y="T9"/>
                  </a:cxn>
                </a:cxnLst>
                <a:rect l="0" t="0" r="r" b="b"/>
                <a:pathLst>
                  <a:path w="280" h="608">
                    <a:moveTo>
                      <a:pt x="280" y="304"/>
                    </a:moveTo>
                    <a:cubicBezTo>
                      <a:pt x="280" y="183"/>
                      <a:pt x="226" y="74"/>
                      <a:pt x="140" y="0"/>
                    </a:cubicBezTo>
                    <a:cubicBezTo>
                      <a:pt x="54" y="74"/>
                      <a:pt x="0" y="183"/>
                      <a:pt x="0" y="304"/>
                    </a:cubicBezTo>
                    <a:cubicBezTo>
                      <a:pt x="0" y="426"/>
                      <a:pt x="54" y="535"/>
                      <a:pt x="140" y="608"/>
                    </a:cubicBezTo>
                    <a:cubicBezTo>
                      <a:pt x="226" y="535"/>
                      <a:pt x="280" y="426"/>
                      <a:pt x="280" y="304"/>
                    </a:cubicBezTo>
                    <a:close/>
                  </a:path>
                </a:pathLst>
              </a:custGeom>
              <a:solidFill>
                <a:srgbClr val="00148C"/>
              </a:solidFill>
              <a:ln w="9525" cap="rnd">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43" name="Rectangle 342">
              <a:extLst>
                <a:ext uri="{FF2B5EF4-FFF2-40B4-BE49-F238E27FC236}">
                  <a16:creationId xmlns:a16="http://schemas.microsoft.com/office/drawing/2014/main" id="{95B826B2-B767-4321-832A-23C08496CA4E}"/>
                </a:ext>
              </a:extLst>
            </p:cNvPr>
            <p:cNvSpPr/>
            <p:nvPr/>
          </p:nvSpPr>
          <p:spPr>
            <a:xfrm>
              <a:off x="2033961" y="2231710"/>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A</a:t>
              </a:r>
            </a:p>
          </p:txBody>
        </p:sp>
        <p:grpSp>
          <p:nvGrpSpPr>
            <p:cNvPr id="344" name="Group 343">
              <a:extLst>
                <a:ext uri="{FF2B5EF4-FFF2-40B4-BE49-F238E27FC236}">
                  <a16:creationId xmlns:a16="http://schemas.microsoft.com/office/drawing/2014/main" id="{43F69F27-3DB9-485A-842B-51FA191E11AA}"/>
                </a:ext>
              </a:extLst>
            </p:cNvPr>
            <p:cNvGrpSpPr>
              <a:grpSpLocks noChangeAspect="1"/>
            </p:cNvGrpSpPr>
            <p:nvPr/>
          </p:nvGrpSpPr>
          <p:grpSpPr>
            <a:xfrm>
              <a:off x="3441637" y="2138612"/>
              <a:ext cx="306303" cy="296637"/>
              <a:chOff x="5274038" y="2605402"/>
              <a:chExt cx="1645200" cy="1645200"/>
            </a:xfrm>
          </p:grpSpPr>
          <p:sp>
            <p:nvSpPr>
              <p:cNvPr id="360" name="AutoShape 3">
                <a:extLst>
                  <a:ext uri="{FF2B5EF4-FFF2-40B4-BE49-F238E27FC236}">
                    <a16:creationId xmlns:a16="http://schemas.microsoft.com/office/drawing/2014/main" id="{725CFCE2-432D-48A0-9068-270EA7D1B825}"/>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61" name="Group 360">
                <a:extLst>
                  <a:ext uri="{FF2B5EF4-FFF2-40B4-BE49-F238E27FC236}">
                    <a16:creationId xmlns:a16="http://schemas.microsoft.com/office/drawing/2014/main" id="{30C9AB8E-0B99-4820-9405-460826209C62}"/>
                  </a:ext>
                </a:extLst>
              </p:cNvPr>
              <p:cNvGrpSpPr/>
              <p:nvPr/>
            </p:nvGrpSpPr>
            <p:grpSpPr>
              <a:xfrm>
                <a:off x="5577973" y="2880027"/>
                <a:ext cx="1037330" cy="1095951"/>
                <a:chOff x="5577973" y="2880027"/>
                <a:chExt cx="1037330" cy="1095951"/>
              </a:xfrm>
            </p:grpSpPr>
            <p:sp>
              <p:nvSpPr>
                <p:cNvPr id="362" name="Line 5">
                  <a:extLst>
                    <a:ext uri="{FF2B5EF4-FFF2-40B4-BE49-F238E27FC236}">
                      <a16:creationId xmlns:a16="http://schemas.microsoft.com/office/drawing/2014/main" id="{5DD4F76F-B4BE-49C5-A7A2-3E2B6889F673}"/>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 name="Line 6">
                  <a:extLst>
                    <a:ext uri="{FF2B5EF4-FFF2-40B4-BE49-F238E27FC236}">
                      <a16:creationId xmlns:a16="http://schemas.microsoft.com/office/drawing/2014/main" id="{6021F940-575C-4584-BF15-0A89DEA8AF75}"/>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 name="Freeform 42">
                  <a:extLst>
                    <a:ext uri="{FF2B5EF4-FFF2-40B4-BE49-F238E27FC236}">
                      <a16:creationId xmlns:a16="http://schemas.microsoft.com/office/drawing/2014/main" id="{C43389A1-3C02-4289-9E23-97C67C5E0FDA}"/>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 name="Freeform 24">
                  <a:extLst>
                    <a:ext uri="{FF2B5EF4-FFF2-40B4-BE49-F238E27FC236}">
                      <a16:creationId xmlns:a16="http://schemas.microsoft.com/office/drawing/2014/main" id="{378452B3-4ACE-446A-82CA-F5B3D839F5C6}"/>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66" name="Freeform 23">
                  <a:extLst>
                    <a:ext uri="{FF2B5EF4-FFF2-40B4-BE49-F238E27FC236}">
                      <a16:creationId xmlns:a16="http://schemas.microsoft.com/office/drawing/2014/main" id="{91EF0626-4F12-42CF-8B1E-862369CBAEC4}"/>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45" name="bcgIcons_CloudReplacesOnPremises">
              <a:extLst>
                <a:ext uri="{FF2B5EF4-FFF2-40B4-BE49-F238E27FC236}">
                  <a16:creationId xmlns:a16="http://schemas.microsoft.com/office/drawing/2014/main" id="{BA5C43FA-B65C-4FFD-82E3-CB0EA3D5EF04}"/>
                </a:ext>
              </a:extLst>
            </p:cNvPr>
            <p:cNvGrpSpPr>
              <a:grpSpLocks noChangeAspect="1"/>
            </p:cNvGrpSpPr>
            <p:nvPr/>
          </p:nvGrpSpPr>
          <p:grpSpPr bwMode="auto">
            <a:xfrm>
              <a:off x="3466409" y="2466474"/>
              <a:ext cx="237738" cy="230447"/>
              <a:chOff x="1682" y="0"/>
              <a:chExt cx="4316" cy="4320"/>
            </a:xfrm>
          </p:grpSpPr>
          <p:sp>
            <p:nvSpPr>
              <p:cNvPr id="357" name="AutoShape 34">
                <a:extLst>
                  <a:ext uri="{FF2B5EF4-FFF2-40B4-BE49-F238E27FC236}">
                    <a16:creationId xmlns:a16="http://schemas.microsoft.com/office/drawing/2014/main" id="{0DAD4322-4BC8-4150-B0E0-9C665F9DC44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358" name="Freeform 36">
                <a:extLst>
                  <a:ext uri="{FF2B5EF4-FFF2-40B4-BE49-F238E27FC236}">
                    <a16:creationId xmlns:a16="http://schemas.microsoft.com/office/drawing/2014/main" id="{507FCCAD-9D1B-4466-A5B7-D37033F6B11E}"/>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359" name="Freeform 37">
                <a:extLst>
                  <a:ext uri="{FF2B5EF4-FFF2-40B4-BE49-F238E27FC236}">
                    <a16:creationId xmlns:a16="http://schemas.microsoft.com/office/drawing/2014/main" id="{51ECF7A6-A8D8-4081-B707-D73E0B6A0BC5}"/>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346" name="bcgIcons_Shield">
              <a:extLst>
                <a:ext uri="{FF2B5EF4-FFF2-40B4-BE49-F238E27FC236}">
                  <a16:creationId xmlns:a16="http://schemas.microsoft.com/office/drawing/2014/main" id="{DBD5740C-10C7-4661-A95F-0D76BABF32E9}"/>
                </a:ext>
              </a:extLst>
            </p:cNvPr>
            <p:cNvGrpSpPr>
              <a:grpSpLocks noChangeAspect="1"/>
            </p:cNvGrpSpPr>
            <p:nvPr/>
          </p:nvGrpSpPr>
          <p:grpSpPr bwMode="auto">
            <a:xfrm>
              <a:off x="3753097" y="2201429"/>
              <a:ext cx="220334" cy="213578"/>
              <a:chOff x="1682" y="0"/>
              <a:chExt cx="4316" cy="4320"/>
            </a:xfrm>
          </p:grpSpPr>
          <p:sp>
            <p:nvSpPr>
              <p:cNvPr id="354" name="AutoShape 34">
                <a:extLst>
                  <a:ext uri="{FF2B5EF4-FFF2-40B4-BE49-F238E27FC236}">
                    <a16:creationId xmlns:a16="http://schemas.microsoft.com/office/drawing/2014/main" id="{00F762F0-173D-404D-9F4A-E7F53F9D3C3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355" name="Freeform 36">
                <a:extLst>
                  <a:ext uri="{FF2B5EF4-FFF2-40B4-BE49-F238E27FC236}">
                    <a16:creationId xmlns:a16="http://schemas.microsoft.com/office/drawing/2014/main" id="{8AF9FB87-9472-43B2-AE01-39D1DE4144FE}"/>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356" name="Freeform 37">
                <a:extLst>
                  <a:ext uri="{FF2B5EF4-FFF2-40B4-BE49-F238E27FC236}">
                    <a16:creationId xmlns:a16="http://schemas.microsoft.com/office/drawing/2014/main" id="{143CA10A-3406-4890-8E40-16AFD787D96A}"/>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347" name="Group 346">
              <a:extLst>
                <a:ext uri="{FF2B5EF4-FFF2-40B4-BE49-F238E27FC236}">
                  <a16:creationId xmlns:a16="http://schemas.microsoft.com/office/drawing/2014/main" id="{AFC3AB72-A167-49F4-9744-D0359582F289}"/>
                </a:ext>
              </a:extLst>
            </p:cNvPr>
            <p:cNvGrpSpPr>
              <a:grpSpLocks noChangeAspect="1"/>
            </p:cNvGrpSpPr>
            <p:nvPr/>
          </p:nvGrpSpPr>
          <p:grpSpPr>
            <a:xfrm>
              <a:off x="3732921" y="2462056"/>
              <a:ext cx="255486" cy="247423"/>
              <a:chOff x="5273675" y="2600325"/>
              <a:chExt cx="1644650" cy="1644650"/>
            </a:xfrm>
          </p:grpSpPr>
          <p:sp>
            <p:nvSpPr>
              <p:cNvPr id="352" name="AutoShape 3">
                <a:extLst>
                  <a:ext uri="{FF2B5EF4-FFF2-40B4-BE49-F238E27FC236}">
                    <a16:creationId xmlns:a16="http://schemas.microsoft.com/office/drawing/2014/main" id="{8E5D52D5-0077-40EE-BF7C-5F2213C73292}"/>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Freeform 25">
                <a:extLst>
                  <a:ext uri="{FF2B5EF4-FFF2-40B4-BE49-F238E27FC236}">
                    <a16:creationId xmlns:a16="http://schemas.microsoft.com/office/drawing/2014/main" id="{55E2B0AD-873C-49F9-9170-B44E8E48FB9D}"/>
                  </a:ext>
                </a:extLst>
              </p:cNvPr>
              <p:cNvSpPr>
                <a:spLocks/>
              </p:cNvSpPr>
              <p:nvPr/>
            </p:nvSpPr>
            <p:spPr bwMode="auto">
              <a:xfrm>
                <a:off x="5443537" y="2770187"/>
                <a:ext cx="1303336" cy="1303339"/>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48" name="Rectangle 347">
              <a:extLst>
                <a:ext uri="{FF2B5EF4-FFF2-40B4-BE49-F238E27FC236}">
                  <a16:creationId xmlns:a16="http://schemas.microsoft.com/office/drawing/2014/main" id="{903162C2-B514-4D20-9392-BF812C942A67}"/>
                </a:ext>
              </a:extLst>
            </p:cNvPr>
            <p:cNvSpPr/>
            <p:nvPr/>
          </p:nvSpPr>
          <p:spPr>
            <a:xfrm>
              <a:off x="2033961" y="2492727"/>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B</a:t>
              </a:r>
            </a:p>
          </p:txBody>
        </p:sp>
        <p:sp>
          <p:nvSpPr>
            <p:cNvPr id="349" name="Rectangle 348">
              <a:extLst>
                <a:ext uri="{FF2B5EF4-FFF2-40B4-BE49-F238E27FC236}">
                  <a16:creationId xmlns:a16="http://schemas.microsoft.com/office/drawing/2014/main" id="{81ED4022-D8D1-412F-B8EC-A3DDD446BF84}"/>
                </a:ext>
              </a:extLst>
            </p:cNvPr>
            <p:cNvSpPr/>
            <p:nvPr/>
          </p:nvSpPr>
          <p:spPr>
            <a:xfrm>
              <a:off x="2033961" y="1687812"/>
              <a:ext cx="1292284" cy="461665"/>
            </a:xfrm>
            <a:prstGeom prst="rect">
              <a:avLst/>
            </a:prstGeom>
          </p:spPr>
          <p:txBody>
            <a:bodyPr wrap="square">
              <a:spAutoFit/>
            </a:bodyPr>
            <a:lstStyle/>
            <a:p>
              <a:pPr algn="ctr"/>
              <a:r>
                <a:rPr lang="en-US" sz="1200" b="1" dirty="0">
                  <a:solidFill>
                    <a:srgbClr val="00148C"/>
                  </a:solidFill>
                </a:rPr>
                <a:t>US Electric</a:t>
              </a:r>
            </a:p>
            <a:p>
              <a:pPr algn="ctr"/>
              <a:endParaRPr lang="en-US" sz="1200" b="1" dirty="0">
                <a:solidFill>
                  <a:srgbClr val="00148C"/>
                </a:solidFill>
              </a:endParaRPr>
            </a:p>
          </p:txBody>
        </p:sp>
        <p:sp>
          <p:nvSpPr>
            <p:cNvPr id="351" name="Rectangle 350">
              <a:extLst>
                <a:ext uri="{FF2B5EF4-FFF2-40B4-BE49-F238E27FC236}">
                  <a16:creationId xmlns:a16="http://schemas.microsoft.com/office/drawing/2014/main" id="{F982E21F-AA2E-414B-97DE-78CB2650313A}"/>
                </a:ext>
              </a:extLst>
            </p:cNvPr>
            <p:cNvSpPr/>
            <p:nvPr/>
          </p:nvSpPr>
          <p:spPr>
            <a:xfrm>
              <a:off x="2719671" y="1950057"/>
              <a:ext cx="1292284" cy="255496"/>
            </a:xfrm>
            <a:prstGeom prst="rect">
              <a:avLst/>
            </a:prstGeom>
          </p:spPr>
          <p:txBody>
            <a:bodyPr wrap="none">
              <a:noAutofit/>
            </a:bodyPr>
            <a:lstStyle/>
            <a:p>
              <a:pPr algn="ctr"/>
              <a:r>
                <a:rPr lang="en-US" sz="1200" b="1" dirty="0">
                  <a:solidFill>
                    <a:srgbClr val="00148C"/>
                  </a:solidFill>
                </a:rPr>
                <a:t>Tech</a:t>
              </a:r>
            </a:p>
            <a:p>
              <a:pPr algn="ctr"/>
              <a:endParaRPr lang="en-US" sz="1200" b="1" dirty="0">
                <a:solidFill>
                  <a:srgbClr val="00148C"/>
                </a:solidFill>
              </a:endParaRPr>
            </a:p>
          </p:txBody>
        </p:sp>
        <p:sp>
          <p:nvSpPr>
            <p:cNvPr id="350" name="Rectangle 349">
              <a:extLst>
                <a:ext uri="{FF2B5EF4-FFF2-40B4-BE49-F238E27FC236}">
                  <a16:creationId xmlns:a16="http://schemas.microsoft.com/office/drawing/2014/main" id="{2CD9015E-DD92-421D-87B8-43309F3A855F}"/>
                </a:ext>
              </a:extLst>
            </p:cNvPr>
            <p:cNvSpPr/>
            <p:nvPr/>
          </p:nvSpPr>
          <p:spPr>
            <a:xfrm>
              <a:off x="1467732" y="1950057"/>
              <a:ext cx="1292284" cy="255496"/>
            </a:xfrm>
            <a:prstGeom prst="rect">
              <a:avLst/>
            </a:prstGeom>
          </p:spPr>
          <p:txBody>
            <a:bodyPr wrap="none">
              <a:noAutofit/>
            </a:bodyPr>
            <a:lstStyle/>
            <a:p>
              <a:pPr algn="ctr"/>
              <a:r>
                <a:rPr lang="en-US" sz="1200" b="1" dirty="0">
                  <a:solidFill>
                    <a:srgbClr val="00148C"/>
                  </a:solidFill>
                </a:rPr>
                <a:t>Business</a:t>
              </a:r>
            </a:p>
            <a:p>
              <a:pPr algn="ctr"/>
              <a:endParaRPr lang="en-US" sz="1200" b="1" dirty="0">
                <a:solidFill>
                  <a:srgbClr val="00148C"/>
                </a:solidFill>
              </a:endParaRPr>
            </a:p>
          </p:txBody>
        </p:sp>
      </p:grpSp>
      <p:grpSp>
        <p:nvGrpSpPr>
          <p:cNvPr id="399" name="Group 398">
            <a:extLst>
              <a:ext uri="{FF2B5EF4-FFF2-40B4-BE49-F238E27FC236}">
                <a16:creationId xmlns:a16="http://schemas.microsoft.com/office/drawing/2014/main" id="{74C1F9D1-41BA-4FA5-949B-7BA93ECE2046}"/>
              </a:ext>
            </a:extLst>
          </p:cNvPr>
          <p:cNvGrpSpPr/>
          <p:nvPr/>
        </p:nvGrpSpPr>
        <p:grpSpPr>
          <a:xfrm>
            <a:off x="6420683" y="4827619"/>
            <a:ext cx="2781539" cy="1506820"/>
            <a:chOff x="7322477" y="1488260"/>
            <a:chExt cx="2781539" cy="1506820"/>
          </a:xfrm>
        </p:grpSpPr>
        <p:grpSp>
          <p:nvGrpSpPr>
            <p:cNvPr id="400" name="Group 399">
              <a:extLst>
                <a:ext uri="{FF2B5EF4-FFF2-40B4-BE49-F238E27FC236}">
                  <a16:creationId xmlns:a16="http://schemas.microsoft.com/office/drawing/2014/main" id="{8E826EF4-D748-4A5F-8472-C6B4D0B8F5B1}"/>
                </a:ext>
              </a:extLst>
            </p:cNvPr>
            <p:cNvGrpSpPr/>
            <p:nvPr/>
          </p:nvGrpSpPr>
          <p:grpSpPr>
            <a:xfrm>
              <a:off x="7322477" y="1976837"/>
              <a:ext cx="2781539" cy="1018243"/>
              <a:chOff x="4301746" y="2307660"/>
              <a:chExt cx="3588507" cy="2174420"/>
            </a:xfrm>
          </p:grpSpPr>
          <p:sp>
            <p:nvSpPr>
              <p:cNvPr id="425" name="Freeform 25">
                <a:extLst>
                  <a:ext uri="{FF2B5EF4-FFF2-40B4-BE49-F238E27FC236}">
                    <a16:creationId xmlns:a16="http://schemas.microsoft.com/office/drawing/2014/main" id="{910A8BBE-51A4-4592-A810-167A0E9A5469}"/>
                  </a:ext>
                </a:extLst>
              </p:cNvPr>
              <p:cNvSpPr>
                <a:spLocks/>
              </p:cNvSpPr>
              <p:nvPr/>
            </p:nvSpPr>
            <p:spPr bwMode="auto">
              <a:xfrm>
                <a:off x="4301746" y="2307660"/>
                <a:ext cx="1794254" cy="2174420"/>
              </a:xfrm>
              <a:custGeom>
                <a:avLst/>
                <a:gdLst>
                  <a:gd name="T0" fmla="*/ 520 w 660"/>
                  <a:gd name="T1" fmla="*/ 400 h 800"/>
                  <a:gd name="T2" fmla="*/ 660 w 660"/>
                  <a:gd name="T3" fmla="*/ 96 h 800"/>
                  <a:gd name="T4" fmla="*/ 400 w 660"/>
                  <a:gd name="T5" fmla="*/ 0 h 800"/>
                  <a:gd name="T6" fmla="*/ 0 w 660"/>
                  <a:gd name="T7" fmla="*/ 400 h 800"/>
                  <a:gd name="T8" fmla="*/ 400 w 660"/>
                  <a:gd name="T9" fmla="*/ 800 h 800"/>
                  <a:gd name="T10" fmla="*/ 660 w 660"/>
                  <a:gd name="T11" fmla="*/ 704 h 800"/>
                  <a:gd name="T12" fmla="*/ 520 w 660"/>
                  <a:gd name="T13" fmla="*/ 40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520" y="400"/>
                    </a:moveTo>
                    <a:cubicBezTo>
                      <a:pt x="520" y="279"/>
                      <a:pt x="574" y="170"/>
                      <a:pt x="660" y="96"/>
                    </a:cubicBezTo>
                    <a:cubicBezTo>
                      <a:pt x="590" y="37"/>
                      <a:pt x="499" y="0"/>
                      <a:pt x="400" y="0"/>
                    </a:cubicBezTo>
                    <a:cubicBezTo>
                      <a:pt x="179" y="0"/>
                      <a:pt x="0" y="179"/>
                      <a:pt x="0" y="400"/>
                    </a:cubicBezTo>
                    <a:cubicBezTo>
                      <a:pt x="0" y="621"/>
                      <a:pt x="179" y="800"/>
                      <a:pt x="400" y="800"/>
                    </a:cubicBezTo>
                    <a:cubicBezTo>
                      <a:pt x="499" y="800"/>
                      <a:pt x="590" y="764"/>
                      <a:pt x="660" y="704"/>
                    </a:cubicBezTo>
                    <a:cubicBezTo>
                      <a:pt x="574" y="631"/>
                      <a:pt x="520" y="522"/>
                      <a:pt x="520" y="400"/>
                    </a:cubicBezTo>
                    <a:close/>
                  </a:path>
                </a:pathLst>
              </a:custGeom>
              <a:solidFill>
                <a:srgbClr val="EEE89A"/>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26" name="Freeform 26">
                <a:extLst>
                  <a:ext uri="{FF2B5EF4-FFF2-40B4-BE49-F238E27FC236}">
                    <a16:creationId xmlns:a16="http://schemas.microsoft.com/office/drawing/2014/main" id="{B49DCAF5-5870-4999-9ADE-08371AFA2BE7}"/>
                  </a:ext>
                </a:extLst>
              </p:cNvPr>
              <p:cNvSpPr>
                <a:spLocks/>
              </p:cNvSpPr>
              <p:nvPr/>
            </p:nvSpPr>
            <p:spPr bwMode="auto">
              <a:xfrm>
                <a:off x="6095999" y="2307660"/>
                <a:ext cx="1794254" cy="2174420"/>
              </a:xfrm>
              <a:custGeom>
                <a:avLst/>
                <a:gdLst>
                  <a:gd name="T0" fmla="*/ 260 w 660"/>
                  <a:gd name="T1" fmla="*/ 0 h 800"/>
                  <a:gd name="T2" fmla="*/ 0 w 660"/>
                  <a:gd name="T3" fmla="*/ 96 h 800"/>
                  <a:gd name="T4" fmla="*/ 140 w 660"/>
                  <a:gd name="T5" fmla="*/ 400 h 800"/>
                  <a:gd name="T6" fmla="*/ 0 w 660"/>
                  <a:gd name="T7" fmla="*/ 704 h 800"/>
                  <a:gd name="T8" fmla="*/ 260 w 660"/>
                  <a:gd name="T9" fmla="*/ 800 h 800"/>
                  <a:gd name="T10" fmla="*/ 660 w 660"/>
                  <a:gd name="T11" fmla="*/ 400 h 800"/>
                  <a:gd name="T12" fmla="*/ 260 w 660"/>
                  <a:gd name="T13" fmla="*/ 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260" y="0"/>
                    </a:moveTo>
                    <a:cubicBezTo>
                      <a:pt x="161" y="0"/>
                      <a:pt x="70" y="37"/>
                      <a:pt x="0" y="96"/>
                    </a:cubicBezTo>
                    <a:cubicBezTo>
                      <a:pt x="86" y="170"/>
                      <a:pt x="140" y="279"/>
                      <a:pt x="140" y="400"/>
                    </a:cubicBezTo>
                    <a:cubicBezTo>
                      <a:pt x="140" y="522"/>
                      <a:pt x="86" y="631"/>
                      <a:pt x="0" y="704"/>
                    </a:cubicBezTo>
                    <a:cubicBezTo>
                      <a:pt x="70" y="764"/>
                      <a:pt x="161" y="800"/>
                      <a:pt x="260" y="800"/>
                    </a:cubicBezTo>
                    <a:cubicBezTo>
                      <a:pt x="481" y="800"/>
                      <a:pt x="660" y="621"/>
                      <a:pt x="660" y="400"/>
                    </a:cubicBezTo>
                    <a:cubicBezTo>
                      <a:pt x="660" y="179"/>
                      <a:pt x="481" y="0"/>
                      <a:pt x="260" y="0"/>
                    </a:cubicBezTo>
                    <a:close/>
                  </a:path>
                </a:pathLst>
              </a:custGeom>
              <a:solidFill>
                <a:srgbClr val="E3E3E1"/>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400" dirty="0"/>
              </a:p>
            </p:txBody>
          </p:sp>
          <p:sp>
            <p:nvSpPr>
              <p:cNvPr id="427" name="Freeform 27">
                <a:extLst>
                  <a:ext uri="{FF2B5EF4-FFF2-40B4-BE49-F238E27FC236}">
                    <a16:creationId xmlns:a16="http://schemas.microsoft.com/office/drawing/2014/main" id="{FBE854CC-7188-4FBC-9758-A4855B0FD061}"/>
                  </a:ext>
                </a:extLst>
              </p:cNvPr>
              <p:cNvSpPr>
                <a:spLocks/>
              </p:cNvSpPr>
              <p:nvPr/>
            </p:nvSpPr>
            <p:spPr bwMode="auto">
              <a:xfrm>
                <a:off x="5715831" y="2567027"/>
                <a:ext cx="760336" cy="1652134"/>
              </a:xfrm>
              <a:custGeom>
                <a:avLst/>
                <a:gdLst>
                  <a:gd name="T0" fmla="*/ 280 w 280"/>
                  <a:gd name="T1" fmla="*/ 304 h 608"/>
                  <a:gd name="T2" fmla="*/ 140 w 280"/>
                  <a:gd name="T3" fmla="*/ 0 h 608"/>
                  <a:gd name="T4" fmla="*/ 0 w 280"/>
                  <a:gd name="T5" fmla="*/ 304 h 608"/>
                  <a:gd name="T6" fmla="*/ 140 w 280"/>
                  <a:gd name="T7" fmla="*/ 608 h 608"/>
                  <a:gd name="T8" fmla="*/ 280 w 280"/>
                  <a:gd name="T9" fmla="*/ 304 h 608"/>
                </a:gdLst>
                <a:ahLst/>
                <a:cxnLst>
                  <a:cxn ang="0">
                    <a:pos x="T0" y="T1"/>
                  </a:cxn>
                  <a:cxn ang="0">
                    <a:pos x="T2" y="T3"/>
                  </a:cxn>
                  <a:cxn ang="0">
                    <a:pos x="T4" y="T5"/>
                  </a:cxn>
                  <a:cxn ang="0">
                    <a:pos x="T6" y="T7"/>
                  </a:cxn>
                  <a:cxn ang="0">
                    <a:pos x="T8" y="T9"/>
                  </a:cxn>
                </a:cxnLst>
                <a:rect l="0" t="0" r="r" b="b"/>
                <a:pathLst>
                  <a:path w="280" h="608">
                    <a:moveTo>
                      <a:pt x="280" y="304"/>
                    </a:moveTo>
                    <a:cubicBezTo>
                      <a:pt x="280" y="183"/>
                      <a:pt x="226" y="74"/>
                      <a:pt x="140" y="0"/>
                    </a:cubicBezTo>
                    <a:cubicBezTo>
                      <a:pt x="54" y="74"/>
                      <a:pt x="0" y="183"/>
                      <a:pt x="0" y="304"/>
                    </a:cubicBezTo>
                    <a:cubicBezTo>
                      <a:pt x="0" y="426"/>
                      <a:pt x="54" y="535"/>
                      <a:pt x="140" y="608"/>
                    </a:cubicBezTo>
                    <a:cubicBezTo>
                      <a:pt x="226" y="535"/>
                      <a:pt x="280" y="426"/>
                      <a:pt x="280" y="304"/>
                    </a:cubicBezTo>
                    <a:close/>
                  </a:path>
                </a:pathLst>
              </a:custGeom>
              <a:solidFill>
                <a:srgbClr val="00148C"/>
              </a:solidFill>
              <a:ln w="9525" cap="rnd">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01" name="Rectangle 400">
              <a:extLst>
                <a:ext uri="{FF2B5EF4-FFF2-40B4-BE49-F238E27FC236}">
                  <a16:creationId xmlns:a16="http://schemas.microsoft.com/office/drawing/2014/main" id="{39A65A41-D0A2-4497-9B0B-3F47B81F6024}"/>
                </a:ext>
              </a:extLst>
            </p:cNvPr>
            <p:cNvSpPr/>
            <p:nvPr/>
          </p:nvSpPr>
          <p:spPr>
            <a:xfrm>
              <a:off x="8041159" y="2274309"/>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A</a:t>
              </a:r>
            </a:p>
          </p:txBody>
        </p:sp>
        <p:grpSp>
          <p:nvGrpSpPr>
            <p:cNvPr id="402" name="Group 401">
              <a:extLst>
                <a:ext uri="{FF2B5EF4-FFF2-40B4-BE49-F238E27FC236}">
                  <a16:creationId xmlns:a16="http://schemas.microsoft.com/office/drawing/2014/main" id="{A71BBCE8-7452-4376-8778-4D9A45162818}"/>
                </a:ext>
              </a:extLst>
            </p:cNvPr>
            <p:cNvGrpSpPr>
              <a:grpSpLocks noChangeAspect="1"/>
            </p:cNvGrpSpPr>
            <p:nvPr/>
          </p:nvGrpSpPr>
          <p:grpSpPr>
            <a:xfrm>
              <a:off x="7454660" y="2181211"/>
              <a:ext cx="306303" cy="296637"/>
              <a:chOff x="5274038" y="2605402"/>
              <a:chExt cx="1645200" cy="1645200"/>
            </a:xfrm>
          </p:grpSpPr>
          <p:sp>
            <p:nvSpPr>
              <p:cNvPr id="418" name="AutoShape 3">
                <a:extLst>
                  <a:ext uri="{FF2B5EF4-FFF2-40B4-BE49-F238E27FC236}">
                    <a16:creationId xmlns:a16="http://schemas.microsoft.com/office/drawing/2014/main" id="{481A8B2E-C5CE-49C0-AC77-97E8DDA882A1}"/>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19" name="Group 418">
                <a:extLst>
                  <a:ext uri="{FF2B5EF4-FFF2-40B4-BE49-F238E27FC236}">
                    <a16:creationId xmlns:a16="http://schemas.microsoft.com/office/drawing/2014/main" id="{3A88F642-9386-4ABC-B154-999BAEA059D3}"/>
                  </a:ext>
                </a:extLst>
              </p:cNvPr>
              <p:cNvGrpSpPr/>
              <p:nvPr/>
            </p:nvGrpSpPr>
            <p:grpSpPr>
              <a:xfrm>
                <a:off x="5577973" y="2880027"/>
                <a:ext cx="1037330" cy="1095951"/>
                <a:chOff x="5577973" y="2880027"/>
                <a:chExt cx="1037330" cy="1095951"/>
              </a:xfrm>
            </p:grpSpPr>
            <p:sp>
              <p:nvSpPr>
                <p:cNvPr id="420" name="Line 5">
                  <a:extLst>
                    <a:ext uri="{FF2B5EF4-FFF2-40B4-BE49-F238E27FC236}">
                      <a16:creationId xmlns:a16="http://schemas.microsoft.com/office/drawing/2014/main" id="{22C6374A-36AA-49B5-A01A-B9891E6304BA}"/>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1" name="Line 6">
                  <a:extLst>
                    <a:ext uri="{FF2B5EF4-FFF2-40B4-BE49-F238E27FC236}">
                      <a16:creationId xmlns:a16="http://schemas.microsoft.com/office/drawing/2014/main" id="{F7F05DE6-A2C9-4BB5-90F6-96F62F64544F}"/>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Freeform 42">
                  <a:extLst>
                    <a:ext uri="{FF2B5EF4-FFF2-40B4-BE49-F238E27FC236}">
                      <a16:creationId xmlns:a16="http://schemas.microsoft.com/office/drawing/2014/main" id="{CEB1305F-BBB5-4C23-9C5A-63C822280189}"/>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3" name="Freeform 24">
                  <a:extLst>
                    <a:ext uri="{FF2B5EF4-FFF2-40B4-BE49-F238E27FC236}">
                      <a16:creationId xmlns:a16="http://schemas.microsoft.com/office/drawing/2014/main" id="{DFC49E97-66CD-4DE1-81FE-1D21E16AA453}"/>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24" name="Freeform 23">
                  <a:extLst>
                    <a:ext uri="{FF2B5EF4-FFF2-40B4-BE49-F238E27FC236}">
                      <a16:creationId xmlns:a16="http://schemas.microsoft.com/office/drawing/2014/main" id="{6C60F37C-F461-4AC1-9E4A-9AE4FA03CEDE}"/>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03" name="bcgIcons_CloudReplacesOnPremises">
              <a:extLst>
                <a:ext uri="{FF2B5EF4-FFF2-40B4-BE49-F238E27FC236}">
                  <a16:creationId xmlns:a16="http://schemas.microsoft.com/office/drawing/2014/main" id="{A9CE14AC-8DAC-4FC6-AECB-85ED3D2C6CB9}"/>
                </a:ext>
              </a:extLst>
            </p:cNvPr>
            <p:cNvGrpSpPr>
              <a:grpSpLocks noChangeAspect="1"/>
            </p:cNvGrpSpPr>
            <p:nvPr/>
          </p:nvGrpSpPr>
          <p:grpSpPr bwMode="auto">
            <a:xfrm>
              <a:off x="7479432" y="2509073"/>
              <a:ext cx="237738" cy="230447"/>
              <a:chOff x="1682" y="0"/>
              <a:chExt cx="4316" cy="4320"/>
            </a:xfrm>
          </p:grpSpPr>
          <p:sp>
            <p:nvSpPr>
              <p:cNvPr id="415" name="AutoShape 34">
                <a:extLst>
                  <a:ext uri="{FF2B5EF4-FFF2-40B4-BE49-F238E27FC236}">
                    <a16:creationId xmlns:a16="http://schemas.microsoft.com/office/drawing/2014/main" id="{1BF45935-ADBC-41DD-8237-F9542DD7690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416" name="Freeform 36">
                <a:extLst>
                  <a:ext uri="{FF2B5EF4-FFF2-40B4-BE49-F238E27FC236}">
                    <a16:creationId xmlns:a16="http://schemas.microsoft.com/office/drawing/2014/main" id="{ABF83D93-CF07-495B-BF05-F21AAC092EAB}"/>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417" name="Freeform 37">
                <a:extLst>
                  <a:ext uri="{FF2B5EF4-FFF2-40B4-BE49-F238E27FC236}">
                    <a16:creationId xmlns:a16="http://schemas.microsoft.com/office/drawing/2014/main" id="{28315C20-4408-476A-B62E-85954A5F0ABB}"/>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404" name="bcgIcons_Shield">
              <a:extLst>
                <a:ext uri="{FF2B5EF4-FFF2-40B4-BE49-F238E27FC236}">
                  <a16:creationId xmlns:a16="http://schemas.microsoft.com/office/drawing/2014/main" id="{AB594EDA-DF99-4DD2-8EDF-4128FD3FAFD2}"/>
                </a:ext>
              </a:extLst>
            </p:cNvPr>
            <p:cNvGrpSpPr>
              <a:grpSpLocks noChangeAspect="1"/>
            </p:cNvGrpSpPr>
            <p:nvPr/>
          </p:nvGrpSpPr>
          <p:grpSpPr bwMode="auto">
            <a:xfrm>
              <a:off x="7766120" y="2244028"/>
              <a:ext cx="220334" cy="213578"/>
              <a:chOff x="1682" y="0"/>
              <a:chExt cx="4316" cy="4320"/>
            </a:xfrm>
          </p:grpSpPr>
          <p:sp>
            <p:nvSpPr>
              <p:cNvPr id="412" name="AutoShape 34">
                <a:extLst>
                  <a:ext uri="{FF2B5EF4-FFF2-40B4-BE49-F238E27FC236}">
                    <a16:creationId xmlns:a16="http://schemas.microsoft.com/office/drawing/2014/main" id="{92F2FC9A-F628-46B9-A794-71169BD32C8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413" name="Freeform 36">
                <a:extLst>
                  <a:ext uri="{FF2B5EF4-FFF2-40B4-BE49-F238E27FC236}">
                    <a16:creationId xmlns:a16="http://schemas.microsoft.com/office/drawing/2014/main" id="{9F9DBA55-CE7D-4070-A61B-91BACD879925}"/>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414" name="Freeform 37">
                <a:extLst>
                  <a:ext uri="{FF2B5EF4-FFF2-40B4-BE49-F238E27FC236}">
                    <a16:creationId xmlns:a16="http://schemas.microsoft.com/office/drawing/2014/main" id="{87C9862C-70CF-43BF-8D41-57650E49525C}"/>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405" name="Group 404">
              <a:extLst>
                <a:ext uri="{FF2B5EF4-FFF2-40B4-BE49-F238E27FC236}">
                  <a16:creationId xmlns:a16="http://schemas.microsoft.com/office/drawing/2014/main" id="{5397B74E-AA3A-4D4B-952C-C410696D3EF7}"/>
                </a:ext>
              </a:extLst>
            </p:cNvPr>
            <p:cNvGrpSpPr>
              <a:grpSpLocks noChangeAspect="1"/>
            </p:cNvGrpSpPr>
            <p:nvPr/>
          </p:nvGrpSpPr>
          <p:grpSpPr>
            <a:xfrm>
              <a:off x="7745944" y="2504655"/>
              <a:ext cx="255486" cy="247423"/>
              <a:chOff x="5273675" y="2600325"/>
              <a:chExt cx="1644650" cy="1644650"/>
            </a:xfrm>
          </p:grpSpPr>
          <p:sp>
            <p:nvSpPr>
              <p:cNvPr id="410" name="AutoShape 3">
                <a:extLst>
                  <a:ext uri="{FF2B5EF4-FFF2-40B4-BE49-F238E27FC236}">
                    <a16:creationId xmlns:a16="http://schemas.microsoft.com/office/drawing/2014/main" id="{A57285F6-08C6-43E9-AEC1-E12579F5CA61}"/>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Freeform 25">
                <a:extLst>
                  <a:ext uri="{FF2B5EF4-FFF2-40B4-BE49-F238E27FC236}">
                    <a16:creationId xmlns:a16="http://schemas.microsoft.com/office/drawing/2014/main" id="{4A4D4559-D33C-47AD-B3B8-7CB381BDF465}"/>
                  </a:ext>
                </a:extLst>
              </p:cNvPr>
              <p:cNvSpPr>
                <a:spLocks/>
              </p:cNvSpPr>
              <p:nvPr/>
            </p:nvSpPr>
            <p:spPr bwMode="auto">
              <a:xfrm>
                <a:off x="5443537" y="2770187"/>
                <a:ext cx="1303336" cy="1303339"/>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06" name="Rectangle 405">
              <a:extLst>
                <a:ext uri="{FF2B5EF4-FFF2-40B4-BE49-F238E27FC236}">
                  <a16:creationId xmlns:a16="http://schemas.microsoft.com/office/drawing/2014/main" id="{7329A67D-0B6D-4EB7-8DA1-963A74CDEB61}"/>
                </a:ext>
              </a:extLst>
            </p:cNvPr>
            <p:cNvSpPr/>
            <p:nvPr/>
          </p:nvSpPr>
          <p:spPr>
            <a:xfrm>
              <a:off x="8041159" y="2535326"/>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B</a:t>
              </a:r>
            </a:p>
          </p:txBody>
        </p:sp>
        <p:sp>
          <p:nvSpPr>
            <p:cNvPr id="407" name="Rectangle 406">
              <a:extLst>
                <a:ext uri="{FF2B5EF4-FFF2-40B4-BE49-F238E27FC236}">
                  <a16:creationId xmlns:a16="http://schemas.microsoft.com/office/drawing/2014/main" id="{A1439ACB-A051-4378-A8CE-57587C83D709}"/>
                </a:ext>
              </a:extLst>
            </p:cNvPr>
            <p:cNvSpPr/>
            <p:nvPr/>
          </p:nvSpPr>
          <p:spPr>
            <a:xfrm>
              <a:off x="8058577" y="1488260"/>
              <a:ext cx="1292284" cy="646331"/>
            </a:xfrm>
            <a:prstGeom prst="rect">
              <a:avLst/>
            </a:prstGeom>
          </p:spPr>
          <p:txBody>
            <a:bodyPr wrap="square">
              <a:spAutoFit/>
            </a:bodyPr>
            <a:lstStyle/>
            <a:p>
              <a:pPr algn="ctr"/>
              <a:r>
                <a:rPr lang="en-US" sz="1200" b="1" dirty="0">
                  <a:solidFill>
                    <a:srgbClr val="00148C"/>
                  </a:solidFill>
                </a:rPr>
                <a:t>Shared</a:t>
              </a:r>
            </a:p>
            <a:p>
              <a:pPr algn="ctr"/>
              <a:r>
                <a:rPr lang="en-US" sz="1200" b="1" dirty="0">
                  <a:solidFill>
                    <a:srgbClr val="00148C"/>
                  </a:solidFill>
                </a:rPr>
                <a:t>Functions</a:t>
              </a:r>
            </a:p>
            <a:p>
              <a:pPr algn="ctr"/>
              <a:endParaRPr lang="en-US" sz="1200" b="1" dirty="0">
                <a:solidFill>
                  <a:srgbClr val="00148C"/>
                </a:solidFill>
              </a:endParaRPr>
            </a:p>
          </p:txBody>
        </p:sp>
        <p:sp>
          <p:nvSpPr>
            <p:cNvPr id="408" name="Rectangle 407">
              <a:extLst>
                <a:ext uri="{FF2B5EF4-FFF2-40B4-BE49-F238E27FC236}">
                  <a16:creationId xmlns:a16="http://schemas.microsoft.com/office/drawing/2014/main" id="{3053F967-FBCE-47D3-BDD9-ADB272C9631C}"/>
                </a:ext>
              </a:extLst>
            </p:cNvPr>
            <p:cNvSpPr/>
            <p:nvPr/>
          </p:nvSpPr>
          <p:spPr>
            <a:xfrm>
              <a:off x="8726869" y="1992656"/>
              <a:ext cx="1292284" cy="255496"/>
            </a:xfrm>
            <a:prstGeom prst="rect">
              <a:avLst/>
            </a:prstGeom>
          </p:spPr>
          <p:txBody>
            <a:bodyPr wrap="none">
              <a:noAutofit/>
            </a:bodyPr>
            <a:lstStyle/>
            <a:p>
              <a:pPr algn="ctr"/>
              <a:r>
                <a:rPr lang="en-US" sz="1200" b="1" dirty="0">
                  <a:solidFill>
                    <a:srgbClr val="00148C"/>
                  </a:solidFill>
                </a:rPr>
                <a:t>Business</a:t>
              </a:r>
            </a:p>
            <a:p>
              <a:pPr algn="ctr"/>
              <a:endParaRPr lang="en-US" sz="1200" b="1" dirty="0">
                <a:solidFill>
                  <a:srgbClr val="00148C"/>
                </a:solidFill>
              </a:endParaRPr>
            </a:p>
          </p:txBody>
        </p:sp>
        <p:sp>
          <p:nvSpPr>
            <p:cNvPr id="409" name="Rectangle 408">
              <a:extLst>
                <a:ext uri="{FF2B5EF4-FFF2-40B4-BE49-F238E27FC236}">
                  <a16:creationId xmlns:a16="http://schemas.microsoft.com/office/drawing/2014/main" id="{CADD086D-5A96-44F1-B5DE-B1DF39D564AB}"/>
                </a:ext>
              </a:extLst>
            </p:cNvPr>
            <p:cNvSpPr/>
            <p:nvPr/>
          </p:nvSpPr>
          <p:spPr>
            <a:xfrm>
              <a:off x="7474930" y="1992656"/>
              <a:ext cx="1292284" cy="255496"/>
            </a:xfrm>
            <a:prstGeom prst="rect">
              <a:avLst/>
            </a:prstGeom>
          </p:spPr>
          <p:txBody>
            <a:bodyPr wrap="none">
              <a:noAutofit/>
            </a:bodyPr>
            <a:lstStyle/>
            <a:p>
              <a:pPr algn="ctr"/>
              <a:r>
                <a:rPr lang="en-US" sz="1200" b="1" dirty="0">
                  <a:solidFill>
                    <a:srgbClr val="00148C"/>
                  </a:solidFill>
                </a:rPr>
                <a:t>Tech</a:t>
              </a:r>
            </a:p>
            <a:p>
              <a:pPr algn="ctr"/>
              <a:endParaRPr lang="en-US" sz="1200" b="1" dirty="0">
                <a:solidFill>
                  <a:srgbClr val="00148C"/>
                </a:solidFill>
              </a:endParaRPr>
            </a:p>
          </p:txBody>
        </p:sp>
      </p:grpSp>
      <p:grpSp>
        <p:nvGrpSpPr>
          <p:cNvPr id="457" name="Group 456">
            <a:extLst>
              <a:ext uri="{FF2B5EF4-FFF2-40B4-BE49-F238E27FC236}">
                <a16:creationId xmlns:a16="http://schemas.microsoft.com/office/drawing/2014/main" id="{B9F57BE3-A85A-4BB8-8941-9CEF10A9F023}"/>
              </a:ext>
            </a:extLst>
          </p:cNvPr>
          <p:cNvGrpSpPr/>
          <p:nvPr/>
        </p:nvGrpSpPr>
        <p:grpSpPr>
          <a:xfrm>
            <a:off x="435214" y="3849416"/>
            <a:ext cx="2781539" cy="1264669"/>
            <a:chOff x="1315279" y="1687812"/>
            <a:chExt cx="2781539" cy="1264669"/>
          </a:xfrm>
        </p:grpSpPr>
        <p:grpSp>
          <p:nvGrpSpPr>
            <p:cNvPr id="458" name="Group 457">
              <a:extLst>
                <a:ext uri="{FF2B5EF4-FFF2-40B4-BE49-F238E27FC236}">
                  <a16:creationId xmlns:a16="http://schemas.microsoft.com/office/drawing/2014/main" id="{E8B5C0CA-14B1-4BCC-AC00-D118F74BC5DC}"/>
                </a:ext>
              </a:extLst>
            </p:cNvPr>
            <p:cNvGrpSpPr/>
            <p:nvPr/>
          </p:nvGrpSpPr>
          <p:grpSpPr>
            <a:xfrm>
              <a:off x="1315279" y="1934238"/>
              <a:ext cx="2781539" cy="1018243"/>
              <a:chOff x="4301746" y="2307660"/>
              <a:chExt cx="3588507" cy="2174420"/>
            </a:xfrm>
          </p:grpSpPr>
          <p:sp>
            <p:nvSpPr>
              <p:cNvPr id="483" name="Freeform 25">
                <a:extLst>
                  <a:ext uri="{FF2B5EF4-FFF2-40B4-BE49-F238E27FC236}">
                    <a16:creationId xmlns:a16="http://schemas.microsoft.com/office/drawing/2014/main" id="{F54CF919-501A-45DF-97EC-649A26578F1B}"/>
                  </a:ext>
                </a:extLst>
              </p:cNvPr>
              <p:cNvSpPr>
                <a:spLocks/>
              </p:cNvSpPr>
              <p:nvPr/>
            </p:nvSpPr>
            <p:spPr bwMode="auto">
              <a:xfrm>
                <a:off x="4301746" y="2307660"/>
                <a:ext cx="1794254" cy="2174420"/>
              </a:xfrm>
              <a:custGeom>
                <a:avLst/>
                <a:gdLst>
                  <a:gd name="T0" fmla="*/ 520 w 660"/>
                  <a:gd name="T1" fmla="*/ 400 h 800"/>
                  <a:gd name="T2" fmla="*/ 660 w 660"/>
                  <a:gd name="T3" fmla="*/ 96 h 800"/>
                  <a:gd name="T4" fmla="*/ 400 w 660"/>
                  <a:gd name="T5" fmla="*/ 0 h 800"/>
                  <a:gd name="T6" fmla="*/ 0 w 660"/>
                  <a:gd name="T7" fmla="*/ 400 h 800"/>
                  <a:gd name="T8" fmla="*/ 400 w 660"/>
                  <a:gd name="T9" fmla="*/ 800 h 800"/>
                  <a:gd name="T10" fmla="*/ 660 w 660"/>
                  <a:gd name="T11" fmla="*/ 704 h 800"/>
                  <a:gd name="T12" fmla="*/ 520 w 660"/>
                  <a:gd name="T13" fmla="*/ 40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520" y="400"/>
                    </a:moveTo>
                    <a:cubicBezTo>
                      <a:pt x="520" y="279"/>
                      <a:pt x="574" y="170"/>
                      <a:pt x="660" y="96"/>
                    </a:cubicBezTo>
                    <a:cubicBezTo>
                      <a:pt x="590" y="37"/>
                      <a:pt x="499" y="0"/>
                      <a:pt x="400" y="0"/>
                    </a:cubicBezTo>
                    <a:cubicBezTo>
                      <a:pt x="179" y="0"/>
                      <a:pt x="0" y="179"/>
                      <a:pt x="0" y="400"/>
                    </a:cubicBezTo>
                    <a:cubicBezTo>
                      <a:pt x="0" y="621"/>
                      <a:pt x="179" y="800"/>
                      <a:pt x="400" y="800"/>
                    </a:cubicBezTo>
                    <a:cubicBezTo>
                      <a:pt x="499" y="800"/>
                      <a:pt x="590" y="764"/>
                      <a:pt x="660" y="704"/>
                    </a:cubicBezTo>
                    <a:cubicBezTo>
                      <a:pt x="574" y="631"/>
                      <a:pt x="520" y="522"/>
                      <a:pt x="520" y="400"/>
                    </a:cubicBezTo>
                    <a:close/>
                  </a:path>
                </a:pathLst>
              </a:custGeom>
              <a:solidFill>
                <a:srgbClr val="E3E3E1"/>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84" name="Freeform 26">
                <a:extLst>
                  <a:ext uri="{FF2B5EF4-FFF2-40B4-BE49-F238E27FC236}">
                    <a16:creationId xmlns:a16="http://schemas.microsoft.com/office/drawing/2014/main" id="{EA370493-9685-4B21-8DA4-E9870E6E3A09}"/>
                  </a:ext>
                </a:extLst>
              </p:cNvPr>
              <p:cNvSpPr>
                <a:spLocks/>
              </p:cNvSpPr>
              <p:nvPr/>
            </p:nvSpPr>
            <p:spPr bwMode="auto">
              <a:xfrm>
                <a:off x="6095999" y="2307660"/>
                <a:ext cx="1794254" cy="2174420"/>
              </a:xfrm>
              <a:custGeom>
                <a:avLst/>
                <a:gdLst>
                  <a:gd name="T0" fmla="*/ 260 w 660"/>
                  <a:gd name="T1" fmla="*/ 0 h 800"/>
                  <a:gd name="T2" fmla="*/ 0 w 660"/>
                  <a:gd name="T3" fmla="*/ 96 h 800"/>
                  <a:gd name="T4" fmla="*/ 140 w 660"/>
                  <a:gd name="T5" fmla="*/ 400 h 800"/>
                  <a:gd name="T6" fmla="*/ 0 w 660"/>
                  <a:gd name="T7" fmla="*/ 704 h 800"/>
                  <a:gd name="T8" fmla="*/ 260 w 660"/>
                  <a:gd name="T9" fmla="*/ 800 h 800"/>
                  <a:gd name="T10" fmla="*/ 660 w 660"/>
                  <a:gd name="T11" fmla="*/ 400 h 800"/>
                  <a:gd name="T12" fmla="*/ 260 w 660"/>
                  <a:gd name="T13" fmla="*/ 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260" y="0"/>
                    </a:moveTo>
                    <a:cubicBezTo>
                      <a:pt x="161" y="0"/>
                      <a:pt x="70" y="37"/>
                      <a:pt x="0" y="96"/>
                    </a:cubicBezTo>
                    <a:cubicBezTo>
                      <a:pt x="86" y="170"/>
                      <a:pt x="140" y="279"/>
                      <a:pt x="140" y="400"/>
                    </a:cubicBezTo>
                    <a:cubicBezTo>
                      <a:pt x="140" y="522"/>
                      <a:pt x="86" y="631"/>
                      <a:pt x="0" y="704"/>
                    </a:cubicBezTo>
                    <a:cubicBezTo>
                      <a:pt x="70" y="764"/>
                      <a:pt x="161" y="800"/>
                      <a:pt x="260" y="800"/>
                    </a:cubicBezTo>
                    <a:cubicBezTo>
                      <a:pt x="481" y="800"/>
                      <a:pt x="660" y="621"/>
                      <a:pt x="660" y="400"/>
                    </a:cubicBezTo>
                    <a:cubicBezTo>
                      <a:pt x="660" y="179"/>
                      <a:pt x="481" y="0"/>
                      <a:pt x="260" y="0"/>
                    </a:cubicBezTo>
                    <a:close/>
                  </a:path>
                </a:pathLst>
              </a:custGeom>
              <a:solidFill>
                <a:srgbClr val="EEE89A"/>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400" dirty="0"/>
              </a:p>
            </p:txBody>
          </p:sp>
          <p:sp>
            <p:nvSpPr>
              <p:cNvPr id="485" name="Freeform 27">
                <a:extLst>
                  <a:ext uri="{FF2B5EF4-FFF2-40B4-BE49-F238E27FC236}">
                    <a16:creationId xmlns:a16="http://schemas.microsoft.com/office/drawing/2014/main" id="{419057D2-35F7-464C-85B9-B3AF56647FE5}"/>
                  </a:ext>
                </a:extLst>
              </p:cNvPr>
              <p:cNvSpPr>
                <a:spLocks/>
              </p:cNvSpPr>
              <p:nvPr/>
            </p:nvSpPr>
            <p:spPr bwMode="auto">
              <a:xfrm>
                <a:off x="5715831" y="2567027"/>
                <a:ext cx="760336" cy="1652134"/>
              </a:xfrm>
              <a:custGeom>
                <a:avLst/>
                <a:gdLst>
                  <a:gd name="T0" fmla="*/ 280 w 280"/>
                  <a:gd name="T1" fmla="*/ 304 h 608"/>
                  <a:gd name="T2" fmla="*/ 140 w 280"/>
                  <a:gd name="T3" fmla="*/ 0 h 608"/>
                  <a:gd name="T4" fmla="*/ 0 w 280"/>
                  <a:gd name="T5" fmla="*/ 304 h 608"/>
                  <a:gd name="T6" fmla="*/ 140 w 280"/>
                  <a:gd name="T7" fmla="*/ 608 h 608"/>
                  <a:gd name="T8" fmla="*/ 280 w 280"/>
                  <a:gd name="T9" fmla="*/ 304 h 608"/>
                </a:gdLst>
                <a:ahLst/>
                <a:cxnLst>
                  <a:cxn ang="0">
                    <a:pos x="T0" y="T1"/>
                  </a:cxn>
                  <a:cxn ang="0">
                    <a:pos x="T2" y="T3"/>
                  </a:cxn>
                  <a:cxn ang="0">
                    <a:pos x="T4" y="T5"/>
                  </a:cxn>
                  <a:cxn ang="0">
                    <a:pos x="T6" y="T7"/>
                  </a:cxn>
                  <a:cxn ang="0">
                    <a:pos x="T8" y="T9"/>
                  </a:cxn>
                </a:cxnLst>
                <a:rect l="0" t="0" r="r" b="b"/>
                <a:pathLst>
                  <a:path w="280" h="608">
                    <a:moveTo>
                      <a:pt x="280" y="304"/>
                    </a:moveTo>
                    <a:cubicBezTo>
                      <a:pt x="280" y="183"/>
                      <a:pt x="226" y="74"/>
                      <a:pt x="140" y="0"/>
                    </a:cubicBezTo>
                    <a:cubicBezTo>
                      <a:pt x="54" y="74"/>
                      <a:pt x="0" y="183"/>
                      <a:pt x="0" y="304"/>
                    </a:cubicBezTo>
                    <a:cubicBezTo>
                      <a:pt x="0" y="426"/>
                      <a:pt x="54" y="535"/>
                      <a:pt x="140" y="608"/>
                    </a:cubicBezTo>
                    <a:cubicBezTo>
                      <a:pt x="226" y="535"/>
                      <a:pt x="280" y="426"/>
                      <a:pt x="280" y="304"/>
                    </a:cubicBezTo>
                    <a:close/>
                  </a:path>
                </a:pathLst>
              </a:custGeom>
              <a:solidFill>
                <a:srgbClr val="00148C"/>
              </a:solidFill>
              <a:ln w="9525" cap="rnd">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59" name="Rectangle 458">
              <a:extLst>
                <a:ext uri="{FF2B5EF4-FFF2-40B4-BE49-F238E27FC236}">
                  <a16:creationId xmlns:a16="http://schemas.microsoft.com/office/drawing/2014/main" id="{024959DF-D38C-42C2-8A31-0F20753B8BBA}"/>
                </a:ext>
              </a:extLst>
            </p:cNvPr>
            <p:cNvSpPr/>
            <p:nvPr/>
          </p:nvSpPr>
          <p:spPr>
            <a:xfrm>
              <a:off x="2033961" y="2231710"/>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A</a:t>
              </a:r>
            </a:p>
          </p:txBody>
        </p:sp>
        <p:grpSp>
          <p:nvGrpSpPr>
            <p:cNvPr id="460" name="Group 459">
              <a:extLst>
                <a:ext uri="{FF2B5EF4-FFF2-40B4-BE49-F238E27FC236}">
                  <a16:creationId xmlns:a16="http://schemas.microsoft.com/office/drawing/2014/main" id="{4B52D3EE-A94E-4140-8B2B-CC2EB36076C5}"/>
                </a:ext>
              </a:extLst>
            </p:cNvPr>
            <p:cNvGrpSpPr>
              <a:grpSpLocks noChangeAspect="1"/>
            </p:cNvGrpSpPr>
            <p:nvPr/>
          </p:nvGrpSpPr>
          <p:grpSpPr>
            <a:xfrm>
              <a:off x="3441637" y="2138612"/>
              <a:ext cx="306303" cy="296637"/>
              <a:chOff x="5274038" y="2605402"/>
              <a:chExt cx="1645200" cy="1645200"/>
            </a:xfrm>
          </p:grpSpPr>
          <p:sp>
            <p:nvSpPr>
              <p:cNvPr id="476" name="AutoShape 3">
                <a:extLst>
                  <a:ext uri="{FF2B5EF4-FFF2-40B4-BE49-F238E27FC236}">
                    <a16:creationId xmlns:a16="http://schemas.microsoft.com/office/drawing/2014/main" id="{F96B44E1-3AC0-4A72-A3F3-99DBCEE8A739}"/>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77" name="Group 476">
                <a:extLst>
                  <a:ext uri="{FF2B5EF4-FFF2-40B4-BE49-F238E27FC236}">
                    <a16:creationId xmlns:a16="http://schemas.microsoft.com/office/drawing/2014/main" id="{954893F4-0F29-4154-AFD4-F0C7E1D53F72}"/>
                  </a:ext>
                </a:extLst>
              </p:cNvPr>
              <p:cNvGrpSpPr/>
              <p:nvPr/>
            </p:nvGrpSpPr>
            <p:grpSpPr>
              <a:xfrm>
                <a:off x="5577973" y="2880027"/>
                <a:ext cx="1037330" cy="1095951"/>
                <a:chOff x="5577973" y="2880027"/>
                <a:chExt cx="1037330" cy="1095951"/>
              </a:xfrm>
            </p:grpSpPr>
            <p:sp>
              <p:nvSpPr>
                <p:cNvPr id="478" name="Line 5">
                  <a:extLst>
                    <a:ext uri="{FF2B5EF4-FFF2-40B4-BE49-F238E27FC236}">
                      <a16:creationId xmlns:a16="http://schemas.microsoft.com/office/drawing/2014/main" id="{2DCDC9E9-C973-43FB-844B-6B1E995BC76C}"/>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Line 6">
                  <a:extLst>
                    <a:ext uri="{FF2B5EF4-FFF2-40B4-BE49-F238E27FC236}">
                      <a16:creationId xmlns:a16="http://schemas.microsoft.com/office/drawing/2014/main" id="{902B8B98-6E31-47F7-970D-BF7CB1393731}"/>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42">
                  <a:extLst>
                    <a:ext uri="{FF2B5EF4-FFF2-40B4-BE49-F238E27FC236}">
                      <a16:creationId xmlns:a16="http://schemas.microsoft.com/office/drawing/2014/main" id="{F1CEB545-7700-4E2C-9B22-672D80636FDC}"/>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24">
                  <a:extLst>
                    <a:ext uri="{FF2B5EF4-FFF2-40B4-BE49-F238E27FC236}">
                      <a16:creationId xmlns:a16="http://schemas.microsoft.com/office/drawing/2014/main" id="{9B50F331-14EA-4F36-BDA1-971876EEB1BD}"/>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82" name="Freeform 23">
                  <a:extLst>
                    <a:ext uri="{FF2B5EF4-FFF2-40B4-BE49-F238E27FC236}">
                      <a16:creationId xmlns:a16="http://schemas.microsoft.com/office/drawing/2014/main" id="{E15870E7-94A0-490B-839C-6B2BE0EB73C1}"/>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61" name="bcgIcons_CloudReplacesOnPremises">
              <a:extLst>
                <a:ext uri="{FF2B5EF4-FFF2-40B4-BE49-F238E27FC236}">
                  <a16:creationId xmlns:a16="http://schemas.microsoft.com/office/drawing/2014/main" id="{42EF1A39-6306-4ED2-87DC-2800CB44567B}"/>
                </a:ext>
              </a:extLst>
            </p:cNvPr>
            <p:cNvGrpSpPr>
              <a:grpSpLocks noChangeAspect="1"/>
            </p:cNvGrpSpPr>
            <p:nvPr/>
          </p:nvGrpSpPr>
          <p:grpSpPr bwMode="auto">
            <a:xfrm>
              <a:off x="3466409" y="2466474"/>
              <a:ext cx="237738" cy="230447"/>
              <a:chOff x="1682" y="0"/>
              <a:chExt cx="4316" cy="4320"/>
            </a:xfrm>
          </p:grpSpPr>
          <p:sp>
            <p:nvSpPr>
              <p:cNvPr id="473" name="AutoShape 34">
                <a:extLst>
                  <a:ext uri="{FF2B5EF4-FFF2-40B4-BE49-F238E27FC236}">
                    <a16:creationId xmlns:a16="http://schemas.microsoft.com/office/drawing/2014/main" id="{8330DB4F-9BC1-48DF-9355-10EFC15D309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474" name="Freeform 36">
                <a:extLst>
                  <a:ext uri="{FF2B5EF4-FFF2-40B4-BE49-F238E27FC236}">
                    <a16:creationId xmlns:a16="http://schemas.microsoft.com/office/drawing/2014/main" id="{7A7E3EF1-BFAA-4AB5-A57F-94AE9EB6AD1B}"/>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475" name="Freeform 37">
                <a:extLst>
                  <a:ext uri="{FF2B5EF4-FFF2-40B4-BE49-F238E27FC236}">
                    <a16:creationId xmlns:a16="http://schemas.microsoft.com/office/drawing/2014/main" id="{F51AA2BE-CE46-4897-8FF5-9155E5CFE75F}"/>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462" name="bcgIcons_Shield">
              <a:extLst>
                <a:ext uri="{FF2B5EF4-FFF2-40B4-BE49-F238E27FC236}">
                  <a16:creationId xmlns:a16="http://schemas.microsoft.com/office/drawing/2014/main" id="{E46781EE-D2E2-4DB9-A6FB-0C74B85C6DA1}"/>
                </a:ext>
              </a:extLst>
            </p:cNvPr>
            <p:cNvGrpSpPr>
              <a:grpSpLocks noChangeAspect="1"/>
            </p:cNvGrpSpPr>
            <p:nvPr/>
          </p:nvGrpSpPr>
          <p:grpSpPr bwMode="auto">
            <a:xfrm>
              <a:off x="3753097" y="2201429"/>
              <a:ext cx="220334" cy="213578"/>
              <a:chOff x="1682" y="0"/>
              <a:chExt cx="4316" cy="4320"/>
            </a:xfrm>
          </p:grpSpPr>
          <p:sp>
            <p:nvSpPr>
              <p:cNvPr id="470" name="AutoShape 34">
                <a:extLst>
                  <a:ext uri="{FF2B5EF4-FFF2-40B4-BE49-F238E27FC236}">
                    <a16:creationId xmlns:a16="http://schemas.microsoft.com/office/drawing/2014/main" id="{7B4F4CF1-0552-4CC7-91A0-0AF58AB7E1E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471" name="Freeform 36">
                <a:extLst>
                  <a:ext uri="{FF2B5EF4-FFF2-40B4-BE49-F238E27FC236}">
                    <a16:creationId xmlns:a16="http://schemas.microsoft.com/office/drawing/2014/main" id="{F3B8FD18-BD5A-4E27-9420-55F471C29B84}"/>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472" name="Freeform 37">
                <a:extLst>
                  <a:ext uri="{FF2B5EF4-FFF2-40B4-BE49-F238E27FC236}">
                    <a16:creationId xmlns:a16="http://schemas.microsoft.com/office/drawing/2014/main" id="{AD6E997C-E7F9-40B4-8548-62C92122C7C5}"/>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463" name="Group 462">
              <a:extLst>
                <a:ext uri="{FF2B5EF4-FFF2-40B4-BE49-F238E27FC236}">
                  <a16:creationId xmlns:a16="http://schemas.microsoft.com/office/drawing/2014/main" id="{88C9D828-5CAF-423B-AA91-3A48DD61B74B}"/>
                </a:ext>
              </a:extLst>
            </p:cNvPr>
            <p:cNvGrpSpPr>
              <a:grpSpLocks noChangeAspect="1"/>
            </p:cNvGrpSpPr>
            <p:nvPr/>
          </p:nvGrpSpPr>
          <p:grpSpPr>
            <a:xfrm>
              <a:off x="3732921" y="2462056"/>
              <a:ext cx="255486" cy="247423"/>
              <a:chOff x="5273675" y="2600325"/>
              <a:chExt cx="1644650" cy="1644650"/>
            </a:xfrm>
          </p:grpSpPr>
          <p:sp>
            <p:nvSpPr>
              <p:cNvPr id="468" name="AutoShape 3">
                <a:extLst>
                  <a:ext uri="{FF2B5EF4-FFF2-40B4-BE49-F238E27FC236}">
                    <a16:creationId xmlns:a16="http://schemas.microsoft.com/office/drawing/2014/main" id="{69E921CF-15B0-4827-9865-E19141C22505}"/>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Freeform 25">
                <a:extLst>
                  <a:ext uri="{FF2B5EF4-FFF2-40B4-BE49-F238E27FC236}">
                    <a16:creationId xmlns:a16="http://schemas.microsoft.com/office/drawing/2014/main" id="{4C678EFE-E7D8-4F38-A807-94BA53DEF3C8}"/>
                  </a:ext>
                </a:extLst>
              </p:cNvPr>
              <p:cNvSpPr>
                <a:spLocks/>
              </p:cNvSpPr>
              <p:nvPr/>
            </p:nvSpPr>
            <p:spPr bwMode="auto">
              <a:xfrm>
                <a:off x="5443537" y="2770187"/>
                <a:ext cx="1303336" cy="1303339"/>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64" name="Rectangle 463">
              <a:extLst>
                <a:ext uri="{FF2B5EF4-FFF2-40B4-BE49-F238E27FC236}">
                  <a16:creationId xmlns:a16="http://schemas.microsoft.com/office/drawing/2014/main" id="{B35F9C4E-EC4A-4EC2-A712-B4A70E2B455E}"/>
                </a:ext>
              </a:extLst>
            </p:cNvPr>
            <p:cNvSpPr/>
            <p:nvPr/>
          </p:nvSpPr>
          <p:spPr>
            <a:xfrm>
              <a:off x="2033961" y="2492727"/>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B</a:t>
              </a:r>
            </a:p>
          </p:txBody>
        </p:sp>
        <p:sp>
          <p:nvSpPr>
            <p:cNvPr id="465" name="Rectangle 464">
              <a:extLst>
                <a:ext uri="{FF2B5EF4-FFF2-40B4-BE49-F238E27FC236}">
                  <a16:creationId xmlns:a16="http://schemas.microsoft.com/office/drawing/2014/main" id="{38EF505A-7E07-4BEB-8185-7EEC43706887}"/>
                </a:ext>
              </a:extLst>
            </p:cNvPr>
            <p:cNvSpPr/>
            <p:nvPr/>
          </p:nvSpPr>
          <p:spPr>
            <a:xfrm>
              <a:off x="2033961" y="1687812"/>
              <a:ext cx="1292284" cy="461665"/>
            </a:xfrm>
            <a:prstGeom prst="rect">
              <a:avLst/>
            </a:prstGeom>
          </p:spPr>
          <p:txBody>
            <a:bodyPr wrap="square">
              <a:spAutoFit/>
            </a:bodyPr>
            <a:lstStyle/>
            <a:p>
              <a:pPr algn="ctr"/>
              <a:r>
                <a:rPr lang="en-US" sz="1200" b="1" dirty="0">
                  <a:solidFill>
                    <a:srgbClr val="00148C"/>
                  </a:solidFill>
                </a:rPr>
                <a:t>US Customer</a:t>
              </a:r>
            </a:p>
            <a:p>
              <a:pPr algn="ctr"/>
              <a:endParaRPr lang="en-US" sz="1200" b="1" dirty="0">
                <a:solidFill>
                  <a:srgbClr val="00148C"/>
                </a:solidFill>
              </a:endParaRPr>
            </a:p>
          </p:txBody>
        </p:sp>
        <p:sp>
          <p:nvSpPr>
            <p:cNvPr id="466" name="Rectangle 465">
              <a:extLst>
                <a:ext uri="{FF2B5EF4-FFF2-40B4-BE49-F238E27FC236}">
                  <a16:creationId xmlns:a16="http://schemas.microsoft.com/office/drawing/2014/main" id="{7C8C3674-4479-4D09-A181-31BFBEB0F8CD}"/>
                </a:ext>
              </a:extLst>
            </p:cNvPr>
            <p:cNvSpPr/>
            <p:nvPr/>
          </p:nvSpPr>
          <p:spPr>
            <a:xfrm>
              <a:off x="2719671" y="1950057"/>
              <a:ext cx="1292284" cy="255496"/>
            </a:xfrm>
            <a:prstGeom prst="rect">
              <a:avLst/>
            </a:prstGeom>
          </p:spPr>
          <p:txBody>
            <a:bodyPr wrap="none">
              <a:noAutofit/>
            </a:bodyPr>
            <a:lstStyle/>
            <a:p>
              <a:pPr algn="ctr"/>
              <a:r>
                <a:rPr lang="en-US" sz="1200" b="1" dirty="0">
                  <a:solidFill>
                    <a:srgbClr val="00148C"/>
                  </a:solidFill>
                </a:rPr>
                <a:t>Tech</a:t>
              </a:r>
            </a:p>
            <a:p>
              <a:pPr algn="ctr"/>
              <a:endParaRPr lang="en-US" sz="1200" b="1" dirty="0">
                <a:solidFill>
                  <a:srgbClr val="00148C"/>
                </a:solidFill>
              </a:endParaRPr>
            </a:p>
          </p:txBody>
        </p:sp>
        <p:sp>
          <p:nvSpPr>
            <p:cNvPr id="467" name="Rectangle 466">
              <a:extLst>
                <a:ext uri="{FF2B5EF4-FFF2-40B4-BE49-F238E27FC236}">
                  <a16:creationId xmlns:a16="http://schemas.microsoft.com/office/drawing/2014/main" id="{C9031A6F-0669-4680-AF5C-E5A797847BB8}"/>
                </a:ext>
              </a:extLst>
            </p:cNvPr>
            <p:cNvSpPr/>
            <p:nvPr/>
          </p:nvSpPr>
          <p:spPr>
            <a:xfrm>
              <a:off x="1467732" y="1950057"/>
              <a:ext cx="1292284" cy="255496"/>
            </a:xfrm>
            <a:prstGeom prst="rect">
              <a:avLst/>
            </a:prstGeom>
          </p:spPr>
          <p:txBody>
            <a:bodyPr wrap="none">
              <a:noAutofit/>
            </a:bodyPr>
            <a:lstStyle/>
            <a:p>
              <a:pPr algn="ctr"/>
              <a:r>
                <a:rPr lang="en-US" sz="1200" b="1" dirty="0">
                  <a:solidFill>
                    <a:srgbClr val="00148C"/>
                  </a:solidFill>
                </a:rPr>
                <a:t>Business</a:t>
              </a:r>
            </a:p>
            <a:p>
              <a:pPr algn="ctr"/>
              <a:endParaRPr lang="en-US" sz="1200" b="1" dirty="0">
                <a:solidFill>
                  <a:srgbClr val="00148C"/>
                </a:solidFill>
              </a:endParaRPr>
            </a:p>
          </p:txBody>
        </p:sp>
      </p:grpSp>
      <p:grpSp>
        <p:nvGrpSpPr>
          <p:cNvPr id="486" name="Group 485">
            <a:extLst>
              <a:ext uri="{FF2B5EF4-FFF2-40B4-BE49-F238E27FC236}">
                <a16:creationId xmlns:a16="http://schemas.microsoft.com/office/drawing/2014/main" id="{2D9E8532-2D61-4792-8344-F6BB55966EED}"/>
              </a:ext>
            </a:extLst>
          </p:cNvPr>
          <p:cNvGrpSpPr/>
          <p:nvPr/>
        </p:nvGrpSpPr>
        <p:grpSpPr>
          <a:xfrm>
            <a:off x="1915039" y="5052760"/>
            <a:ext cx="2781539" cy="1264669"/>
            <a:chOff x="1315279" y="1687812"/>
            <a:chExt cx="2781539" cy="1264669"/>
          </a:xfrm>
        </p:grpSpPr>
        <p:grpSp>
          <p:nvGrpSpPr>
            <p:cNvPr id="487" name="Group 486">
              <a:extLst>
                <a:ext uri="{FF2B5EF4-FFF2-40B4-BE49-F238E27FC236}">
                  <a16:creationId xmlns:a16="http://schemas.microsoft.com/office/drawing/2014/main" id="{4FFFCA07-2624-4FDA-8A38-72A1CF7C8230}"/>
                </a:ext>
              </a:extLst>
            </p:cNvPr>
            <p:cNvGrpSpPr/>
            <p:nvPr/>
          </p:nvGrpSpPr>
          <p:grpSpPr>
            <a:xfrm>
              <a:off x="1315279" y="1934238"/>
              <a:ext cx="2781539" cy="1018243"/>
              <a:chOff x="4301746" y="2307660"/>
              <a:chExt cx="3588507" cy="2174420"/>
            </a:xfrm>
          </p:grpSpPr>
          <p:sp>
            <p:nvSpPr>
              <p:cNvPr id="512" name="Freeform 25">
                <a:extLst>
                  <a:ext uri="{FF2B5EF4-FFF2-40B4-BE49-F238E27FC236}">
                    <a16:creationId xmlns:a16="http://schemas.microsoft.com/office/drawing/2014/main" id="{FBC4BD05-2D61-402C-A996-1B32A730AFBC}"/>
                  </a:ext>
                </a:extLst>
              </p:cNvPr>
              <p:cNvSpPr>
                <a:spLocks/>
              </p:cNvSpPr>
              <p:nvPr/>
            </p:nvSpPr>
            <p:spPr bwMode="auto">
              <a:xfrm>
                <a:off x="4301746" y="2307660"/>
                <a:ext cx="1794254" cy="2174420"/>
              </a:xfrm>
              <a:custGeom>
                <a:avLst/>
                <a:gdLst>
                  <a:gd name="T0" fmla="*/ 520 w 660"/>
                  <a:gd name="T1" fmla="*/ 400 h 800"/>
                  <a:gd name="T2" fmla="*/ 660 w 660"/>
                  <a:gd name="T3" fmla="*/ 96 h 800"/>
                  <a:gd name="T4" fmla="*/ 400 w 660"/>
                  <a:gd name="T5" fmla="*/ 0 h 800"/>
                  <a:gd name="T6" fmla="*/ 0 w 660"/>
                  <a:gd name="T7" fmla="*/ 400 h 800"/>
                  <a:gd name="T8" fmla="*/ 400 w 660"/>
                  <a:gd name="T9" fmla="*/ 800 h 800"/>
                  <a:gd name="T10" fmla="*/ 660 w 660"/>
                  <a:gd name="T11" fmla="*/ 704 h 800"/>
                  <a:gd name="T12" fmla="*/ 520 w 660"/>
                  <a:gd name="T13" fmla="*/ 40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520" y="400"/>
                    </a:moveTo>
                    <a:cubicBezTo>
                      <a:pt x="520" y="279"/>
                      <a:pt x="574" y="170"/>
                      <a:pt x="660" y="96"/>
                    </a:cubicBezTo>
                    <a:cubicBezTo>
                      <a:pt x="590" y="37"/>
                      <a:pt x="499" y="0"/>
                      <a:pt x="400" y="0"/>
                    </a:cubicBezTo>
                    <a:cubicBezTo>
                      <a:pt x="179" y="0"/>
                      <a:pt x="0" y="179"/>
                      <a:pt x="0" y="400"/>
                    </a:cubicBezTo>
                    <a:cubicBezTo>
                      <a:pt x="0" y="621"/>
                      <a:pt x="179" y="800"/>
                      <a:pt x="400" y="800"/>
                    </a:cubicBezTo>
                    <a:cubicBezTo>
                      <a:pt x="499" y="800"/>
                      <a:pt x="590" y="764"/>
                      <a:pt x="660" y="704"/>
                    </a:cubicBezTo>
                    <a:cubicBezTo>
                      <a:pt x="574" y="631"/>
                      <a:pt x="520" y="522"/>
                      <a:pt x="520" y="400"/>
                    </a:cubicBezTo>
                    <a:close/>
                  </a:path>
                </a:pathLst>
              </a:custGeom>
              <a:solidFill>
                <a:srgbClr val="E3E3E1"/>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513" name="Freeform 26">
                <a:extLst>
                  <a:ext uri="{FF2B5EF4-FFF2-40B4-BE49-F238E27FC236}">
                    <a16:creationId xmlns:a16="http://schemas.microsoft.com/office/drawing/2014/main" id="{A55C1591-CEF7-4348-A2E2-FE09B3995A80}"/>
                  </a:ext>
                </a:extLst>
              </p:cNvPr>
              <p:cNvSpPr>
                <a:spLocks/>
              </p:cNvSpPr>
              <p:nvPr/>
            </p:nvSpPr>
            <p:spPr bwMode="auto">
              <a:xfrm>
                <a:off x="6095999" y="2307660"/>
                <a:ext cx="1794254" cy="2174420"/>
              </a:xfrm>
              <a:custGeom>
                <a:avLst/>
                <a:gdLst>
                  <a:gd name="T0" fmla="*/ 260 w 660"/>
                  <a:gd name="T1" fmla="*/ 0 h 800"/>
                  <a:gd name="T2" fmla="*/ 0 w 660"/>
                  <a:gd name="T3" fmla="*/ 96 h 800"/>
                  <a:gd name="T4" fmla="*/ 140 w 660"/>
                  <a:gd name="T5" fmla="*/ 400 h 800"/>
                  <a:gd name="T6" fmla="*/ 0 w 660"/>
                  <a:gd name="T7" fmla="*/ 704 h 800"/>
                  <a:gd name="T8" fmla="*/ 260 w 660"/>
                  <a:gd name="T9" fmla="*/ 800 h 800"/>
                  <a:gd name="T10" fmla="*/ 660 w 660"/>
                  <a:gd name="T11" fmla="*/ 400 h 800"/>
                  <a:gd name="T12" fmla="*/ 260 w 660"/>
                  <a:gd name="T13" fmla="*/ 0 h 800"/>
                </a:gdLst>
                <a:ahLst/>
                <a:cxnLst>
                  <a:cxn ang="0">
                    <a:pos x="T0" y="T1"/>
                  </a:cxn>
                  <a:cxn ang="0">
                    <a:pos x="T2" y="T3"/>
                  </a:cxn>
                  <a:cxn ang="0">
                    <a:pos x="T4" y="T5"/>
                  </a:cxn>
                  <a:cxn ang="0">
                    <a:pos x="T6" y="T7"/>
                  </a:cxn>
                  <a:cxn ang="0">
                    <a:pos x="T8" y="T9"/>
                  </a:cxn>
                  <a:cxn ang="0">
                    <a:pos x="T10" y="T11"/>
                  </a:cxn>
                  <a:cxn ang="0">
                    <a:pos x="T12" y="T13"/>
                  </a:cxn>
                </a:cxnLst>
                <a:rect l="0" t="0" r="r" b="b"/>
                <a:pathLst>
                  <a:path w="660" h="800">
                    <a:moveTo>
                      <a:pt x="260" y="0"/>
                    </a:moveTo>
                    <a:cubicBezTo>
                      <a:pt x="161" y="0"/>
                      <a:pt x="70" y="37"/>
                      <a:pt x="0" y="96"/>
                    </a:cubicBezTo>
                    <a:cubicBezTo>
                      <a:pt x="86" y="170"/>
                      <a:pt x="140" y="279"/>
                      <a:pt x="140" y="400"/>
                    </a:cubicBezTo>
                    <a:cubicBezTo>
                      <a:pt x="140" y="522"/>
                      <a:pt x="86" y="631"/>
                      <a:pt x="0" y="704"/>
                    </a:cubicBezTo>
                    <a:cubicBezTo>
                      <a:pt x="70" y="764"/>
                      <a:pt x="161" y="800"/>
                      <a:pt x="260" y="800"/>
                    </a:cubicBezTo>
                    <a:cubicBezTo>
                      <a:pt x="481" y="800"/>
                      <a:pt x="660" y="621"/>
                      <a:pt x="660" y="400"/>
                    </a:cubicBezTo>
                    <a:cubicBezTo>
                      <a:pt x="660" y="179"/>
                      <a:pt x="481" y="0"/>
                      <a:pt x="260" y="0"/>
                    </a:cubicBezTo>
                    <a:close/>
                  </a:path>
                </a:pathLst>
              </a:custGeom>
              <a:solidFill>
                <a:srgbClr val="EEE89A"/>
              </a:solidFill>
              <a:ln w="9525" cap="rnd" cmpd="sng" algn="ctr">
                <a:solidFill>
                  <a:srgbClr val="00148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400" dirty="0"/>
              </a:p>
            </p:txBody>
          </p:sp>
          <p:sp>
            <p:nvSpPr>
              <p:cNvPr id="514" name="Freeform 27">
                <a:extLst>
                  <a:ext uri="{FF2B5EF4-FFF2-40B4-BE49-F238E27FC236}">
                    <a16:creationId xmlns:a16="http://schemas.microsoft.com/office/drawing/2014/main" id="{51C0A9EF-6D15-4A42-AFFE-5E2A7FA09208}"/>
                  </a:ext>
                </a:extLst>
              </p:cNvPr>
              <p:cNvSpPr>
                <a:spLocks/>
              </p:cNvSpPr>
              <p:nvPr/>
            </p:nvSpPr>
            <p:spPr bwMode="auto">
              <a:xfrm>
                <a:off x="5715831" y="2567027"/>
                <a:ext cx="760336" cy="1652134"/>
              </a:xfrm>
              <a:custGeom>
                <a:avLst/>
                <a:gdLst>
                  <a:gd name="T0" fmla="*/ 280 w 280"/>
                  <a:gd name="T1" fmla="*/ 304 h 608"/>
                  <a:gd name="T2" fmla="*/ 140 w 280"/>
                  <a:gd name="T3" fmla="*/ 0 h 608"/>
                  <a:gd name="T4" fmla="*/ 0 w 280"/>
                  <a:gd name="T5" fmla="*/ 304 h 608"/>
                  <a:gd name="T6" fmla="*/ 140 w 280"/>
                  <a:gd name="T7" fmla="*/ 608 h 608"/>
                  <a:gd name="T8" fmla="*/ 280 w 280"/>
                  <a:gd name="T9" fmla="*/ 304 h 608"/>
                </a:gdLst>
                <a:ahLst/>
                <a:cxnLst>
                  <a:cxn ang="0">
                    <a:pos x="T0" y="T1"/>
                  </a:cxn>
                  <a:cxn ang="0">
                    <a:pos x="T2" y="T3"/>
                  </a:cxn>
                  <a:cxn ang="0">
                    <a:pos x="T4" y="T5"/>
                  </a:cxn>
                  <a:cxn ang="0">
                    <a:pos x="T6" y="T7"/>
                  </a:cxn>
                  <a:cxn ang="0">
                    <a:pos x="T8" y="T9"/>
                  </a:cxn>
                </a:cxnLst>
                <a:rect l="0" t="0" r="r" b="b"/>
                <a:pathLst>
                  <a:path w="280" h="608">
                    <a:moveTo>
                      <a:pt x="280" y="304"/>
                    </a:moveTo>
                    <a:cubicBezTo>
                      <a:pt x="280" y="183"/>
                      <a:pt x="226" y="74"/>
                      <a:pt x="140" y="0"/>
                    </a:cubicBezTo>
                    <a:cubicBezTo>
                      <a:pt x="54" y="74"/>
                      <a:pt x="0" y="183"/>
                      <a:pt x="0" y="304"/>
                    </a:cubicBezTo>
                    <a:cubicBezTo>
                      <a:pt x="0" y="426"/>
                      <a:pt x="54" y="535"/>
                      <a:pt x="140" y="608"/>
                    </a:cubicBezTo>
                    <a:cubicBezTo>
                      <a:pt x="226" y="535"/>
                      <a:pt x="280" y="426"/>
                      <a:pt x="280" y="304"/>
                    </a:cubicBezTo>
                    <a:close/>
                  </a:path>
                </a:pathLst>
              </a:custGeom>
              <a:solidFill>
                <a:srgbClr val="00148C"/>
              </a:solidFill>
              <a:ln w="9525" cap="rnd">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88" name="Rectangle 487">
              <a:extLst>
                <a:ext uri="{FF2B5EF4-FFF2-40B4-BE49-F238E27FC236}">
                  <a16:creationId xmlns:a16="http://schemas.microsoft.com/office/drawing/2014/main" id="{64C4D0C7-14FE-481E-9775-DB5B4AF68C0C}"/>
                </a:ext>
              </a:extLst>
            </p:cNvPr>
            <p:cNvSpPr/>
            <p:nvPr/>
          </p:nvSpPr>
          <p:spPr>
            <a:xfrm>
              <a:off x="2033961" y="2231710"/>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A</a:t>
              </a:r>
            </a:p>
          </p:txBody>
        </p:sp>
        <p:grpSp>
          <p:nvGrpSpPr>
            <p:cNvPr id="489" name="Group 488">
              <a:extLst>
                <a:ext uri="{FF2B5EF4-FFF2-40B4-BE49-F238E27FC236}">
                  <a16:creationId xmlns:a16="http://schemas.microsoft.com/office/drawing/2014/main" id="{6C2ED5FA-1256-43B3-BB51-70CA69E31788}"/>
                </a:ext>
              </a:extLst>
            </p:cNvPr>
            <p:cNvGrpSpPr>
              <a:grpSpLocks noChangeAspect="1"/>
            </p:cNvGrpSpPr>
            <p:nvPr/>
          </p:nvGrpSpPr>
          <p:grpSpPr>
            <a:xfrm>
              <a:off x="3441637" y="2138612"/>
              <a:ext cx="306303" cy="296637"/>
              <a:chOff x="5274038" y="2605402"/>
              <a:chExt cx="1645200" cy="1645200"/>
            </a:xfrm>
          </p:grpSpPr>
          <p:sp>
            <p:nvSpPr>
              <p:cNvPr id="505" name="AutoShape 3">
                <a:extLst>
                  <a:ext uri="{FF2B5EF4-FFF2-40B4-BE49-F238E27FC236}">
                    <a16:creationId xmlns:a16="http://schemas.microsoft.com/office/drawing/2014/main" id="{861BDE66-CECE-4389-84C2-73796E3C8EB5}"/>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6" name="Group 505">
                <a:extLst>
                  <a:ext uri="{FF2B5EF4-FFF2-40B4-BE49-F238E27FC236}">
                    <a16:creationId xmlns:a16="http://schemas.microsoft.com/office/drawing/2014/main" id="{9458733D-FFA4-40DE-95E2-02563D2957D0}"/>
                  </a:ext>
                </a:extLst>
              </p:cNvPr>
              <p:cNvGrpSpPr/>
              <p:nvPr/>
            </p:nvGrpSpPr>
            <p:grpSpPr>
              <a:xfrm>
                <a:off x="5577973" y="2880027"/>
                <a:ext cx="1037330" cy="1095951"/>
                <a:chOff x="5577973" y="2880027"/>
                <a:chExt cx="1037330" cy="1095951"/>
              </a:xfrm>
            </p:grpSpPr>
            <p:sp>
              <p:nvSpPr>
                <p:cNvPr id="507" name="Line 5">
                  <a:extLst>
                    <a:ext uri="{FF2B5EF4-FFF2-40B4-BE49-F238E27FC236}">
                      <a16:creationId xmlns:a16="http://schemas.microsoft.com/office/drawing/2014/main" id="{9144A655-AB88-4C42-9752-501EEB39F1C0}"/>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Line 6">
                  <a:extLst>
                    <a:ext uri="{FF2B5EF4-FFF2-40B4-BE49-F238E27FC236}">
                      <a16:creationId xmlns:a16="http://schemas.microsoft.com/office/drawing/2014/main" id="{5A640BDB-2A12-4E94-917B-231C597335B6}"/>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9" name="Freeform 42">
                  <a:extLst>
                    <a:ext uri="{FF2B5EF4-FFF2-40B4-BE49-F238E27FC236}">
                      <a16:creationId xmlns:a16="http://schemas.microsoft.com/office/drawing/2014/main" id="{B65344C1-B0D5-4B0A-B675-4D813661FCD4}"/>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24">
                  <a:extLst>
                    <a:ext uri="{FF2B5EF4-FFF2-40B4-BE49-F238E27FC236}">
                      <a16:creationId xmlns:a16="http://schemas.microsoft.com/office/drawing/2014/main" id="{55FBA0DE-C26D-47AE-B07C-E473D507D3A5}"/>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11" name="Freeform 23">
                  <a:extLst>
                    <a:ext uri="{FF2B5EF4-FFF2-40B4-BE49-F238E27FC236}">
                      <a16:creationId xmlns:a16="http://schemas.microsoft.com/office/drawing/2014/main" id="{32F3D5E3-8D75-4BF3-B1C0-9659323255F3}"/>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rgbClr val="55555A"/>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5555A"/>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90" name="bcgIcons_CloudReplacesOnPremises">
              <a:extLst>
                <a:ext uri="{FF2B5EF4-FFF2-40B4-BE49-F238E27FC236}">
                  <a16:creationId xmlns:a16="http://schemas.microsoft.com/office/drawing/2014/main" id="{6BDC1B0F-69E6-4720-B8A5-939319DC5C96}"/>
                </a:ext>
              </a:extLst>
            </p:cNvPr>
            <p:cNvGrpSpPr>
              <a:grpSpLocks noChangeAspect="1"/>
            </p:cNvGrpSpPr>
            <p:nvPr/>
          </p:nvGrpSpPr>
          <p:grpSpPr bwMode="auto">
            <a:xfrm>
              <a:off x="3466409" y="2466474"/>
              <a:ext cx="237738" cy="230447"/>
              <a:chOff x="1682" y="0"/>
              <a:chExt cx="4316" cy="4320"/>
            </a:xfrm>
          </p:grpSpPr>
          <p:sp>
            <p:nvSpPr>
              <p:cNvPr id="502" name="AutoShape 34">
                <a:extLst>
                  <a:ext uri="{FF2B5EF4-FFF2-40B4-BE49-F238E27FC236}">
                    <a16:creationId xmlns:a16="http://schemas.microsoft.com/office/drawing/2014/main" id="{ED345A6D-0581-491A-88CB-74960E5F33E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503" name="Freeform 36">
                <a:extLst>
                  <a:ext uri="{FF2B5EF4-FFF2-40B4-BE49-F238E27FC236}">
                    <a16:creationId xmlns:a16="http://schemas.microsoft.com/office/drawing/2014/main" id="{34FA0EF3-42D6-4A5A-AE4A-154F83FC09BD}"/>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504" name="Freeform 37">
                <a:extLst>
                  <a:ext uri="{FF2B5EF4-FFF2-40B4-BE49-F238E27FC236}">
                    <a16:creationId xmlns:a16="http://schemas.microsoft.com/office/drawing/2014/main" id="{C1076635-1460-481D-A21A-FC2E925A478B}"/>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491" name="bcgIcons_Shield">
              <a:extLst>
                <a:ext uri="{FF2B5EF4-FFF2-40B4-BE49-F238E27FC236}">
                  <a16:creationId xmlns:a16="http://schemas.microsoft.com/office/drawing/2014/main" id="{C14651FD-8F80-40C4-8A4E-B0DF486E70DB}"/>
                </a:ext>
              </a:extLst>
            </p:cNvPr>
            <p:cNvGrpSpPr>
              <a:grpSpLocks noChangeAspect="1"/>
            </p:cNvGrpSpPr>
            <p:nvPr/>
          </p:nvGrpSpPr>
          <p:grpSpPr bwMode="auto">
            <a:xfrm>
              <a:off x="3753097" y="2201429"/>
              <a:ext cx="220334" cy="213578"/>
              <a:chOff x="1682" y="0"/>
              <a:chExt cx="4316" cy="4320"/>
            </a:xfrm>
          </p:grpSpPr>
          <p:sp>
            <p:nvSpPr>
              <p:cNvPr id="499" name="AutoShape 34">
                <a:extLst>
                  <a:ext uri="{FF2B5EF4-FFF2-40B4-BE49-F238E27FC236}">
                    <a16:creationId xmlns:a16="http://schemas.microsoft.com/office/drawing/2014/main" id="{457DEA1C-172F-4C18-9976-B2A96F2A353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500" name="Freeform 36">
                <a:extLst>
                  <a:ext uri="{FF2B5EF4-FFF2-40B4-BE49-F238E27FC236}">
                    <a16:creationId xmlns:a16="http://schemas.microsoft.com/office/drawing/2014/main" id="{71FC2F3E-2D66-45AC-9D7A-FE619D19D76B}"/>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501" name="Freeform 37">
                <a:extLst>
                  <a:ext uri="{FF2B5EF4-FFF2-40B4-BE49-F238E27FC236}">
                    <a16:creationId xmlns:a16="http://schemas.microsoft.com/office/drawing/2014/main" id="{9EBF7831-F369-43C8-90C2-66DA1774503E}"/>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AF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492" name="Group 491">
              <a:extLst>
                <a:ext uri="{FF2B5EF4-FFF2-40B4-BE49-F238E27FC236}">
                  <a16:creationId xmlns:a16="http://schemas.microsoft.com/office/drawing/2014/main" id="{7B81158F-0806-4A11-9F38-C848FA5EEA82}"/>
                </a:ext>
              </a:extLst>
            </p:cNvPr>
            <p:cNvGrpSpPr>
              <a:grpSpLocks noChangeAspect="1"/>
            </p:cNvGrpSpPr>
            <p:nvPr/>
          </p:nvGrpSpPr>
          <p:grpSpPr>
            <a:xfrm>
              <a:off x="3732921" y="2462056"/>
              <a:ext cx="255486" cy="247423"/>
              <a:chOff x="5273675" y="2600325"/>
              <a:chExt cx="1644650" cy="1644650"/>
            </a:xfrm>
          </p:grpSpPr>
          <p:sp>
            <p:nvSpPr>
              <p:cNvPr id="497" name="AutoShape 3">
                <a:extLst>
                  <a:ext uri="{FF2B5EF4-FFF2-40B4-BE49-F238E27FC236}">
                    <a16:creationId xmlns:a16="http://schemas.microsoft.com/office/drawing/2014/main" id="{46900097-7D28-4189-9636-5C485CC8B813}"/>
                  </a:ext>
                </a:extLst>
              </p:cNvPr>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Freeform 25">
                <a:extLst>
                  <a:ext uri="{FF2B5EF4-FFF2-40B4-BE49-F238E27FC236}">
                    <a16:creationId xmlns:a16="http://schemas.microsoft.com/office/drawing/2014/main" id="{FA192BD6-3014-40ED-9FD7-8E6F78F946E7}"/>
                  </a:ext>
                </a:extLst>
              </p:cNvPr>
              <p:cNvSpPr>
                <a:spLocks/>
              </p:cNvSpPr>
              <p:nvPr/>
            </p:nvSpPr>
            <p:spPr bwMode="auto">
              <a:xfrm>
                <a:off x="5443537" y="2770187"/>
                <a:ext cx="1303336" cy="1303339"/>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6A2C9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93" name="Rectangle 492">
              <a:extLst>
                <a:ext uri="{FF2B5EF4-FFF2-40B4-BE49-F238E27FC236}">
                  <a16:creationId xmlns:a16="http://schemas.microsoft.com/office/drawing/2014/main" id="{5D85C4EF-8A39-4F55-B230-09846A7FB827}"/>
                </a:ext>
              </a:extLst>
            </p:cNvPr>
            <p:cNvSpPr/>
            <p:nvPr/>
          </p:nvSpPr>
          <p:spPr>
            <a:xfrm>
              <a:off x="2033961" y="2492727"/>
              <a:ext cx="1385570" cy="203539"/>
            </a:xfrm>
            <a:prstGeom prst="rect">
              <a:avLst/>
            </a:prstGeom>
            <a:solidFill>
              <a:srgbClr val="00148C"/>
            </a:solidFill>
            <a:ln w="9525" cap="rnd" cmpd="sng" algn="ctr">
              <a:noFill/>
              <a:prstDash val="lgDash"/>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lg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Product team B</a:t>
              </a:r>
            </a:p>
          </p:txBody>
        </p:sp>
        <p:sp>
          <p:nvSpPr>
            <p:cNvPr id="494" name="Rectangle 493">
              <a:extLst>
                <a:ext uri="{FF2B5EF4-FFF2-40B4-BE49-F238E27FC236}">
                  <a16:creationId xmlns:a16="http://schemas.microsoft.com/office/drawing/2014/main" id="{58C22017-7FD2-4414-9C17-FAB8AC649B5C}"/>
                </a:ext>
              </a:extLst>
            </p:cNvPr>
            <p:cNvSpPr/>
            <p:nvPr/>
          </p:nvSpPr>
          <p:spPr>
            <a:xfrm>
              <a:off x="2033961" y="1687812"/>
              <a:ext cx="1292284" cy="461665"/>
            </a:xfrm>
            <a:prstGeom prst="rect">
              <a:avLst/>
            </a:prstGeom>
          </p:spPr>
          <p:txBody>
            <a:bodyPr wrap="square">
              <a:spAutoFit/>
            </a:bodyPr>
            <a:lstStyle/>
            <a:p>
              <a:pPr algn="ctr"/>
              <a:r>
                <a:rPr lang="en-US" sz="1200" b="1" dirty="0" err="1">
                  <a:solidFill>
                    <a:srgbClr val="00148C"/>
                  </a:solidFill>
                </a:rPr>
                <a:t>WPD</a:t>
              </a:r>
              <a:endParaRPr lang="en-US" sz="1200" b="1" dirty="0">
                <a:solidFill>
                  <a:srgbClr val="00148C"/>
                </a:solidFill>
              </a:endParaRPr>
            </a:p>
            <a:p>
              <a:pPr algn="ctr"/>
              <a:endParaRPr lang="en-US" sz="1200" b="1" dirty="0">
                <a:solidFill>
                  <a:srgbClr val="00148C"/>
                </a:solidFill>
              </a:endParaRPr>
            </a:p>
          </p:txBody>
        </p:sp>
        <p:sp>
          <p:nvSpPr>
            <p:cNvPr id="495" name="Rectangle 494">
              <a:extLst>
                <a:ext uri="{FF2B5EF4-FFF2-40B4-BE49-F238E27FC236}">
                  <a16:creationId xmlns:a16="http://schemas.microsoft.com/office/drawing/2014/main" id="{85A6047B-48E7-4DE7-BF00-7B3DF854E39B}"/>
                </a:ext>
              </a:extLst>
            </p:cNvPr>
            <p:cNvSpPr/>
            <p:nvPr/>
          </p:nvSpPr>
          <p:spPr>
            <a:xfrm>
              <a:off x="2719671" y="1950057"/>
              <a:ext cx="1292284" cy="255496"/>
            </a:xfrm>
            <a:prstGeom prst="rect">
              <a:avLst/>
            </a:prstGeom>
          </p:spPr>
          <p:txBody>
            <a:bodyPr wrap="none">
              <a:noAutofit/>
            </a:bodyPr>
            <a:lstStyle/>
            <a:p>
              <a:pPr algn="ctr"/>
              <a:r>
                <a:rPr lang="en-US" sz="1200" b="1" dirty="0">
                  <a:solidFill>
                    <a:srgbClr val="00148C"/>
                  </a:solidFill>
                </a:rPr>
                <a:t>Tech</a:t>
              </a:r>
            </a:p>
            <a:p>
              <a:pPr algn="ctr"/>
              <a:endParaRPr lang="en-US" sz="1200" b="1" dirty="0">
                <a:solidFill>
                  <a:srgbClr val="00148C"/>
                </a:solidFill>
              </a:endParaRPr>
            </a:p>
          </p:txBody>
        </p:sp>
        <p:sp>
          <p:nvSpPr>
            <p:cNvPr id="496" name="Rectangle 495">
              <a:extLst>
                <a:ext uri="{FF2B5EF4-FFF2-40B4-BE49-F238E27FC236}">
                  <a16:creationId xmlns:a16="http://schemas.microsoft.com/office/drawing/2014/main" id="{AC47D3CE-FB8A-4671-9DC2-1AA382F456C9}"/>
                </a:ext>
              </a:extLst>
            </p:cNvPr>
            <p:cNvSpPr/>
            <p:nvPr/>
          </p:nvSpPr>
          <p:spPr>
            <a:xfrm>
              <a:off x="1467732" y="1950057"/>
              <a:ext cx="1292284" cy="255496"/>
            </a:xfrm>
            <a:prstGeom prst="rect">
              <a:avLst/>
            </a:prstGeom>
          </p:spPr>
          <p:txBody>
            <a:bodyPr wrap="none">
              <a:noAutofit/>
            </a:bodyPr>
            <a:lstStyle/>
            <a:p>
              <a:pPr algn="ctr"/>
              <a:r>
                <a:rPr lang="en-US" sz="1200" b="1" dirty="0">
                  <a:solidFill>
                    <a:srgbClr val="00148C"/>
                  </a:solidFill>
                </a:rPr>
                <a:t>Business</a:t>
              </a:r>
            </a:p>
            <a:p>
              <a:pPr algn="ctr"/>
              <a:endParaRPr lang="en-US" sz="1200" b="1" dirty="0">
                <a:solidFill>
                  <a:srgbClr val="00148C"/>
                </a:solidFill>
              </a:endParaRPr>
            </a:p>
          </p:txBody>
        </p:sp>
      </p:grpSp>
      <p:cxnSp>
        <p:nvCxnSpPr>
          <p:cNvPr id="11" name="Straight Arrow Connector 10">
            <a:extLst>
              <a:ext uri="{FF2B5EF4-FFF2-40B4-BE49-F238E27FC236}">
                <a16:creationId xmlns:a16="http://schemas.microsoft.com/office/drawing/2014/main" id="{129FD3A2-9974-4BFF-BD96-25574816FE23}"/>
              </a:ext>
            </a:extLst>
          </p:cNvPr>
          <p:cNvCxnSpPr>
            <a:cxnSpLocks/>
            <a:stCxn id="4" idx="7"/>
          </p:cNvCxnSpPr>
          <p:nvPr/>
        </p:nvCxnSpPr>
        <p:spPr>
          <a:xfrm flipV="1">
            <a:off x="6586668" y="2752078"/>
            <a:ext cx="735809" cy="546282"/>
          </a:xfrm>
          <a:prstGeom prst="straightConnector1">
            <a:avLst/>
          </a:prstGeom>
          <a:ln w="25400"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5" name="Straight Arrow Connector 514">
            <a:extLst>
              <a:ext uri="{FF2B5EF4-FFF2-40B4-BE49-F238E27FC236}">
                <a16:creationId xmlns:a16="http://schemas.microsoft.com/office/drawing/2014/main" id="{FBE4017F-581F-4C73-9F5D-E0361DC9577F}"/>
              </a:ext>
            </a:extLst>
          </p:cNvPr>
          <p:cNvCxnSpPr>
            <a:cxnSpLocks/>
            <a:stCxn id="4" idx="6"/>
          </p:cNvCxnSpPr>
          <p:nvPr/>
        </p:nvCxnSpPr>
        <p:spPr>
          <a:xfrm>
            <a:off x="6900101" y="3874962"/>
            <a:ext cx="1518468" cy="325037"/>
          </a:xfrm>
          <a:prstGeom prst="straightConnector1">
            <a:avLst/>
          </a:prstGeom>
          <a:ln w="25400"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6" name="Straight Arrow Connector 515">
            <a:extLst>
              <a:ext uri="{FF2B5EF4-FFF2-40B4-BE49-F238E27FC236}">
                <a16:creationId xmlns:a16="http://schemas.microsoft.com/office/drawing/2014/main" id="{DEA80E83-7BEE-4BE7-9DFA-A2BFDF8DB938}"/>
              </a:ext>
            </a:extLst>
          </p:cNvPr>
          <p:cNvCxnSpPr>
            <a:cxnSpLocks/>
          </p:cNvCxnSpPr>
          <p:nvPr/>
        </p:nvCxnSpPr>
        <p:spPr>
          <a:xfrm>
            <a:off x="6348927" y="4578321"/>
            <a:ext cx="448459" cy="816678"/>
          </a:xfrm>
          <a:prstGeom prst="straightConnector1">
            <a:avLst/>
          </a:prstGeom>
          <a:ln w="25400"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7" name="Straight Arrow Connector 516">
            <a:extLst>
              <a:ext uri="{FF2B5EF4-FFF2-40B4-BE49-F238E27FC236}">
                <a16:creationId xmlns:a16="http://schemas.microsoft.com/office/drawing/2014/main" id="{03BD76CD-DBEC-41AD-AABF-215C072E2E0C}"/>
              </a:ext>
            </a:extLst>
          </p:cNvPr>
          <p:cNvCxnSpPr>
            <a:cxnSpLocks/>
            <a:stCxn id="4" idx="3"/>
          </p:cNvCxnSpPr>
          <p:nvPr/>
        </p:nvCxnSpPr>
        <p:spPr>
          <a:xfrm flipH="1">
            <a:off x="4455869" y="4451564"/>
            <a:ext cx="617412" cy="969079"/>
          </a:xfrm>
          <a:prstGeom prst="straightConnector1">
            <a:avLst/>
          </a:prstGeom>
          <a:ln w="25400"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8" name="Straight Arrow Connector 517">
            <a:extLst>
              <a:ext uri="{FF2B5EF4-FFF2-40B4-BE49-F238E27FC236}">
                <a16:creationId xmlns:a16="http://schemas.microsoft.com/office/drawing/2014/main" id="{32181880-F05E-491B-AF6C-4C2B51BA67AB}"/>
              </a:ext>
            </a:extLst>
          </p:cNvPr>
          <p:cNvCxnSpPr>
            <a:cxnSpLocks/>
            <a:stCxn id="4" idx="2"/>
          </p:cNvCxnSpPr>
          <p:nvPr/>
        </p:nvCxnSpPr>
        <p:spPr>
          <a:xfrm flipH="1">
            <a:off x="3267712" y="3874962"/>
            <a:ext cx="1492136" cy="660566"/>
          </a:xfrm>
          <a:prstGeom prst="straightConnector1">
            <a:avLst/>
          </a:prstGeom>
          <a:ln w="25400"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9" name="Straight Arrow Connector 518">
            <a:extLst>
              <a:ext uri="{FF2B5EF4-FFF2-40B4-BE49-F238E27FC236}">
                <a16:creationId xmlns:a16="http://schemas.microsoft.com/office/drawing/2014/main" id="{77FF47B9-DFAE-4724-B357-65BBCDA1C2AC}"/>
              </a:ext>
            </a:extLst>
          </p:cNvPr>
          <p:cNvCxnSpPr>
            <a:cxnSpLocks/>
            <a:stCxn id="4" idx="1"/>
          </p:cNvCxnSpPr>
          <p:nvPr/>
        </p:nvCxnSpPr>
        <p:spPr>
          <a:xfrm flipH="1" flipV="1">
            <a:off x="4001195" y="2742696"/>
            <a:ext cx="1072086" cy="555664"/>
          </a:xfrm>
          <a:prstGeom prst="straightConnector1">
            <a:avLst/>
          </a:prstGeom>
          <a:ln w="25400" cap="rnd" cmpd="sng" algn="ctr">
            <a:solidFill>
              <a:srgbClr val="FFB45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768C108-91B7-4E2F-989E-BF54576BD01E}"/>
              </a:ext>
            </a:extLst>
          </p:cNvPr>
          <p:cNvSpPr txBox="1"/>
          <p:nvPr/>
        </p:nvSpPr>
        <p:spPr>
          <a:xfrm>
            <a:off x="5176720" y="2350495"/>
            <a:ext cx="1163154" cy="3457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37" name="TextBox 36">
            <a:extLst>
              <a:ext uri="{FF2B5EF4-FFF2-40B4-BE49-F238E27FC236}">
                <a16:creationId xmlns:a16="http://schemas.microsoft.com/office/drawing/2014/main" id="{9B8987A8-B3AF-43F7-9587-6D259EE37379}"/>
              </a:ext>
            </a:extLst>
          </p:cNvPr>
          <p:cNvSpPr txBox="1"/>
          <p:nvPr/>
        </p:nvSpPr>
        <p:spPr>
          <a:xfrm>
            <a:off x="5486306" y="2217400"/>
            <a:ext cx="1930835" cy="406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i="1" dirty="0">
                <a:solidFill>
                  <a:srgbClr val="FFB45A"/>
                </a:solidFill>
              </a:rPr>
              <a:t>Tech resources forward deployed into business product teams</a:t>
            </a:r>
          </a:p>
        </p:txBody>
      </p:sp>
      <p:sp>
        <p:nvSpPr>
          <p:cNvPr id="44" name="Right Brace 43">
            <a:extLst>
              <a:ext uri="{FF2B5EF4-FFF2-40B4-BE49-F238E27FC236}">
                <a16:creationId xmlns:a16="http://schemas.microsoft.com/office/drawing/2014/main" id="{FA82B1CC-4775-49D9-AFCA-6026923E4701}"/>
              </a:ext>
            </a:extLst>
          </p:cNvPr>
          <p:cNvSpPr/>
          <p:nvPr/>
        </p:nvSpPr>
        <p:spPr>
          <a:xfrm rot="5400000">
            <a:off x="8658260" y="1801790"/>
            <a:ext cx="167368" cy="2642278"/>
          </a:xfrm>
          <a:prstGeom prst="rightBrace">
            <a:avLst>
              <a:gd name="adj1" fmla="val 19806"/>
              <a:gd name="adj2" fmla="val 50000"/>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0" name="TextBox 519">
            <a:extLst>
              <a:ext uri="{FF2B5EF4-FFF2-40B4-BE49-F238E27FC236}">
                <a16:creationId xmlns:a16="http://schemas.microsoft.com/office/drawing/2014/main" id="{59D5367E-CAFE-44D9-B923-535226F85F2A}"/>
              </a:ext>
            </a:extLst>
          </p:cNvPr>
          <p:cNvSpPr txBox="1"/>
          <p:nvPr/>
        </p:nvSpPr>
        <p:spPr>
          <a:xfrm>
            <a:off x="7674948" y="3107135"/>
            <a:ext cx="2140252" cy="406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i="1" dirty="0">
                <a:solidFill>
                  <a:srgbClr val="000000"/>
                </a:solidFill>
              </a:rPr>
              <a:t>Spoke</a:t>
            </a:r>
          </a:p>
        </p:txBody>
      </p:sp>
      <p:sp>
        <p:nvSpPr>
          <p:cNvPr id="521" name="TextBox 520">
            <a:extLst>
              <a:ext uri="{FF2B5EF4-FFF2-40B4-BE49-F238E27FC236}">
                <a16:creationId xmlns:a16="http://schemas.microsoft.com/office/drawing/2014/main" id="{8A9F2321-B343-4056-8F34-B0ED9B027D40}"/>
              </a:ext>
            </a:extLst>
          </p:cNvPr>
          <p:cNvSpPr txBox="1"/>
          <p:nvPr/>
        </p:nvSpPr>
        <p:spPr>
          <a:xfrm>
            <a:off x="4719600" y="2808494"/>
            <a:ext cx="860303" cy="406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i="1" dirty="0">
                <a:solidFill>
                  <a:srgbClr val="000000"/>
                </a:solidFill>
              </a:rPr>
              <a:t>Hub</a:t>
            </a:r>
          </a:p>
        </p:txBody>
      </p:sp>
      <p:sp>
        <p:nvSpPr>
          <p:cNvPr id="522" name="TextBox 521">
            <a:extLst>
              <a:ext uri="{FF2B5EF4-FFF2-40B4-BE49-F238E27FC236}">
                <a16:creationId xmlns:a16="http://schemas.microsoft.com/office/drawing/2014/main" id="{6B3E8427-32E6-4570-A273-E819F6DA2061}"/>
              </a:ext>
            </a:extLst>
          </p:cNvPr>
          <p:cNvSpPr txBox="1"/>
          <p:nvPr/>
        </p:nvSpPr>
        <p:spPr>
          <a:xfrm>
            <a:off x="2573565" y="3201627"/>
            <a:ext cx="1492136" cy="406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i="1" dirty="0">
                <a:solidFill>
                  <a:srgbClr val="000000"/>
                </a:solidFill>
              </a:rPr>
              <a:t>Hub distributed</a:t>
            </a:r>
          </a:p>
        </p:txBody>
      </p:sp>
      <p:sp>
        <p:nvSpPr>
          <p:cNvPr id="523" name="Right Brace 522">
            <a:extLst>
              <a:ext uri="{FF2B5EF4-FFF2-40B4-BE49-F238E27FC236}">
                <a16:creationId xmlns:a16="http://schemas.microsoft.com/office/drawing/2014/main" id="{8806CDD8-141C-48AC-B2F7-C5BFF2C91C57}"/>
              </a:ext>
            </a:extLst>
          </p:cNvPr>
          <p:cNvSpPr/>
          <p:nvPr/>
        </p:nvSpPr>
        <p:spPr>
          <a:xfrm rot="5400000">
            <a:off x="3260552" y="2426814"/>
            <a:ext cx="123075" cy="1279366"/>
          </a:xfrm>
          <a:prstGeom prst="rightBrace">
            <a:avLst>
              <a:gd name="adj1" fmla="val 19806"/>
              <a:gd name="adj2" fmla="val 50000"/>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3" name="ee4pFootnotes">
            <a:extLst>
              <a:ext uri="{FF2B5EF4-FFF2-40B4-BE49-F238E27FC236}">
                <a16:creationId xmlns:a16="http://schemas.microsoft.com/office/drawing/2014/main" id="{2C6B11A1-BE44-411B-9F77-C18F19102011}"/>
              </a:ext>
            </a:extLst>
          </p:cNvPr>
          <p:cNvSpPr>
            <a:spLocks noChangeArrowheads="1"/>
          </p:cNvSpPr>
          <p:nvPr/>
        </p:nvSpPr>
        <p:spPr bwMode="auto">
          <a:xfrm>
            <a:off x="1980648" y="6484882"/>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latin typeface="Arial" panose="020B0604020202020204" pitchFamily="34" charset="0"/>
                <a:sym typeface="+mn-lt"/>
              </a:rPr>
              <a:t>1. Includes </a:t>
            </a:r>
            <a:r>
              <a:rPr lang="en-US" sz="1000" dirty="0" err="1">
                <a:solidFill>
                  <a:srgbClr val="7F7F7F"/>
                </a:solidFill>
                <a:latin typeface="Arial" panose="020B0604020202020204" pitchFamily="34" charset="0"/>
                <a:sym typeface="+mn-lt"/>
              </a:rPr>
              <a:t>TDA</a:t>
            </a:r>
            <a:r>
              <a:rPr lang="en-US" sz="1000" dirty="0">
                <a:solidFill>
                  <a:srgbClr val="7F7F7F"/>
                </a:solidFill>
                <a:latin typeface="Arial" panose="020B0604020202020204" pitchFamily="34" charset="0"/>
                <a:sym typeface="+mn-lt"/>
              </a:rPr>
              <a:t>, DA, IT capabilities that support platform and business product teams</a:t>
            </a:r>
          </a:p>
        </p:txBody>
      </p:sp>
      <p:sp>
        <p:nvSpPr>
          <p:cNvPr id="242" name="NavigationTriangle">
            <a:extLst>
              <a:ext uri="{FF2B5EF4-FFF2-40B4-BE49-F238E27FC236}">
                <a16:creationId xmlns:a16="http://schemas.microsoft.com/office/drawing/2014/main" id="{C60AADA3-A41B-4F4C-8A22-2AF45EAD296C}"/>
              </a:ext>
            </a:extLst>
          </p:cNvPr>
          <p:cNvSpPr/>
          <p:nvPr/>
        </p:nvSpPr>
        <p:spPr>
          <a:xfrm rot="16200000">
            <a:off x="11116165" y="-21446"/>
            <a:ext cx="1054387" cy="1097280"/>
          </a:xfrm>
          <a:prstGeom prst="triangle">
            <a:avLst>
              <a:gd name="adj" fmla="val 100000"/>
            </a:avLst>
          </a:prstGeom>
          <a:solidFill>
            <a:srgbClr val="00148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4" name="NavigationIcon">
            <a:extLst>
              <a:ext uri="{FF2B5EF4-FFF2-40B4-BE49-F238E27FC236}">
                <a16:creationId xmlns:a16="http://schemas.microsoft.com/office/drawing/2014/main" id="{00685BA9-9A32-433C-BFAD-42B022117507}"/>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algn="ctr"/>
            <a:r>
              <a:rPr lang="en-US" sz="1600" dirty="0">
                <a:solidFill>
                  <a:srgbClr val="00148C"/>
                </a:solidFill>
                <a:latin typeface="Arial" panose="020B0604020202020204" pitchFamily="34" charset="0"/>
              </a:rPr>
              <a:t>5</a:t>
            </a:r>
          </a:p>
        </p:txBody>
      </p:sp>
    </p:spTree>
    <p:extLst>
      <p:ext uri="{BB962C8B-B14F-4D97-AF65-F5344CB8AC3E}">
        <p14:creationId xmlns:p14="http://schemas.microsoft.com/office/powerpoint/2010/main" val="4025918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STYLE_ID" val="UoOduAHZ"/>
  <p:tag name="EE4P_STYLE_NAME" val="NationalGrid Grid 16:9"/>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Arial&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Arial&quot; size=&quot;54&quot; bold=&quot;1&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Arial&quot; size=&quot;10&quot; bold=&quot;1&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Arial&quot; size=&quot;54&quot; bold=&quot;1&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EE4P_MASTERWIZARD_MARGINS" val="0"/>
  <p:tag name="THINKCELLPRESENTATIONDONOTDELETE" val="&lt;?xml version=&quot;1.0&quot; encoding=&quot;UTF-16&quot; standalone=&quot;yes&quot;?&gt;&lt;root reqver=&quot;27037&quot;&gt;&lt;version val=&quot;3250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2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21.xml><?xml version="1.0" encoding="utf-8"?>
<p:tagLst xmlns:a="http://schemas.openxmlformats.org/drawingml/2006/main" xmlns:r="http://schemas.openxmlformats.org/officeDocument/2006/relationships" xmlns:p="http://schemas.openxmlformats.org/presentationml/2006/main">
  <p:tag name="BCG_MODE" val="Documentation"/>
  <p:tag name="BCG_DESIGN" val="Three heading"/>
  <p:tag name="EE4P_STRETCH" val="1"/>
  <p:tag name="EE4P_LAYOUT_ID" val="D"/>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B2X8W4pJwwkhKocf4KwI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TBLv5jQ1QX6wzECk9pExpw"/>
</p:tagLst>
</file>

<file path=ppt/tags/tag24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46.xml><?xml version="1.0" encoding="utf-8"?>
<p:tagLst xmlns:a="http://schemas.openxmlformats.org/drawingml/2006/main" xmlns:r="http://schemas.openxmlformats.org/officeDocument/2006/relationships" xmlns:p="http://schemas.openxmlformats.org/presentationml/2006/main">
  <p:tag name="BCG_MODE" val="Presentation"/>
  <p:tag name="BCG_DESIGN" val="Four column"/>
  <p:tag name="EE4P_STRETCH" val="1"/>
  <p:tag name="EE4P_LAYOUT_ID" val="K"/>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57.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6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6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6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6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6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tionalGrid Grid 16:9">
  <a:themeElements>
    <a:clrScheme name="national grid">
      <a:dk1>
        <a:srgbClr val="000000"/>
      </a:dk1>
      <a:lt1>
        <a:sysClr val="window" lastClr="FFFFFF"/>
      </a:lt1>
      <a:dk2>
        <a:srgbClr val="00148C"/>
      </a:dk2>
      <a:lt2>
        <a:srgbClr val="F2F2F2"/>
      </a:lt2>
      <a:accent1>
        <a:srgbClr val="000A46"/>
      </a:accent1>
      <a:accent2>
        <a:srgbClr val="000F69"/>
      </a:accent2>
      <a:accent3>
        <a:srgbClr val="00AFF0"/>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NationalGrid Grid 16:9">
  <a:themeElements>
    <a:clrScheme name="national grid">
      <a:dk1>
        <a:srgbClr val="000000"/>
      </a:dk1>
      <a:lt1>
        <a:sysClr val="window" lastClr="FFFFFF"/>
      </a:lt1>
      <a:dk2>
        <a:srgbClr val="00148C"/>
      </a:dk2>
      <a:lt2>
        <a:srgbClr val="F2F2F2"/>
      </a:lt2>
      <a:accent1>
        <a:srgbClr val="000A46"/>
      </a:accent1>
      <a:accent2>
        <a:srgbClr val="000F69"/>
      </a:accent2>
      <a:accent3>
        <a:srgbClr val="00AFF0"/>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47C9556-F8EC-427F-95A5-4A58700B1B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563e85-d93e-468a-97fd-88b2feb52b2e"/>
    <ds:schemaRef ds:uri="701484cb-4692-40f6-9cd8-9f96d07aad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2D5366B-3DAE-420A-9D6B-3BE847445187}">
  <ds:schemaRefs>
    <ds:schemaRef ds:uri="http://schemas.microsoft.com/sharepoint/v3/contenttype/forms"/>
  </ds:schemaRefs>
</ds:datastoreItem>
</file>

<file path=customXml/itemProps3.xml><?xml version="1.0" encoding="utf-8"?>
<ds:datastoreItem xmlns:ds="http://schemas.openxmlformats.org/officeDocument/2006/customXml" ds:itemID="{9183BB5A-563E-4C9B-AF0E-B7F90140AD25}">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purl.org/dc/terms/"/>
    <ds:schemaRef ds:uri="701484cb-4692-40f6-9cd8-9f96d07aad89"/>
    <ds:schemaRef ds:uri="44563e85-d93e-468a-97fd-88b2feb52b2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465</TotalTime>
  <Words>3140</Words>
  <Application>Microsoft Office PowerPoint</Application>
  <PresentationFormat>Widescreen</PresentationFormat>
  <Paragraphs>753</Paragraphs>
  <Slides>19</Slides>
  <Notes>9</Notes>
  <HiddenSlides>0</HiddenSlides>
  <MMClips>0</MMClips>
  <ScaleCrop>false</ScaleCrop>
  <HeadingPairs>
    <vt:vector size="10"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9</vt:i4>
      </vt:variant>
      <vt:variant>
        <vt:lpstr>Custom Shows</vt:lpstr>
      </vt:variant>
      <vt:variant>
        <vt:i4>1</vt:i4>
      </vt:variant>
    </vt:vector>
  </HeadingPairs>
  <TitlesOfParts>
    <vt:vector size="28" baseType="lpstr">
      <vt:lpstr>Arial</vt:lpstr>
      <vt:lpstr>Calibri</vt:lpstr>
      <vt:lpstr>Century Gothic</vt:lpstr>
      <vt:lpstr>Trebuchet MS</vt:lpstr>
      <vt:lpstr>Wingdings</vt:lpstr>
      <vt:lpstr>NationalGrid Grid 16:9</vt:lpstr>
      <vt:lpstr>1_NationalGrid Grid 16:9</vt:lpstr>
      <vt:lpstr>think-cell Slide</vt:lpstr>
      <vt:lpstr>National Grid:  Digital Sustainability</vt:lpstr>
      <vt:lpstr>Key decisions made for scaling digital</vt:lpstr>
      <vt:lpstr>What are product teams?</vt:lpstr>
      <vt:lpstr>Digital products developed by Business product teams &amp; Platform product teams</vt:lpstr>
      <vt:lpstr>Overview of product and product line roles</vt:lpstr>
      <vt:lpstr>Future-state product operating model across individual Spoke</vt:lpstr>
      <vt:lpstr>Illustrative: EBU example of digital product portfolio organization</vt:lpstr>
      <vt:lpstr>Introduction to Hub and Spoke operating model Scaling Digital is enabled with tight integration between a centralized Digital hub and independent business unit teams driving their business strategy with Digital as a key component. </vt:lpstr>
      <vt:lpstr>Overview of Hub and Spoke model – Hub deploys tech resources into business product teams in Spokes </vt:lpstr>
      <vt:lpstr>Overview of Data Product Breakdown</vt:lpstr>
      <vt:lpstr>Overview of Data Product Breakdown</vt:lpstr>
      <vt:lpstr>Overview of Data Product Breakdown</vt:lpstr>
      <vt:lpstr>Overview of Hub and Spoke model – focusing on the role of data</vt:lpstr>
      <vt:lpstr>Key accountabilities across Hub and Spoke to scale digital </vt:lpstr>
      <vt:lpstr>Backup: Detailed Hub accountabilities to enable Spokes</vt:lpstr>
      <vt:lpstr>PowerPoint Presentation</vt:lpstr>
      <vt:lpstr>PowerPoint Presentation</vt:lpstr>
      <vt:lpstr>Preliminary: how to get started on scaled digital product model – detailed ramp-up and engagement plan to be defined</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Robertson, Daniel</cp:lastModifiedBy>
  <cp:revision>854</cp:revision>
  <cp:lastPrinted>2000-01-01T07:00:00Z</cp:lastPrinted>
  <dcterms:created xsi:type="dcterms:W3CDTF">2021-07-20T17:48:39Z</dcterms:created>
  <dcterms:modified xsi:type="dcterms:W3CDTF">2021-08-25T17:4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2413706</vt:lpwstr>
  </property>
  <property fmtid="{D5CDD505-2E9C-101B-9397-08002B2CF9AE}" pid="4" name="NXPowerLiteSettings">
    <vt:lpwstr>87000AA0054001</vt:lpwstr>
  </property>
  <property fmtid="{D5CDD505-2E9C-101B-9397-08002B2CF9AE}" pid="5" name="NXPowerLiteVersion">
    <vt:lpwstr>D8.0.11</vt:lpwstr>
  </property>
  <property fmtid="{D5CDD505-2E9C-101B-9397-08002B2CF9AE}" pid="6" name="Template Name">
    <vt:lpwstr>16x9</vt:lpwstr>
  </property>
  <property fmtid="{D5CDD505-2E9C-101B-9397-08002B2CF9AE}" pid="7" name="ContentTypeId">
    <vt:lpwstr>0x010100F6D73EF154A21745A4B7D294624E0F37</vt:lpwstr>
  </property>
</Properties>
</file>